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5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6.xml" ContentType="application/vnd.openxmlformats-officedocument.presentationml.notesSlide+xml"/>
  <Override PartName="/ppt/tags/tag67.xml" ContentType="application/vnd.openxmlformats-officedocument.presentationml.tags+xml"/>
  <Override PartName="/ppt/notesSlides/notesSlide7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8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9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0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11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12.xml" ContentType="application/vnd.openxmlformats-officedocument.presentationml.notesSlid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13.xml" ContentType="application/vnd.openxmlformats-officedocument.presentationml.notesSl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notesSlides/notesSlide14.xml" ContentType="application/vnd.openxmlformats-officedocument.presentationml.notesSlid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notesSlides/notesSlide15.xml" ContentType="application/vnd.openxmlformats-officedocument.presentationml.notesSl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16.xml" ContentType="application/vnd.openxmlformats-officedocument.presentationml.notesSl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17.xml" ContentType="application/vnd.openxmlformats-officedocument.presentationml.notesSl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1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2"/>
  </p:notesMasterIdLst>
  <p:handoutMasterIdLst>
    <p:handoutMasterId r:id="rId33"/>
  </p:handoutMasterIdLst>
  <p:sldIdLst>
    <p:sldId id="521" r:id="rId2"/>
    <p:sldId id="2147469067" r:id="rId3"/>
    <p:sldId id="2147469068" r:id="rId4"/>
    <p:sldId id="300" r:id="rId5"/>
    <p:sldId id="2147469038" r:id="rId6"/>
    <p:sldId id="2147469039" r:id="rId7"/>
    <p:sldId id="2147469040" r:id="rId8"/>
    <p:sldId id="2147469041" r:id="rId9"/>
    <p:sldId id="2147469043" r:id="rId10"/>
    <p:sldId id="2147469044" r:id="rId11"/>
    <p:sldId id="2147469045" r:id="rId12"/>
    <p:sldId id="2147469046" r:id="rId13"/>
    <p:sldId id="2147469047" r:id="rId14"/>
    <p:sldId id="2147469048" r:id="rId15"/>
    <p:sldId id="2147469049" r:id="rId16"/>
    <p:sldId id="2147469050" r:id="rId17"/>
    <p:sldId id="2147469051" r:id="rId18"/>
    <p:sldId id="2147469052" r:id="rId19"/>
    <p:sldId id="2147469053" r:id="rId20"/>
    <p:sldId id="2147469054" r:id="rId21"/>
    <p:sldId id="2147469055" r:id="rId22"/>
    <p:sldId id="2147469056" r:id="rId23"/>
    <p:sldId id="2147469057" r:id="rId24"/>
    <p:sldId id="2147469058" r:id="rId25"/>
    <p:sldId id="2147469059" r:id="rId26"/>
    <p:sldId id="2147469061" r:id="rId27"/>
    <p:sldId id="2147469062" r:id="rId28"/>
    <p:sldId id="2147469063" r:id="rId29"/>
    <p:sldId id="2147469064" r:id="rId30"/>
    <p:sldId id="2147469066" r:id="rId31"/>
  </p:sldIdLst>
  <p:sldSz cx="12192000" cy="6858000"/>
  <p:notesSz cx="6858000" cy="9144000"/>
  <p:custDataLst>
    <p:tags r:id="rId3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halt deas" id="{8A5E0BAE-C468-9145-A16D-BA9263C73286}">
          <p14:sldIdLst>
            <p14:sldId id="521"/>
            <p14:sldId id="2147469067"/>
            <p14:sldId id="2147469068"/>
            <p14:sldId id="300"/>
            <p14:sldId id="2147469038"/>
            <p14:sldId id="2147469039"/>
            <p14:sldId id="2147469040"/>
            <p14:sldId id="2147469041"/>
            <p14:sldId id="2147469043"/>
            <p14:sldId id="2147469044"/>
            <p14:sldId id="2147469045"/>
            <p14:sldId id="2147469046"/>
            <p14:sldId id="2147469047"/>
            <p14:sldId id="2147469048"/>
            <p14:sldId id="2147469049"/>
            <p14:sldId id="2147469050"/>
            <p14:sldId id="2147469051"/>
            <p14:sldId id="2147469052"/>
            <p14:sldId id="2147469053"/>
            <p14:sldId id="2147469054"/>
            <p14:sldId id="2147469055"/>
            <p14:sldId id="2147469056"/>
            <p14:sldId id="2147469057"/>
            <p14:sldId id="2147469058"/>
            <p14:sldId id="2147469059"/>
            <p14:sldId id="2147469061"/>
            <p14:sldId id="2147469062"/>
            <p14:sldId id="2147469063"/>
            <p14:sldId id="2147469064"/>
            <p14:sldId id="214746906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43D7D75-3242-78DF-2279-365E8111494A}" name="Ann-Kathrin Hillmann" initials="AH" userId="S::ann-kathrin.hillmann@ecclesia-gruppe.de::e55b1ecb-0aa7-487e-92ad-08e72ba8190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405" autoAdjust="0"/>
    <p:restoredTop sz="92965" autoAdjust="0"/>
  </p:normalViewPr>
  <p:slideViewPr>
    <p:cSldViewPr showGuides="1">
      <p:cViewPr varScale="1">
        <p:scale>
          <a:sx n="149" d="100"/>
          <a:sy n="149" d="100"/>
        </p:scale>
        <p:origin x="636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>
      <p:cViewPr varScale="1">
        <p:scale>
          <a:sx n="154" d="100"/>
          <a:sy n="154" d="100"/>
        </p:scale>
        <p:origin x="5736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microsoft.com/office/2018/10/relationships/authors" Target="authors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25BB9AA7-F0F0-9720-5C29-A43F092BA88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07CD57A-58C0-60A7-557A-8E1F7F29112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55D880-93DD-1945-A582-6B6674188FC9}" type="datetimeFigureOut">
              <a:rPr lang="de-DE" smtClean="0">
                <a:latin typeface="Arial" panose="020B0604020202020204" pitchFamily="34" charset="0"/>
              </a:rPr>
              <a:t>03.03.2025</a:t>
            </a:fld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4126F27-447A-3531-9BD7-250D091F80B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8CBAF8-9512-34C3-33A8-B1AAE166D6C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C35DCB-4D83-934A-AA3B-2E45C4A1B33F}" type="slidenum">
              <a:rPr lang="de-DE" smtClean="0">
                <a:latin typeface="Arial" panose="020B0604020202020204" pitchFamily="34" charset="0"/>
              </a:rPr>
              <a:t>‹Nr.›</a:t>
            </a:fld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67880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4AF90C8-5DF0-E643-BEA0-08BE3B4D94EF}" type="datetimeFigureOut">
              <a:rPr lang="de-DE" smtClean="0"/>
              <a:pPr/>
              <a:t>03.03.20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3B26BD3-A171-F144-8881-153948343B7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1683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B26BD3-A171-F144-8881-153948343B7E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59380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42F96A-B952-82C5-053E-9F570E1812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54A1428-8D56-D00C-EDA3-1BACA0EE13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7471149-B9E2-CF66-F0E9-AFE8B53A9C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FAFB5CD-9B1B-FF3C-B96C-D42F28B89A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54519B-B8EA-4EEA-84EC-41449AFB27B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57011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2469F8-E50C-70B5-3DE2-5BED9EB02D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8AD5835-DA9B-8D02-3CCD-7FD1113694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D4008F5-96CF-AC2F-66C3-1E939D2AAD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419527-8EE4-7DB4-D008-15408F6BF6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54519B-B8EA-4EEA-84EC-41449AFB27B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52151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3F502D-9DF1-CF7C-8F51-A915580B82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AEE6537-66E8-0933-F0EE-5E4308FAB49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FFEB6AF-3F0C-3D9B-D35D-D9CF7A28F0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FD8554D-122D-6E0E-15A3-6DC96AA0D7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54519B-B8EA-4EEA-84EC-41449AFB27B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80889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FA01D5-DB81-B77B-DF83-2FFF99469A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469A3FD-432A-722A-7E88-15CFD9213D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20E1F9F-6188-237A-FC9A-E9D8C03527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58E400-D394-D0B0-1F25-22C797860B1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54519B-B8EA-4EEA-84EC-41449AFB27B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05807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47BA40-7199-312D-124C-AFFDFB0F7C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3935FDD-6936-2444-DBC8-17740827DD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12F44AE-F140-AE63-36DF-937807EABB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DC9950E-3E36-D0F5-4DE5-4291E4893C1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54519B-B8EA-4EEA-84EC-41449AFB27B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12562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B26BD3-A171-F144-8881-153948343B7E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01521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B26BD3-A171-F144-8881-153948343B7E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15444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A0C728-64DF-67FE-5E6B-C7770402CC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363DF51-F6F3-1D97-A873-E5CE4E18CE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108680A-24E4-8215-463B-7044E65950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D9E7872-EDCB-AAD1-2133-1521AA07957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54519B-B8EA-4EEA-84EC-41449AFB27B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660368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B26BD3-A171-F144-8881-153948343B7E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43997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02DDD0-4AF3-67D3-EC52-EED9032984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F986E6E-B499-1CFB-5CEA-DE676FC395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ED49346-9D6F-A474-59FE-049BE1295A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2778309-5DC6-2C7F-E338-B1382FDF0A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B26BD3-A171-F144-8881-153948343B7E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37448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95218" y="2276479"/>
            <a:ext cx="8336218" cy="184666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567996" y="6400287"/>
            <a:ext cx="1563438" cy="18466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09511A-D354-4643-816C-F77DB211CBC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24743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54519B-B8EA-4EEA-84EC-41449AFB27B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9018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C9933F-B189-201F-FF99-8699463FB0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F690155-E6C3-EBDF-F17D-E3BD42A63C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047417F-A698-2146-0CDA-B9A7576F45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714EFC1-38DB-9AC7-D1C4-F18C7925AEF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54519B-B8EA-4EEA-84EC-41449AFB27B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0103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B26BD3-A171-F144-8881-153948343B7E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62991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B26BD3-A171-F144-8881-153948343B7E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2691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BCA5EE-13EC-5EDA-DA66-EA4725456A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EDD848D-32C9-25D8-620D-9807E6F640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B796F07-855E-6A7F-6F72-F9E4FABF2B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AC7CB41-1D09-060A-2421-461E0F5D05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54519B-B8EA-4EEA-84EC-41449AFB27B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8001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3BC2A2-4A64-B1E9-57D6-5A13E982A0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D77C8BF-931A-ABFF-A0EE-B4FACE0B3B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C3C6CE65-EEB3-5D17-DDC9-7F9B5FD3AC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A2C2085-78AE-F948-B8B7-084CD961D2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54519B-B8EA-4EEA-84EC-41449AFB27B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73920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emf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799481A6-C1DA-86DC-57E3-EB6F143D6FEE}"/>
              </a:ext>
            </a:extLst>
          </p:cNvPr>
          <p:cNvGrpSpPr/>
          <p:nvPr userDrawn="1"/>
        </p:nvGrpSpPr>
        <p:grpSpPr>
          <a:xfrm>
            <a:off x="10308628" y="0"/>
            <a:ext cx="1440000" cy="1440000"/>
            <a:chOff x="10308628" y="0"/>
            <a:chExt cx="1440000" cy="1440000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1EE08AF3-0AA7-7F90-3E14-3458459FA329}"/>
                </a:ext>
              </a:extLst>
            </p:cNvPr>
            <p:cNvSpPr/>
            <p:nvPr userDrawn="1"/>
          </p:nvSpPr>
          <p:spPr>
            <a:xfrm>
              <a:off x="10308628" y="0"/>
              <a:ext cx="1440000" cy="14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84093464-F59E-57FA-019B-4CB49F500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02800" y="384235"/>
              <a:ext cx="880619" cy="671531"/>
            </a:xfrm>
            <a:prstGeom prst="rect">
              <a:avLst/>
            </a:prstGeom>
          </p:spPr>
        </p:pic>
      </p:grp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5F4A4190-4729-7485-0EB9-9EED058039D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3386816" cy="5678130"/>
          </a:xfrm>
          <a:custGeom>
            <a:avLst/>
            <a:gdLst>
              <a:gd name="connsiteX0" fmla="*/ 0 w 13386816"/>
              <a:gd name="connsiteY0" fmla="*/ 0 h 5678130"/>
              <a:gd name="connsiteX1" fmla="*/ 10308628 w 13386816"/>
              <a:gd name="connsiteY1" fmla="*/ 0 h 5678130"/>
              <a:gd name="connsiteX2" fmla="*/ 10308628 w 13386816"/>
              <a:gd name="connsiteY2" fmla="*/ 1439999 h 5678130"/>
              <a:gd name="connsiteX3" fmla="*/ 10388183 w 13386816"/>
              <a:gd name="connsiteY3" fmla="*/ 1439999 h 5678130"/>
              <a:gd name="connsiteX4" fmla="*/ 10388183 w 13386816"/>
              <a:gd name="connsiteY4" fmla="*/ 1448242 h 5678130"/>
              <a:gd name="connsiteX5" fmla="*/ 11749087 w 13386816"/>
              <a:gd name="connsiteY5" fmla="*/ 1448242 h 5678130"/>
              <a:gd name="connsiteX6" fmla="*/ 11749087 w 13386816"/>
              <a:gd name="connsiteY6" fmla="*/ 0 h 5678130"/>
              <a:gd name="connsiteX7" fmla="*/ 12192001 w 13386816"/>
              <a:gd name="connsiteY7" fmla="*/ 0 h 5678130"/>
              <a:gd name="connsiteX8" fmla="*/ 12192001 w 13386816"/>
              <a:gd name="connsiteY8" fmla="*/ 253934 h 5678130"/>
              <a:gd name="connsiteX9" fmla="*/ 12192002 w 13386816"/>
              <a:gd name="connsiteY9" fmla="*/ 253934 h 5678130"/>
              <a:gd name="connsiteX10" fmla="*/ 12192002 w 13386816"/>
              <a:gd name="connsiteY10" fmla="*/ 437956 h 5678130"/>
              <a:gd name="connsiteX11" fmla="*/ 13386816 w 13386816"/>
              <a:gd name="connsiteY11" fmla="*/ 437956 h 5678130"/>
              <a:gd name="connsiteX12" fmla="*/ 13386816 w 13386816"/>
              <a:gd name="connsiteY12" fmla="*/ 1625406 h 5678130"/>
              <a:gd name="connsiteX13" fmla="*/ 12192002 w 13386816"/>
              <a:gd name="connsiteY13" fmla="*/ 1625406 h 5678130"/>
              <a:gd name="connsiteX14" fmla="*/ 12192002 w 13386816"/>
              <a:gd name="connsiteY14" fmla="*/ 5678130 h 5678130"/>
              <a:gd name="connsiteX15" fmla="*/ 11913303 w 13386816"/>
              <a:gd name="connsiteY15" fmla="*/ 5678130 h 5678130"/>
              <a:gd name="connsiteX16" fmla="*/ 11685949 w 13386816"/>
              <a:gd name="connsiteY16" fmla="*/ 4391648 h 5678130"/>
              <a:gd name="connsiteX17" fmla="*/ 4406384 w 13386816"/>
              <a:gd name="connsiteY17" fmla="*/ 5678130 h 5678130"/>
              <a:gd name="connsiteX18" fmla="*/ 1 w 13386816"/>
              <a:gd name="connsiteY18" fmla="*/ 5678130 h 5678130"/>
              <a:gd name="connsiteX19" fmla="*/ 1 w 13386816"/>
              <a:gd name="connsiteY19" fmla="*/ 2004291 h 5678130"/>
              <a:gd name="connsiteX20" fmla="*/ 0 w 13386816"/>
              <a:gd name="connsiteY20" fmla="*/ 2004291 h 5678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3386816" h="5678130">
                <a:moveTo>
                  <a:pt x="0" y="0"/>
                </a:moveTo>
                <a:lnTo>
                  <a:pt x="10308628" y="0"/>
                </a:lnTo>
                <a:lnTo>
                  <a:pt x="10308628" y="1439999"/>
                </a:lnTo>
                <a:lnTo>
                  <a:pt x="10388183" y="1439999"/>
                </a:lnTo>
                <a:lnTo>
                  <a:pt x="10388183" y="1448242"/>
                </a:lnTo>
                <a:lnTo>
                  <a:pt x="11749087" y="1448242"/>
                </a:lnTo>
                <a:lnTo>
                  <a:pt x="11749087" y="0"/>
                </a:lnTo>
                <a:lnTo>
                  <a:pt x="12192001" y="0"/>
                </a:lnTo>
                <a:lnTo>
                  <a:pt x="12192001" y="253934"/>
                </a:lnTo>
                <a:lnTo>
                  <a:pt x="12192002" y="253934"/>
                </a:lnTo>
                <a:lnTo>
                  <a:pt x="12192002" y="437956"/>
                </a:lnTo>
                <a:lnTo>
                  <a:pt x="13386816" y="437956"/>
                </a:lnTo>
                <a:lnTo>
                  <a:pt x="13386816" y="1625406"/>
                </a:lnTo>
                <a:lnTo>
                  <a:pt x="12192002" y="1625406"/>
                </a:lnTo>
                <a:lnTo>
                  <a:pt x="12192002" y="5678130"/>
                </a:lnTo>
                <a:lnTo>
                  <a:pt x="11913303" y="5678130"/>
                </a:lnTo>
                <a:lnTo>
                  <a:pt x="11685949" y="4391648"/>
                </a:lnTo>
                <a:lnTo>
                  <a:pt x="4406384" y="5678130"/>
                </a:lnTo>
                <a:lnTo>
                  <a:pt x="1" y="5678130"/>
                </a:lnTo>
                <a:lnTo>
                  <a:pt x="1" y="2004291"/>
                </a:lnTo>
                <a:lnTo>
                  <a:pt x="0" y="200429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04BB4C72-74C9-EB42-09E6-497C3B315B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1"/>
            <a:ext cx="12192002" cy="5678130"/>
          </a:xfrm>
          <a:custGeom>
            <a:avLst/>
            <a:gdLst>
              <a:gd name="connsiteX0" fmla="*/ 0 w 12192002"/>
              <a:gd name="connsiteY0" fmla="*/ 0 h 5678130"/>
              <a:gd name="connsiteX1" fmla="*/ 10308628 w 12192002"/>
              <a:gd name="connsiteY1" fmla="*/ 0 h 5678130"/>
              <a:gd name="connsiteX2" fmla="*/ 10308628 w 12192002"/>
              <a:gd name="connsiteY2" fmla="*/ 1439999 h 5678130"/>
              <a:gd name="connsiteX3" fmla="*/ 10388184 w 12192002"/>
              <a:gd name="connsiteY3" fmla="*/ 1439999 h 5678130"/>
              <a:gd name="connsiteX4" fmla="*/ 10388184 w 12192002"/>
              <a:gd name="connsiteY4" fmla="*/ 1441047 h 5678130"/>
              <a:gd name="connsiteX5" fmla="*/ 11749088 w 12192002"/>
              <a:gd name="connsiteY5" fmla="*/ 1441047 h 5678130"/>
              <a:gd name="connsiteX6" fmla="*/ 11749088 w 12192002"/>
              <a:gd name="connsiteY6" fmla="*/ 0 h 5678130"/>
              <a:gd name="connsiteX7" fmla="*/ 12192001 w 12192002"/>
              <a:gd name="connsiteY7" fmla="*/ 0 h 5678130"/>
              <a:gd name="connsiteX8" fmla="*/ 12192001 w 12192002"/>
              <a:gd name="connsiteY8" fmla="*/ 253934 h 5678130"/>
              <a:gd name="connsiteX9" fmla="*/ 12192002 w 12192002"/>
              <a:gd name="connsiteY9" fmla="*/ 253934 h 5678130"/>
              <a:gd name="connsiteX10" fmla="*/ 12192002 w 12192002"/>
              <a:gd name="connsiteY10" fmla="*/ 5678130 h 5678130"/>
              <a:gd name="connsiteX11" fmla="*/ 11913303 w 12192002"/>
              <a:gd name="connsiteY11" fmla="*/ 5678130 h 5678130"/>
              <a:gd name="connsiteX12" fmla="*/ 11685949 w 12192002"/>
              <a:gd name="connsiteY12" fmla="*/ 4391648 h 5678130"/>
              <a:gd name="connsiteX13" fmla="*/ 4406381 w 12192002"/>
              <a:gd name="connsiteY13" fmla="*/ 5678130 h 5678130"/>
              <a:gd name="connsiteX14" fmla="*/ 1 w 12192002"/>
              <a:gd name="connsiteY14" fmla="*/ 5678130 h 5678130"/>
              <a:gd name="connsiteX15" fmla="*/ 1 w 12192002"/>
              <a:gd name="connsiteY15" fmla="*/ 2004291 h 5678130"/>
              <a:gd name="connsiteX16" fmla="*/ 0 w 12192002"/>
              <a:gd name="connsiteY16" fmla="*/ 2004291 h 5678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2" h="5678130">
                <a:moveTo>
                  <a:pt x="0" y="0"/>
                </a:moveTo>
                <a:lnTo>
                  <a:pt x="10308628" y="0"/>
                </a:lnTo>
                <a:lnTo>
                  <a:pt x="10308628" y="1439999"/>
                </a:lnTo>
                <a:lnTo>
                  <a:pt x="10388184" y="1439999"/>
                </a:lnTo>
                <a:lnTo>
                  <a:pt x="10388184" y="1441047"/>
                </a:lnTo>
                <a:lnTo>
                  <a:pt x="11749088" y="1441047"/>
                </a:lnTo>
                <a:lnTo>
                  <a:pt x="11749088" y="0"/>
                </a:lnTo>
                <a:lnTo>
                  <a:pt x="12192001" y="0"/>
                </a:lnTo>
                <a:lnTo>
                  <a:pt x="12192001" y="253934"/>
                </a:lnTo>
                <a:lnTo>
                  <a:pt x="12192002" y="253934"/>
                </a:lnTo>
                <a:lnTo>
                  <a:pt x="12192002" y="5678130"/>
                </a:lnTo>
                <a:lnTo>
                  <a:pt x="11913303" y="5678130"/>
                </a:lnTo>
                <a:lnTo>
                  <a:pt x="11685949" y="4391648"/>
                </a:lnTo>
                <a:lnTo>
                  <a:pt x="4406381" y="5678130"/>
                </a:lnTo>
                <a:lnTo>
                  <a:pt x="1" y="5678130"/>
                </a:lnTo>
                <a:lnTo>
                  <a:pt x="1" y="2004291"/>
                </a:lnTo>
                <a:lnTo>
                  <a:pt x="0" y="2004291"/>
                </a:lnTo>
                <a:close/>
              </a:path>
            </a:pathLst>
          </a:custGeom>
          <a:gradFill>
            <a:gsLst>
              <a:gs pos="0">
                <a:schemeClr val="accent6">
                  <a:alpha val="44254"/>
                  <a:lumMod val="0"/>
                </a:schemeClr>
              </a:gs>
              <a:gs pos="76000">
                <a:schemeClr val="accent6">
                  <a:alpha val="30475"/>
                  <a:lumMod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de-DE" smtClean="0">
                <a:solidFill>
                  <a:schemeClr val="lt1"/>
                </a:solidFill>
              </a:defRPr>
            </a:lvl1pPr>
            <a:lvl2pPr>
              <a:defRPr lang="de-DE" sz="1800" smtClean="0">
                <a:solidFill>
                  <a:schemeClr val="lt1"/>
                </a:solidFill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pPr lvl="0" algn="ctr"/>
            <a:r>
              <a:rPr lang="de-DE" dirty="0"/>
              <a:t> 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5E73228-08EB-9C89-6227-A40ECEB665A8}"/>
              </a:ext>
            </a:extLst>
          </p:cNvPr>
          <p:cNvSpPr/>
          <p:nvPr userDrawn="1"/>
        </p:nvSpPr>
        <p:spPr bwMode="gray">
          <a:xfrm>
            <a:off x="-1" y="5678131"/>
            <a:ext cx="12192001" cy="117987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pic>
        <p:nvPicPr>
          <p:cNvPr id="9" name="Grafik 8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4A1C04EF-2889-3F79-4D7B-BE1BF5A58D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007" y="6033252"/>
            <a:ext cx="792088" cy="49505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97B6DB3-EEE7-4915-7827-E9066B4CA9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3371" y="692696"/>
            <a:ext cx="9469053" cy="2376264"/>
          </a:xfrm>
          <a:effectLst>
            <a:outerShdw blurRad="50800" dist="12700" dir="5400000" algn="tl" rotWithShape="0">
              <a:prstClr val="black">
                <a:alpha val="23000"/>
              </a:prstClr>
            </a:outerShdw>
          </a:effectLst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AFDD00C-CDFF-C239-5260-4A6F25D54F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3371" y="3248980"/>
            <a:ext cx="7344817" cy="1656184"/>
          </a:xfrm>
          <a:effectLst>
            <a:outerShdw blurRad="50800" dist="12700" dir="5400000" algn="tl" rotWithShape="0">
              <a:prstClr val="black">
                <a:alpha val="23000"/>
              </a:prstClr>
            </a:outerShdw>
          </a:effectLst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FB3D1DE-7F02-3496-EE5A-F3B8ABB4597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0452484" y="6165304"/>
            <a:ext cx="1296144" cy="360040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fld id="{EA5A4494-E2D0-DB46-B666-7FD0482C0D50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F8F1AD3-D787-A06B-D930-A04BB11224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5143" y="6990778"/>
            <a:ext cx="9046565" cy="374947"/>
          </a:xfrm>
        </p:spPr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CF22E7D-9981-664B-376A-C849A72FD2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7533" y="6990778"/>
            <a:ext cx="582559" cy="365125"/>
          </a:xfrm>
        </p:spPr>
        <p:txBody>
          <a:bodyPr/>
          <a:lstStyle/>
          <a:p>
            <a:fld id="{C7DC5FB3-A06A-E744-8386-10E90D7D3EDB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12592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D2B00B0-84BD-4403-0C6D-8FAD476C6A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wrap="square"/>
          <a:lstStyle/>
          <a:p>
            <a:fld id="{F47B85E6-BADC-4A41-98A8-B7D34ADC606D}" type="datetime1">
              <a:rPr lang="de-DE" smtClean="0"/>
              <a:t>03.03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D1D86BD-8DFA-AC23-5541-9EA9170824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wrap="square"/>
          <a:lstStyle/>
          <a:p>
            <a:r>
              <a:rPr lang="de-DE"/>
              <a:t>deas Folienmaster 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4D0EE6-59FA-C03A-2C5E-245ED99D5F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/>
          <a:lstStyle/>
          <a:p>
            <a:fld id="{CB58C3F2-3AE3-417E-B204-81AF71A01582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Bildplatzhalter 22">
            <a:extLst>
              <a:ext uri="{FF2B5EF4-FFF2-40B4-BE49-F238E27FC236}">
                <a16:creationId xmlns:a16="http://schemas.microsoft.com/office/drawing/2014/main" id="{0F8ACB48-9E46-4DD6-CC5A-645AB7FC5B4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2913" y="3759200"/>
            <a:ext cx="2071687" cy="207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8048AC5-594B-1DD9-FDAA-3DF46B4BE91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2913" y="1455737"/>
            <a:ext cx="2071687" cy="2070000"/>
          </a:xfrm>
          <a:solidFill>
            <a:schemeClr val="accent1"/>
          </a:solidFill>
        </p:spPr>
        <p:txBody>
          <a:bodyPr wrap="square" lIns="216000" tIns="702000" rIns="216000" bIns="216000"/>
          <a:lstStyle>
            <a:lvl2pPr>
              <a:buClr>
                <a:schemeClr val="bg1"/>
              </a:buClr>
              <a:defRPr/>
            </a:lvl2pPr>
          </a:lstStyle>
          <a:p>
            <a:pPr lvl="0"/>
            <a:r>
              <a:rPr lang="de-DE" dirty="0"/>
              <a:t>Kapitelname, einzeilig oder zweizeilig 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81ED7A8F-EC36-AD5D-795D-A07B5836E9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9979" y="1464204"/>
            <a:ext cx="671512" cy="709612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12" name="Bildplatzhalter 22">
            <a:extLst>
              <a:ext uri="{FF2B5EF4-FFF2-40B4-BE49-F238E27FC236}">
                <a16:creationId xmlns:a16="http://schemas.microsoft.com/office/drawing/2014/main" id="{64470DC2-A0DA-4153-D5E5-7A6C75D17F8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745847" y="1455737"/>
            <a:ext cx="2071687" cy="207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2868D609-3E85-D0E3-F312-5CBA89132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745847" y="3759200"/>
            <a:ext cx="2071687" cy="2070000"/>
          </a:xfrm>
          <a:solidFill>
            <a:schemeClr val="accent1"/>
          </a:solidFill>
        </p:spPr>
        <p:txBody>
          <a:bodyPr wrap="square" lIns="216000" tIns="702000" rIns="216000" bIns="216000"/>
          <a:lstStyle>
            <a:lvl2pPr>
              <a:buClr>
                <a:schemeClr val="bg1"/>
              </a:buClr>
              <a:defRPr/>
            </a:lvl2pPr>
          </a:lstStyle>
          <a:p>
            <a:pPr lvl="0"/>
            <a:r>
              <a:rPr lang="de-DE" dirty="0"/>
              <a:t>Kapitelname, einzeilig oder zweizeilig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6FC58F59-E769-3FD3-B94A-9F649D39DE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82913" y="3767667"/>
            <a:ext cx="671512" cy="709612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15" name="Bildplatzhalter 22">
            <a:extLst>
              <a:ext uri="{FF2B5EF4-FFF2-40B4-BE49-F238E27FC236}">
                <a16:creationId xmlns:a16="http://schemas.microsoft.com/office/drawing/2014/main" id="{DFD28B17-98A2-2B15-FCD0-8B81A26107E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048781" y="3759200"/>
            <a:ext cx="2071687" cy="207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BDE54316-E3DC-A45F-EDE0-EAD90343FD6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048781" y="1455737"/>
            <a:ext cx="2071687" cy="2070000"/>
          </a:xfrm>
          <a:solidFill>
            <a:schemeClr val="accent1"/>
          </a:solidFill>
        </p:spPr>
        <p:txBody>
          <a:bodyPr wrap="square" lIns="216000" tIns="702000" rIns="216000" bIns="216000"/>
          <a:lstStyle>
            <a:lvl2pPr>
              <a:buClr>
                <a:schemeClr val="bg1"/>
              </a:buClr>
              <a:defRPr/>
            </a:lvl2pPr>
          </a:lstStyle>
          <a:p>
            <a:pPr lvl="0"/>
            <a:r>
              <a:rPr lang="de-DE" dirty="0"/>
              <a:t>Kapitelname, einzeilig oder zweizeilig 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F74BA473-28FD-4219-CA25-75FDF682224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85847" y="1464204"/>
            <a:ext cx="671512" cy="709612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18" name="Bildplatzhalter 22">
            <a:extLst>
              <a:ext uri="{FF2B5EF4-FFF2-40B4-BE49-F238E27FC236}">
                <a16:creationId xmlns:a16="http://schemas.microsoft.com/office/drawing/2014/main" id="{F0F7BF27-4056-7426-B634-41ACEE5D030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360181" y="1455737"/>
            <a:ext cx="2071687" cy="207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BA545E05-7EF1-DDCC-F8E6-821D4E0D0F0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60181" y="3767667"/>
            <a:ext cx="2071687" cy="2070000"/>
          </a:xfrm>
          <a:solidFill>
            <a:schemeClr val="accent1"/>
          </a:solidFill>
        </p:spPr>
        <p:txBody>
          <a:bodyPr wrap="square" lIns="216000" tIns="702000" rIns="216000" bIns="216000"/>
          <a:lstStyle>
            <a:lvl2pPr>
              <a:buClr>
                <a:schemeClr val="bg1"/>
              </a:buClr>
              <a:defRPr/>
            </a:lvl2pPr>
          </a:lstStyle>
          <a:p>
            <a:pPr lvl="0"/>
            <a:r>
              <a:rPr lang="de-DE" dirty="0"/>
              <a:t>Kapitelname, einzeilig oder zweizeilig 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B063CBC3-C043-721C-D305-C3ACE9A72C4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97247" y="3776134"/>
            <a:ext cx="671512" cy="709612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21" name="Bildplatzhalter 22">
            <a:extLst>
              <a:ext uri="{FF2B5EF4-FFF2-40B4-BE49-F238E27FC236}">
                <a16:creationId xmlns:a16="http://schemas.microsoft.com/office/drawing/2014/main" id="{13AA4480-97AF-AED6-D45E-EA0764A4599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9654647" y="3759200"/>
            <a:ext cx="2071687" cy="207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141CDBB7-21EF-521F-5D0E-8D8679FBB5F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654647" y="1455737"/>
            <a:ext cx="2071687" cy="2070000"/>
          </a:xfrm>
          <a:solidFill>
            <a:schemeClr val="accent1"/>
          </a:solidFill>
        </p:spPr>
        <p:txBody>
          <a:bodyPr wrap="square" lIns="216000" tIns="702000" rIns="216000" bIns="216000"/>
          <a:lstStyle>
            <a:lvl2pPr>
              <a:buClr>
                <a:schemeClr val="bg1"/>
              </a:buClr>
              <a:defRPr/>
            </a:lvl2pPr>
          </a:lstStyle>
          <a:p>
            <a:pPr lvl="0"/>
            <a:r>
              <a:rPr lang="de-DE" dirty="0"/>
              <a:t>Kapitelname, einzeilig oder zweizeilig </a:t>
            </a: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88595E90-CDBD-D4D3-9405-C57EB74449B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891713" y="1464204"/>
            <a:ext cx="671512" cy="709612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5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3A61E1E-9204-F898-1D41-53019DB2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821058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5454CDF4-D0D9-A042-89B4-B03DA697D8B2}"/>
              </a:ext>
            </a:extLst>
          </p:cNvPr>
          <p:cNvSpPr>
            <a:spLocks noChangeAspect="1"/>
          </p:cNvSpPr>
          <p:nvPr userDrawn="1"/>
        </p:nvSpPr>
        <p:spPr>
          <a:xfrm rot="21000000">
            <a:off x="5790435" y="2080520"/>
            <a:ext cx="3553199" cy="35531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3A72B9C2-0C4A-D876-5B91-AE41037800F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2312496 h 6858000"/>
              <a:gd name="connsiteX3" fmla="*/ 5508923 w 6096000"/>
              <a:gd name="connsiteY3" fmla="*/ 2416013 h 6858000"/>
              <a:gd name="connsiteX4" fmla="*/ 6096000 w 6096000"/>
              <a:gd name="connsiteY4" fmla="*/ 5745494 h 6858000"/>
              <a:gd name="connsiteX5" fmla="*/ 6096000 w 6096000"/>
              <a:gd name="connsiteY5" fmla="*/ 6858000 h 6858000"/>
              <a:gd name="connsiteX6" fmla="*/ 0 w 6096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2312496"/>
                </a:lnTo>
                <a:lnTo>
                  <a:pt x="5508923" y="2416013"/>
                </a:lnTo>
                <a:lnTo>
                  <a:pt x="6096000" y="5745494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3744132-DA0E-DD1E-BAF5-6FA0363B7C4A}"/>
              </a:ext>
            </a:extLst>
          </p:cNvPr>
          <p:cNvSpPr/>
          <p:nvPr userDrawn="1"/>
        </p:nvSpPr>
        <p:spPr bwMode="gray">
          <a:xfrm>
            <a:off x="6096000" y="2529262"/>
            <a:ext cx="6096000" cy="4328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3" name="Titel 4">
            <a:extLst>
              <a:ext uri="{FF2B5EF4-FFF2-40B4-BE49-F238E27FC236}">
                <a16:creationId xmlns:a16="http://schemas.microsoft.com/office/drawing/2014/main" id="{FEEC7539-A1DA-B917-540A-2839D4ABEF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8048" y="3789040"/>
            <a:ext cx="5220581" cy="1296144"/>
          </a:xfrm>
        </p:spPr>
        <p:txBody>
          <a:bodyPr wrap="square">
            <a:noAutofit/>
          </a:bodyPr>
          <a:lstStyle>
            <a:lvl1pPr>
              <a:defRPr cap="all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5" name="Textplatzhalter 21">
            <a:extLst>
              <a:ext uri="{FF2B5EF4-FFF2-40B4-BE49-F238E27FC236}">
                <a16:creationId xmlns:a16="http://schemas.microsoft.com/office/drawing/2014/main" id="{B207B098-43B1-E6D8-ABD3-24976DA888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28048" y="2672917"/>
            <a:ext cx="1155074" cy="893964"/>
          </a:xfrm>
        </p:spPr>
        <p:txBody>
          <a:bodyPr wrap="square">
            <a:noAutofit/>
          </a:bodyPr>
          <a:lstStyle>
            <a:lvl1pPr>
              <a:defRPr sz="5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4E8D404-E262-54A5-F8AB-434E5034E0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28048" y="5265204"/>
            <a:ext cx="5220581" cy="115212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3E1549B-48FC-9CC5-8869-809CD88202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2800" y="384235"/>
            <a:ext cx="880619" cy="671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372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7B040D-223C-2149-B346-7F809723D0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 rot="21000000">
            <a:off x="10111739" y="6013815"/>
            <a:ext cx="2184600" cy="1010595"/>
          </a:xfrm>
          <a:custGeom>
            <a:avLst/>
            <a:gdLst>
              <a:gd name="connsiteX0" fmla="*/ 2184600 w 2184600"/>
              <a:gd name="connsiteY0" fmla="*/ 0 h 1010595"/>
              <a:gd name="connsiteX1" fmla="*/ 2006404 w 2184600"/>
              <a:gd name="connsiteY1" fmla="*/ 1010595 h 1010595"/>
              <a:gd name="connsiteX2" fmla="*/ 0 w 2184600"/>
              <a:gd name="connsiteY2" fmla="*/ 656812 h 1010595"/>
              <a:gd name="connsiteX3" fmla="*/ 1 w 2184600"/>
              <a:gd name="connsiteY3" fmla="*/ 0 h 1010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4600" h="1010595">
                <a:moveTo>
                  <a:pt x="2184600" y="0"/>
                </a:moveTo>
                <a:lnTo>
                  <a:pt x="2006404" y="1010595"/>
                </a:lnTo>
                <a:lnTo>
                  <a:pt x="0" y="656812"/>
                </a:lnTo>
                <a:lnTo>
                  <a:pt x="1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A811E06-C72F-399E-27CB-0BE1B62F274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691B244-C622-9C45-853C-56C3B3C5E889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06D40E9-D13D-9B10-31AF-C416D889B8A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C18FE10-256D-A79D-77D5-B97A7AEA840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0A938166-F6D1-E970-261D-6781666D11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DCF99E43-F928-E0E8-A416-DABA9278E42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43371" y="1628800"/>
            <a:ext cx="11305257" cy="4356484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6437522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headline und Inh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239DEBE-9C52-BB1D-2C81-C211D950E1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3371" y="1628800"/>
            <a:ext cx="11305257" cy="360040"/>
          </a:xfrm>
        </p:spPr>
        <p:txBody>
          <a:bodyPr wrap="square" anchor="t">
            <a:no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5359C7C-3818-5095-E244-236BE9F71B4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72D13A0-9746-3142-9818-A940B2AF69EB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808C03AD-0833-A91C-0D35-7CBB7877D48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5A12593-DB82-D1EE-FF06-F50568CFB87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AE0F1C0-60E9-5BFC-1B41-57CE747507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DE8C6C82-6516-4BB7-E060-79F7EAA30B5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3371" y="2024844"/>
            <a:ext cx="11305257" cy="396044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0500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mit farbiger E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2">
            <a:extLst>
              <a:ext uri="{FF2B5EF4-FFF2-40B4-BE49-F238E27FC236}">
                <a16:creationId xmlns:a16="http://schemas.microsoft.com/office/drawing/2014/main" id="{C42E7453-1DF4-9614-3AC3-6735490C14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 rot="21000000">
            <a:off x="10111739" y="6013815"/>
            <a:ext cx="2184600" cy="1010595"/>
          </a:xfrm>
          <a:custGeom>
            <a:avLst/>
            <a:gdLst>
              <a:gd name="connsiteX0" fmla="*/ 2184600 w 2184600"/>
              <a:gd name="connsiteY0" fmla="*/ 0 h 1010595"/>
              <a:gd name="connsiteX1" fmla="*/ 2006404 w 2184600"/>
              <a:gd name="connsiteY1" fmla="*/ 1010595 h 1010595"/>
              <a:gd name="connsiteX2" fmla="*/ 0 w 2184600"/>
              <a:gd name="connsiteY2" fmla="*/ 656812 h 1010595"/>
              <a:gd name="connsiteX3" fmla="*/ 1 w 2184600"/>
              <a:gd name="connsiteY3" fmla="*/ 0 h 1010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4600" h="1010595">
                <a:moveTo>
                  <a:pt x="2184600" y="0"/>
                </a:moveTo>
                <a:lnTo>
                  <a:pt x="2006404" y="1010595"/>
                </a:lnTo>
                <a:lnTo>
                  <a:pt x="0" y="656812"/>
                </a:lnTo>
                <a:lnTo>
                  <a:pt x="1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403866E-41C1-ECA9-15AF-2F640211E91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8CE42F8-F844-FE46-8B3D-A6294DC644A5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FB2A9A4-8399-8E6D-2779-39EBE10FE5C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FD66196-6B14-25E7-55BE-F875FEA7D94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A330D14-532F-C5AD-EFC9-DE97CBA6A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18453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F47E219-62C5-B4B6-2C73-4D61898CB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70A2C8-24BE-F240-86FB-FB1C1AC17C5F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B535B73-59C7-34C2-5BB4-CD928A736A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F94DAB8-FD34-29E6-F6D8-5B48109938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05E54D96-5481-F5CB-6D28-FB45D9ACF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677313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und 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239DEBE-9C52-BB1D-2C81-C211D950E1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3371" y="1628800"/>
            <a:ext cx="11305257" cy="360040"/>
          </a:xfrm>
        </p:spPr>
        <p:txBody>
          <a:bodyPr wrap="square" anchor="t">
            <a:no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5359C7C-3818-5095-E244-236BE9F71B4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4BE00BF-6598-F74F-85CB-62F7172C2F39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808C03AD-0833-A91C-0D35-7CBB7877D48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5A12593-DB82-D1EE-FF06-F50568CFB87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AE0F1C0-60E9-5BFC-1B41-57CE747507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81157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F1935B2-8C10-9427-7A12-FD1FA9222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B6BB7F-1931-3E49-81D0-28964D34C72C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A930813-022E-33B5-5E92-31A20B4E6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5757B6F-81E4-DB54-E655-362EC54EE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39848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mit Bil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 9">
            <a:extLst>
              <a:ext uri="{FF2B5EF4-FFF2-40B4-BE49-F238E27FC236}">
                <a16:creationId xmlns:a16="http://schemas.microsoft.com/office/drawing/2014/main" id="{3C0073DC-7825-46EB-4304-8C646E3A0117}"/>
              </a:ext>
            </a:extLst>
          </p:cNvPr>
          <p:cNvSpPr>
            <a:spLocks noChangeAspect="1"/>
          </p:cNvSpPr>
          <p:nvPr userDrawn="1"/>
        </p:nvSpPr>
        <p:spPr>
          <a:xfrm rot="21000000">
            <a:off x="6326862" y="2041859"/>
            <a:ext cx="5291450" cy="5291448"/>
          </a:xfrm>
          <a:custGeom>
            <a:avLst/>
            <a:gdLst>
              <a:gd name="connsiteX0" fmla="*/ 931517 w 5291450"/>
              <a:gd name="connsiteY0" fmla="*/ 0 h 5291448"/>
              <a:gd name="connsiteX1" fmla="*/ 157836 w 5291450"/>
              <a:gd name="connsiteY1" fmla="*/ 4387763 h 5291448"/>
              <a:gd name="connsiteX2" fmla="*/ 5282898 w 5291450"/>
              <a:gd name="connsiteY2" fmla="*/ 5291448 h 5291448"/>
              <a:gd name="connsiteX3" fmla="*/ 5074235 w 5291450"/>
              <a:gd name="connsiteY3" fmla="*/ 5291448 h 5291448"/>
              <a:gd name="connsiteX4" fmla="*/ 0 w 5291450"/>
              <a:gd name="connsiteY4" fmla="*/ 4396723 h 5291448"/>
              <a:gd name="connsiteX5" fmla="*/ 0 w 5291450"/>
              <a:gd name="connsiteY5" fmla="*/ 0 h 5291448"/>
              <a:gd name="connsiteX6" fmla="*/ 5291450 w 5291450"/>
              <a:gd name="connsiteY6" fmla="*/ 0 h 5291448"/>
              <a:gd name="connsiteX7" fmla="*/ 5291450 w 5291450"/>
              <a:gd name="connsiteY7" fmla="*/ 9935 h 5291448"/>
              <a:gd name="connsiteX8" fmla="*/ 5235102 w 5291450"/>
              <a:gd name="connsiteY8" fmla="*/ 0 h 5291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91450" h="5291448">
                <a:moveTo>
                  <a:pt x="931517" y="0"/>
                </a:moveTo>
                <a:lnTo>
                  <a:pt x="157836" y="4387763"/>
                </a:lnTo>
                <a:lnTo>
                  <a:pt x="5282898" y="5291448"/>
                </a:lnTo>
                <a:lnTo>
                  <a:pt x="5074235" y="5291448"/>
                </a:lnTo>
                <a:lnTo>
                  <a:pt x="0" y="4396723"/>
                </a:lnTo>
                <a:lnTo>
                  <a:pt x="0" y="0"/>
                </a:lnTo>
                <a:close/>
                <a:moveTo>
                  <a:pt x="5291450" y="0"/>
                </a:moveTo>
                <a:lnTo>
                  <a:pt x="5291450" y="9935"/>
                </a:lnTo>
                <a:lnTo>
                  <a:pt x="523510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7F8BE6DD-D9E7-47B3-655D-49FEEF1083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784994" y="1571222"/>
            <a:ext cx="5424178" cy="5286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629EFC7-1188-26BD-AA3A-FE03C6B40F7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4F1F151-6BFD-9147-A537-C74541CDCEDC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53A6447-1F1C-F88C-4187-6B8247DE35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3371" y="6273316"/>
            <a:ext cx="5652629" cy="360040"/>
          </a:xfrm>
        </p:spPr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9FB94F-C682-CA1F-1F6D-9B044FF7DFE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F827ABC3-2229-26B2-750E-EE7B50BD699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3371" y="1628800"/>
            <a:ext cx="4932549" cy="4356484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8B7A3226-78CC-5F99-3120-D1B90F521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11305257" cy="936104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1659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mit Bild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7E49D8D9-6850-02A5-FC7B-8BBAAC415A3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839002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928330F-C169-CDD3-D247-028959D8B53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1277349-73EA-6E4F-8821-16EEB35D6DB5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498A3E9-7893-B862-C2E3-28D1451F239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3371" y="6273316"/>
            <a:ext cx="6120681" cy="3600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B07BF7-46F1-0751-0D59-7D3D282CE2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Inhaltsplatzhalter 12">
            <a:extLst>
              <a:ext uri="{FF2B5EF4-FFF2-40B4-BE49-F238E27FC236}">
                <a16:creationId xmlns:a16="http://schemas.microsoft.com/office/drawing/2014/main" id="{9DCFE338-C052-856A-1F71-28C60281808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284132" y="1628800"/>
            <a:ext cx="4464496" cy="4356484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400C86D6-76FF-6DBD-B1B8-AC3530A04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4132" y="404664"/>
            <a:ext cx="4464496" cy="936104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2855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01 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8D3E42E8-4F6E-C75A-3DF7-831D9B351BD9}"/>
              </a:ext>
            </a:extLst>
          </p:cNvPr>
          <p:cNvSpPr>
            <a:spLocks noChangeAspect="1"/>
          </p:cNvSpPr>
          <p:nvPr userDrawn="1"/>
        </p:nvSpPr>
        <p:spPr>
          <a:xfrm rot="21000000">
            <a:off x="765507" y="2644542"/>
            <a:ext cx="3553199" cy="35531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3744132-DA0E-DD1E-BAF5-6FA0363B7C4A}"/>
              </a:ext>
            </a:extLst>
          </p:cNvPr>
          <p:cNvSpPr/>
          <p:nvPr userDrawn="1"/>
        </p:nvSpPr>
        <p:spPr bwMode="gray">
          <a:xfrm>
            <a:off x="1084820" y="3093284"/>
            <a:ext cx="5011180" cy="37647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3" name="Titel 4">
            <a:extLst>
              <a:ext uri="{FF2B5EF4-FFF2-40B4-BE49-F238E27FC236}">
                <a16:creationId xmlns:a16="http://schemas.microsoft.com/office/drawing/2014/main" id="{3165B5C7-4697-AFB0-5B68-C7169C1307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3492" y="3429000"/>
            <a:ext cx="4212468" cy="2160240"/>
          </a:xfrm>
        </p:spPr>
        <p:txBody>
          <a:bodyPr wrap="square">
            <a:noAutofit/>
          </a:bodyPr>
          <a:lstStyle>
            <a:lvl1pPr>
              <a:defRPr sz="3600" cap="all" baseline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ACC227B-635E-3138-C873-4C9A5B70AF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23492" y="5589240"/>
            <a:ext cx="4212468" cy="540060"/>
          </a:xfrm>
        </p:spPr>
        <p:txBody>
          <a:bodyPr wrap="square" anchor="b">
            <a:noAutofit/>
          </a:bodyPr>
          <a:lstStyle>
            <a:lvl4pPr>
              <a:defRPr sz="1600" b="0" i="0">
                <a:solidFill>
                  <a:schemeClr val="tx1"/>
                </a:solidFill>
                <a:latin typeface="+mn-lt"/>
              </a:defRPr>
            </a:lvl4pPr>
          </a:lstStyle>
          <a:p>
            <a:pPr lvl="3"/>
            <a:r>
              <a:rPr lang="de-DE" dirty="0" err="1"/>
              <a:t>Subtitel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5841FF27-778C-8ED0-6472-C49CE34B040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523492" y="6201308"/>
            <a:ext cx="4212468" cy="288032"/>
          </a:xfrm>
        </p:spPr>
        <p:txBody>
          <a:bodyPr wrap="square" lIns="0">
            <a:noAutofit/>
          </a:bodyPr>
          <a:lstStyle>
            <a:lvl1pPr algn="l"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910B5680-8CC6-B14C-8451-0F89B574F0CC}" type="datetime1">
              <a:rPr lang="de-DE" smtClean="0"/>
              <a:t>03.03.2025</a:t>
            </a:fld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CFC0E9D-C8DB-7A84-E4F2-5F9EDFD7E8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913" y="441325"/>
            <a:ext cx="1403493" cy="878042"/>
          </a:xfrm>
          <a:prstGeom prst="rect">
            <a:avLst/>
          </a:prstGeom>
        </p:spPr>
      </p:pic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7F0D7EF7-9929-27E1-188A-6B7F73B04FD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279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4212628 w 6096000"/>
              <a:gd name="connsiteY1" fmla="*/ 0 h 6858000"/>
              <a:gd name="connsiteX2" fmla="*/ 4212628 w 6096000"/>
              <a:gd name="connsiteY2" fmla="*/ 1439721 h 6858000"/>
              <a:gd name="connsiteX3" fmla="*/ 5652628 w 6096000"/>
              <a:gd name="connsiteY3" fmla="*/ 1439721 h 6858000"/>
              <a:gd name="connsiteX4" fmla="*/ 5652628 w 6096000"/>
              <a:gd name="connsiteY4" fmla="*/ 908441 h 6858000"/>
              <a:gd name="connsiteX5" fmla="*/ 5653086 w 6096000"/>
              <a:gd name="connsiteY5" fmla="*/ 908441 h 6858000"/>
              <a:gd name="connsiteX6" fmla="*/ 5653086 w 6096000"/>
              <a:gd name="connsiteY6" fmla="*/ 0 h 6858000"/>
              <a:gd name="connsiteX7" fmla="*/ 6096000 w 6096000"/>
              <a:gd name="connsiteY7" fmla="*/ 0 h 6858000"/>
              <a:gd name="connsiteX8" fmla="*/ 6096000 w 6096000"/>
              <a:gd name="connsiteY8" fmla="*/ 6858000 h 6858000"/>
              <a:gd name="connsiteX9" fmla="*/ 0 w 6096000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4212628" y="0"/>
                </a:lnTo>
                <a:lnTo>
                  <a:pt x="4212628" y="1439721"/>
                </a:lnTo>
                <a:lnTo>
                  <a:pt x="5652628" y="1439721"/>
                </a:lnTo>
                <a:lnTo>
                  <a:pt x="5652628" y="908441"/>
                </a:lnTo>
                <a:lnTo>
                  <a:pt x="5653086" y="908441"/>
                </a:lnTo>
                <a:lnTo>
                  <a:pt x="5653086" y="0"/>
                </a:ln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4FD5263E-FA41-E16F-97B4-F5BBB26CF99A}"/>
              </a:ext>
            </a:extLst>
          </p:cNvPr>
          <p:cNvGrpSpPr/>
          <p:nvPr userDrawn="1"/>
        </p:nvGrpSpPr>
        <p:grpSpPr>
          <a:xfrm>
            <a:off x="10284352" y="0"/>
            <a:ext cx="1488552" cy="1464276"/>
            <a:chOff x="10284352" y="0"/>
            <a:chExt cx="1488552" cy="1464276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4F669379-93FC-6363-D811-19528D74E713}"/>
                </a:ext>
              </a:extLst>
            </p:cNvPr>
            <p:cNvSpPr/>
            <p:nvPr userDrawn="1"/>
          </p:nvSpPr>
          <p:spPr>
            <a:xfrm>
              <a:off x="10284352" y="0"/>
              <a:ext cx="1488552" cy="146427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4709F831-A078-3ED4-EF0E-60A9FC1E694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02800" y="384235"/>
              <a:ext cx="880619" cy="6715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67547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mit Bild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7E49D8D9-6850-02A5-FC7B-8BBAAC415A3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52998" y="9136"/>
            <a:ext cx="6839002" cy="6858001"/>
          </a:xfrm>
          <a:custGeom>
            <a:avLst/>
            <a:gdLst>
              <a:gd name="connsiteX0" fmla="*/ 0 w 6839002"/>
              <a:gd name="connsiteY0" fmla="*/ 0 h 6858001"/>
              <a:gd name="connsiteX1" fmla="*/ 6839002 w 6839002"/>
              <a:gd name="connsiteY1" fmla="*/ 0 h 6858001"/>
              <a:gd name="connsiteX2" fmla="*/ 6839002 w 6839002"/>
              <a:gd name="connsiteY2" fmla="*/ 6858001 h 6858001"/>
              <a:gd name="connsiteX3" fmla="*/ 1209250 w 6839002"/>
              <a:gd name="connsiteY3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39002" h="6858001">
                <a:moveTo>
                  <a:pt x="0" y="0"/>
                </a:moveTo>
                <a:lnTo>
                  <a:pt x="6839002" y="0"/>
                </a:lnTo>
                <a:lnTo>
                  <a:pt x="6839002" y="6858001"/>
                </a:lnTo>
                <a:lnTo>
                  <a:pt x="1209250" y="685800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76480A1-6C15-D759-87B7-90A879D72E5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8AE35F-2B6A-3440-BA2C-4E8B014F1844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E7C4DE07-9123-76E9-6299-FE7D83A5798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3371" y="6273316"/>
            <a:ext cx="5652629" cy="360040"/>
          </a:xfrm>
        </p:spPr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48B76C4-C252-2C3A-47A4-407040E0D70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FEFC658-0ADC-2A0D-37DD-7FD2DF039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4644517" cy="936104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Inhaltsplatzhalter 12">
            <a:extLst>
              <a:ext uri="{FF2B5EF4-FFF2-40B4-BE49-F238E27FC236}">
                <a16:creationId xmlns:a16="http://schemas.microsoft.com/office/drawing/2014/main" id="{64DDEB9F-D327-5A7F-779B-47A2B3397EB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3371" y="1628800"/>
            <a:ext cx="4644517" cy="4356484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89693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mit Bil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ihandform 20">
            <a:extLst>
              <a:ext uri="{FF2B5EF4-FFF2-40B4-BE49-F238E27FC236}">
                <a16:creationId xmlns:a16="http://schemas.microsoft.com/office/drawing/2014/main" id="{6AE24A70-89A6-56D0-106C-F1B4F71E8B24}"/>
              </a:ext>
            </a:extLst>
          </p:cNvPr>
          <p:cNvSpPr/>
          <p:nvPr userDrawn="1"/>
        </p:nvSpPr>
        <p:spPr>
          <a:xfrm>
            <a:off x="1" y="457123"/>
            <a:ext cx="12192001" cy="6400879"/>
          </a:xfrm>
          <a:custGeom>
            <a:avLst/>
            <a:gdLst>
              <a:gd name="connsiteX0" fmla="*/ 12192001 w 12192001"/>
              <a:gd name="connsiteY0" fmla="*/ 0 h 6400879"/>
              <a:gd name="connsiteX1" fmla="*/ 12192001 w 12192001"/>
              <a:gd name="connsiteY1" fmla="*/ 6400879 h 6400879"/>
              <a:gd name="connsiteX2" fmla="*/ 1 w 12192001"/>
              <a:gd name="connsiteY2" fmla="*/ 6400878 h 6400879"/>
              <a:gd name="connsiteX3" fmla="*/ 0 w 12192001"/>
              <a:gd name="connsiteY3" fmla="*/ 2149779 h 6400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400879">
                <a:moveTo>
                  <a:pt x="12192001" y="0"/>
                </a:moveTo>
                <a:lnTo>
                  <a:pt x="12192001" y="6400879"/>
                </a:lnTo>
                <a:lnTo>
                  <a:pt x="1" y="6400878"/>
                </a:lnTo>
                <a:lnTo>
                  <a:pt x="0" y="214977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BC6640D8-86C8-FC12-8394-69B73CD74F9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84686" y="-712"/>
            <a:ext cx="4978400" cy="68587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BF92F67-707F-8D39-E4B1-97E1600740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3371" y="3501008"/>
            <a:ext cx="5436605" cy="1728192"/>
          </a:xfrm>
          <a:solidFill>
            <a:schemeClr val="tx1"/>
          </a:solidFill>
          <a:effectLst>
            <a:outerShdw dist="44450" dir="10800000" algn="r" rotWithShape="0">
              <a:schemeClr val="accent1"/>
            </a:outerShdw>
          </a:effectLst>
        </p:spPr>
        <p:txBody>
          <a:bodyPr wrap="square" l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180000" indent="-180000">
              <a:defRPr>
                <a:solidFill>
                  <a:schemeClr val="bg1"/>
                </a:solidFill>
              </a:defRPr>
            </a:lvl2pPr>
            <a:lvl3pPr marL="360000" indent="-180975"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0D72C8-96F3-61FB-CB0E-9623B565748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9712AB7-73F7-9548-AE62-9510BB2EC887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27D3445-6053-6B45-BDE9-521744B4027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>
          <a:xfrm>
            <a:off x="443372" y="6273316"/>
            <a:ext cx="5661294" cy="360040"/>
          </a:xfrm>
        </p:spPr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2637E1-A467-3A96-64F5-638F4155E63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D00755AC-3F7C-F042-FD88-D175CAC8A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5472609" cy="936104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688398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mit Bild 0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D07A51CD-3598-3E5E-A07C-8DD61AC0693D}"/>
              </a:ext>
            </a:extLst>
          </p:cNvPr>
          <p:cNvSpPr/>
          <p:nvPr userDrawn="1"/>
        </p:nvSpPr>
        <p:spPr>
          <a:xfrm rot="21000000">
            <a:off x="5925516" y="1836187"/>
            <a:ext cx="3399840" cy="47635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1C36545E-0C50-F123-37B7-5B2537431FA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5512" y="-712"/>
            <a:ext cx="5766487" cy="68587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17BDE02-D682-26DC-1DD4-54042BECE62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CBDCA2-482E-9A4C-9C6B-583FF4A8D3C6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660D0F4-7E81-650D-7C44-3180B2EF260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3371" y="6273316"/>
            <a:ext cx="5652629" cy="360040"/>
          </a:xfrm>
        </p:spPr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A5A0AC7-D15C-BBB2-FC31-528D215DF9E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3A4B97F0-7D57-560A-DD4E-83B6FE922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443371" y="3501008"/>
            <a:ext cx="4824000" cy="1728192"/>
          </a:xfrm>
          <a:solidFill>
            <a:schemeClr val="tx1"/>
          </a:solidFill>
          <a:effectLst>
            <a:outerShdw dist="44450" dir="10800000" algn="r" rotWithShape="0">
              <a:schemeClr val="accent1"/>
            </a:outerShdw>
          </a:effectLst>
        </p:spPr>
        <p:txBody>
          <a:bodyPr wrap="square" l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180000" indent="-180000">
              <a:defRPr>
                <a:solidFill>
                  <a:schemeClr val="bg1"/>
                </a:solidFill>
              </a:defRPr>
            </a:lvl2pPr>
            <a:lvl3pPr marL="360000" indent="-180975"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E395BDCB-95F9-CC5F-D660-30F44F2EB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5472609" cy="93610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20836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e mit Bild 0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990856F-962E-C645-F295-472D46606C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83196" y="0"/>
            <a:ext cx="8008805" cy="6858001"/>
          </a:xfrm>
          <a:custGeom>
            <a:avLst/>
            <a:gdLst>
              <a:gd name="connsiteX0" fmla="*/ 0 w 8008805"/>
              <a:gd name="connsiteY0" fmla="*/ 0 h 6858001"/>
              <a:gd name="connsiteX1" fmla="*/ 8008805 w 8008805"/>
              <a:gd name="connsiteY1" fmla="*/ 0 h 6858001"/>
              <a:gd name="connsiteX2" fmla="*/ 8008805 w 8008805"/>
              <a:gd name="connsiteY2" fmla="*/ 6858001 h 6858001"/>
              <a:gd name="connsiteX3" fmla="*/ 1209250 w 8008805"/>
              <a:gd name="connsiteY3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008805" h="6858001">
                <a:moveTo>
                  <a:pt x="0" y="0"/>
                </a:moveTo>
                <a:lnTo>
                  <a:pt x="8008805" y="0"/>
                </a:lnTo>
                <a:lnTo>
                  <a:pt x="8008805" y="6858001"/>
                </a:lnTo>
                <a:lnTo>
                  <a:pt x="1209250" y="685800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17FB39F-0DFB-F14D-6D57-FE8BF8B0A9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D2D5FEE-076A-AA41-89DB-AFE9D26ECAEF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F928A2D-282C-6A37-EE66-BE97C4CBCF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3371" y="6273316"/>
            <a:ext cx="4608513" cy="360040"/>
          </a:xfrm>
        </p:spPr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93B24930-F736-6189-1137-99083625E2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E0801B90-DC3B-DDAA-AEA4-C79C9A7C7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3564396" cy="93610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06B842DE-3487-BE82-C8AD-1DCA9D64201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3371" y="1988840"/>
            <a:ext cx="3564396" cy="3996444"/>
          </a:xfrm>
        </p:spPr>
        <p:txBody>
          <a:bodyPr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728288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2">
            <a:extLst>
              <a:ext uri="{FF2B5EF4-FFF2-40B4-BE49-F238E27FC236}">
                <a16:creationId xmlns:a16="http://schemas.microsoft.com/office/drawing/2014/main" id="{3DFDD33C-CA04-7559-FBF9-291CCC2628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3371" y="1628800"/>
            <a:ext cx="5400601" cy="360040"/>
          </a:xfrm>
        </p:spPr>
        <p:txBody>
          <a:bodyPr anchor="t">
            <a:no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24CC3BA9-2C26-06DF-0136-BEC9B4AABB5B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348028" y="1628800"/>
            <a:ext cx="5400601" cy="360040"/>
          </a:xfrm>
        </p:spPr>
        <p:txBody>
          <a:bodyPr anchor="t">
            <a:no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D475753-0B27-7777-C132-70977BB36EE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FE7F85F-8604-1E40-B263-35CF29B13DDD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275BEAAA-23EE-DF8B-6EB2-5EE2764F8B8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3C94F50-7E1B-105F-8A70-D51B62F57C4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24CED405-4C34-C24A-46EC-17D0A01F0B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CDED8733-0C3E-B8EB-FEA8-5F00A5337E3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48028" y="2024844"/>
            <a:ext cx="5400601" cy="396044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CED6FE17-E1BC-F816-E5C6-406313B723AB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43371" y="2024844"/>
            <a:ext cx="5400601" cy="396044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69726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1739BAD8-A9C3-90EF-613C-8C0B375B0F14}"/>
              </a:ext>
            </a:extLst>
          </p:cNvPr>
          <p:cNvSpPr/>
          <p:nvPr userDrawn="1"/>
        </p:nvSpPr>
        <p:spPr>
          <a:xfrm>
            <a:off x="7634796" y="0"/>
            <a:ext cx="4557204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5395994-94A0-EA54-58F2-CD2BE8576FD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7C06551-0BCA-F54C-91CE-6A5C28CB1F48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0CBBA9E-BB6A-9DB1-3E64-4620864D00C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11F6557-8D27-B292-EEA9-48D8BE9D87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Inhaltsplatzhalter 17">
            <a:extLst>
              <a:ext uri="{FF2B5EF4-FFF2-40B4-BE49-F238E27FC236}">
                <a16:creationId xmlns:a16="http://schemas.microsoft.com/office/drawing/2014/main" id="{D2447753-78EB-2957-387C-5E07E509BFE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43371" y="1628800"/>
            <a:ext cx="6732749" cy="4356484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C9010070-6625-3EDA-F972-A7C607E3C3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6732749" cy="936104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784820DD-2AA5-B736-6F09-DE2BDD0FA133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12224" y="1628800"/>
            <a:ext cx="3636000" cy="4356484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66717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 7">
            <a:extLst>
              <a:ext uri="{FF2B5EF4-FFF2-40B4-BE49-F238E27FC236}">
                <a16:creationId xmlns:a16="http://schemas.microsoft.com/office/drawing/2014/main" id="{2FD1EDFB-D0BA-828D-BDB2-C2F1F07EEC37}"/>
              </a:ext>
            </a:extLst>
          </p:cNvPr>
          <p:cNvSpPr/>
          <p:nvPr userDrawn="1"/>
        </p:nvSpPr>
        <p:spPr>
          <a:xfrm rot="21000000">
            <a:off x="7670045" y="329687"/>
            <a:ext cx="5141681" cy="6819744"/>
          </a:xfrm>
          <a:custGeom>
            <a:avLst/>
            <a:gdLst>
              <a:gd name="connsiteX0" fmla="*/ 4767758 w 5141681"/>
              <a:gd name="connsiteY0" fmla="*/ 0 h 6819744"/>
              <a:gd name="connsiteX1" fmla="*/ 5141681 w 5141681"/>
              <a:gd name="connsiteY1" fmla="*/ 65933 h 6819744"/>
              <a:gd name="connsiteX2" fmla="*/ 3950802 w 5141681"/>
              <a:gd name="connsiteY2" fmla="*/ 6819744 h 6819744"/>
              <a:gd name="connsiteX3" fmla="*/ 0 w 5141681"/>
              <a:gd name="connsiteY3" fmla="*/ 6123111 h 6819744"/>
              <a:gd name="connsiteX4" fmla="*/ 0 w 5141681"/>
              <a:gd name="connsiteY4" fmla="*/ 0 h 6819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1681" h="6819744">
                <a:moveTo>
                  <a:pt x="4767758" y="0"/>
                </a:moveTo>
                <a:lnTo>
                  <a:pt x="5141681" y="65933"/>
                </a:lnTo>
                <a:lnTo>
                  <a:pt x="3950802" y="6819744"/>
                </a:lnTo>
                <a:lnTo>
                  <a:pt x="0" y="612311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AB4B815A-9326-AFBE-401E-F0B792ECCDCB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443371" y="2024844"/>
            <a:ext cx="6264697" cy="360040"/>
          </a:xfrm>
        </p:spPr>
        <p:txBody>
          <a:bodyPr wrap="square" anchor="t">
            <a:noAutofit/>
          </a:bodyPr>
          <a:lstStyle>
            <a:lvl1pPr marL="0" indent="0">
              <a:buNone/>
              <a:defRPr sz="20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61FAA4D-32F9-E176-5A86-3DF2C7AC4AA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1FD56A-9F61-C849-86D1-55BBD252EF2C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89E9E8-B917-882D-3848-23118A4FD8B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43371" y="6273316"/>
            <a:ext cx="6499771" cy="360040"/>
          </a:xfrm>
        </p:spPr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A94C35E-7FDE-03B3-C98D-66C80F64785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7">
            <a:extLst>
              <a:ext uri="{FF2B5EF4-FFF2-40B4-BE49-F238E27FC236}">
                <a16:creationId xmlns:a16="http://schemas.microsoft.com/office/drawing/2014/main" id="{F0551BB0-6878-44F5-17B1-F50A24962088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43371" y="2456892"/>
            <a:ext cx="6264697" cy="3528392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14">
            <a:extLst>
              <a:ext uri="{FF2B5EF4-FFF2-40B4-BE49-F238E27FC236}">
                <a16:creationId xmlns:a16="http://schemas.microsoft.com/office/drawing/2014/main" id="{CB9B3ACA-0A4D-092F-4493-EEC92607EABC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220236" y="872716"/>
            <a:ext cx="3528392" cy="5112569"/>
          </a:xfrm>
        </p:spPr>
        <p:txBody>
          <a:bodyPr anchor="ctr">
            <a:noAutofit/>
          </a:bodyPr>
          <a:lstStyle>
            <a:lvl2pPr>
              <a:buClr>
                <a:schemeClr val="bg1"/>
              </a:buClr>
              <a:defRPr/>
            </a:lvl2pPr>
            <a:lvl3pPr>
              <a:buClr>
                <a:schemeClr val="bg1"/>
              </a:buClr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953D573D-FECC-8444-E281-70EB0FB68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6264697" cy="1404156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99865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 9">
            <a:extLst>
              <a:ext uri="{FF2B5EF4-FFF2-40B4-BE49-F238E27FC236}">
                <a16:creationId xmlns:a16="http://schemas.microsoft.com/office/drawing/2014/main" id="{C8E457E8-AFA4-2C06-EB5B-DAC02654AB26}"/>
              </a:ext>
            </a:extLst>
          </p:cNvPr>
          <p:cNvSpPr/>
          <p:nvPr/>
        </p:nvSpPr>
        <p:spPr>
          <a:xfrm rot="21000000">
            <a:off x="7144837" y="2618907"/>
            <a:ext cx="5278470" cy="4641283"/>
          </a:xfrm>
          <a:custGeom>
            <a:avLst/>
            <a:gdLst>
              <a:gd name="connsiteX0" fmla="*/ 5278470 w 5278470"/>
              <a:gd name="connsiteY0" fmla="*/ 0 h 4641283"/>
              <a:gd name="connsiteX1" fmla="*/ 5278470 w 5278470"/>
              <a:gd name="connsiteY1" fmla="*/ 1219500 h 4641283"/>
              <a:gd name="connsiteX2" fmla="*/ 4675118 w 5278470"/>
              <a:gd name="connsiteY2" fmla="*/ 4641283 h 4641283"/>
              <a:gd name="connsiteX3" fmla="*/ 0 w 5278470"/>
              <a:gd name="connsiteY3" fmla="*/ 3816933 h 4641283"/>
              <a:gd name="connsiteX4" fmla="*/ 0 w 5278470"/>
              <a:gd name="connsiteY4" fmla="*/ 0 h 4641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78470" h="4641283">
                <a:moveTo>
                  <a:pt x="5278470" y="0"/>
                </a:moveTo>
                <a:lnTo>
                  <a:pt x="5278470" y="1219500"/>
                </a:lnTo>
                <a:lnTo>
                  <a:pt x="4675118" y="4641283"/>
                </a:lnTo>
                <a:lnTo>
                  <a:pt x="0" y="381693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D2CA219-E792-8E35-B881-2B0E5E38CE9C}"/>
              </a:ext>
            </a:extLst>
          </p:cNvPr>
          <p:cNvSpPr/>
          <p:nvPr/>
        </p:nvSpPr>
        <p:spPr>
          <a:xfrm>
            <a:off x="7841994" y="1617255"/>
            <a:ext cx="4350006" cy="525296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360000" rIns="360000" bIns="360000" rtlCol="0" anchor="ctr">
            <a:noAutofit/>
          </a:bodyPr>
          <a:lstStyle/>
          <a:p>
            <a:pPr>
              <a:spcAft>
                <a:spcPts val="500"/>
              </a:spcAft>
            </a:pP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13" name="Rechteck 14">
            <a:extLst>
              <a:ext uri="{FF2B5EF4-FFF2-40B4-BE49-F238E27FC236}">
                <a16:creationId xmlns:a16="http://schemas.microsoft.com/office/drawing/2014/main" id="{1852F477-B571-C780-F1CB-FE29F600E134}"/>
              </a:ext>
            </a:extLst>
          </p:cNvPr>
          <p:cNvSpPr/>
          <p:nvPr userDrawn="1"/>
        </p:nvSpPr>
        <p:spPr bwMode="gray">
          <a:xfrm rot="2700000">
            <a:off x="7032104" y="3392996"/>
            <a:ext cx="396044" cy="396044"/>
          </a:xfrm>
          <a:custGeom>
            <a:avLst/>
            <a:gdLst>
              <a:gd name="connsiteX0" fmla="*/ 0 w 1528762"/>
              <a:gd name="connsiteY0" fmla="*/ 0 h 1528762"/>
              <a:gd name="connsiteX1" fmla="*/ 1528762 w 1528762"/>
              <a:gd name="connsiteY1" fmla="*/ 0 h 1528762"/>
              <a:gd name="connsiteX2" fmla="*/ 1528762 w 1528762"/>
              <a:gd name="connsiteY2" fmla="*/ 1528762 h 1528762"/>
              <a:gd name="connsiteX3" fmla="*/ 0 w 1528762"/>
              <a:gd name="connsiteY3" fmla="*/ 1528762 h 1528762"/>
              <a:gd name="connsiteX4" fmla="*/ 0 w 1528762"/>
              <a:gd name="connsiteY4" fmla="*/ 0 h 1528762"/>
              <a:gd name="connsiteX0" fmla="*/ 0 w 1528762"/>
              <a:gd name="connsiteY0" fmla="*/ 1528762 h 1620202"/>
              <a:gd name="connsiteX1" fmla="*/ 0 w 1528762"/>
              <a:gd name="connsiteY1" fmla="*/ 0 h 1620202"/>
              <a:gd name="connsiteX2" fmla="*/ 1528762 w 1528762"/>
              <a:gd name="connsiteY2" fmla="*/ 0 h 1620202"/>
              <a:gd name="connsiteX3" fmla="*/ 1528762 w 1528762"/>
              <a:gd name="connsiteY3" fmla="*/ 1528762 h 1620202"/>
              <a:gd name="connsiteX4" fmla="*/ 91440 w 1528762"/>
              <a:gd name="connsiteY4" fmla="*/ 1620202 h 1620202"/>
              <a:gd name="connsiteX0" fmla="*/ 0 w 1528762"/>
              <a:gd name="connsiteY0" fmla="*/ 1528762 h 1528762"/>
              <a:gd name="connsiteX1" fmla="*/ 0 w 1528762"/>
              <a:gd name="connsiteY1" fmla="*/ 0 h 1528762"/>
              <a:gd name="connsiteX2" fmla="*/ 1528762 w 1528762"/>
              <a:gd name="connsiteY2" fmla="*/ 0 h 1528762"/>
              <a:gd name="connsiteX3" fmla="*/ 1528762 w 1528762"/>
              <a:gd name="connsiteY3" fmla="*/ 1528762 h 1528762"/>
              <a:gd name="connsiteX0" fmla="*/ 0 w 1528762"/>
              <a:gd name="connsiteY0" fmla="*/ 0 h 1528762"/>
              <a:gd name="connsiteX1" fmla="*/ 1528762 w 1528762"/>
              <a:gd name="connsiteY1" fmla="*/ 0 h 1528762"/>
              <a:gd name="connsiteX2" fmla="*/ 1528762 w 1528762"/>
              <a:gd name="connsiteY2" fmla="*/ 1528762 h 1528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28762" h="1528762">
                <a:moveTo>
                  <a:pt x="0" y="0"/>
                </a:moveTo>
                <a:lnTo>
                  <a:pt x="1528762" y="0"/>
                </a:lnTo>
                <a:lnTo>
                  <a:pt x="1528762" y="1528762"/>
                </a:lnTo>
              </a:path>
            </a:pathLst>
          </a:custGeom>
          <a:noFill/>
          <a:ln w="635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646D0E-0DDB-053B-E787-129F9D63FA71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88286E-165B-0E47-8EE2-2AC65F533909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E67C87B-8B8B-F84B-44A9-DA089A132F1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3371" y="6273316"/>
            <a:ext cx="6499771" cy="360040"/>
          </a:xfrm>
        </p:spPr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6AED03-0F74-8F12-BC04-574FBA60FB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Inhaltsplatzhalter 14">
            <a:extLst>
              <a:ext uri="{FF2B5EF4-FFF2-40B4-BE49-F238E27FC236}">
                <a16:creationId xmlns:a16="http://schemas.microsoft.com/office/drawing/2014/main" id="{E59E3F2D-CD3E-BB75-1FEB-7CBAC3BB90CD}"/>
              </a:ext>
            </a:extLst>
          </p:cNvPr>
          <p:cNvSpPr>
            <a:spLocks noGrp="1"/>
          </p:cNvSpPr>
          <p:nvPr>
            <p:ph sz="quarter" idx="23"/>
          </p:nvPr>
        </p:nvSpPr>
        <p:spPr bwMode="gray">
          <a:xfrm>
            <a:off x="8256240" y="2096852"/>
            <a:ext cx="3492388" cy="3888432"/>
          </a:xfrm>
        </p:spPr>
        <p:txBody>
          <a:bodyPr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99A1BB30-B39D-A73A-D011-1C5B2A276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6120681" cy="1584176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4" name="Inhaltsplatzhalter 17">
            <a:extLst>
              <a:ext uri="{FF2B5EF4-FFF2-40B4-BE49-F238E27FC236}">
                <a16:creationId xmlns:a16="http://schemas.microsoft.com/office/drawing/2014/main" id="{B6532305-855D-3FA7-0601-924C325A4923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43371" y="2060849"/>
            <a:ext cx="5868653" cy="3914775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59114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 2">
            <a:extLst>
              <a:ext uri="{FF2B5EF4-FFF2-40B4-BE49-F238E27FC236}">
                <a16:creationId xmlns:a16="http://schemas.microsoft.com/office/drawing/2014/main" id="{487C97C0-18DF-8461-AD48-3758FEA25BE5}"/>
              </a:ext>
            </a:extLst>
          </p:cNvPr>
          <p:cNvSpPr>
            <a:spLocks noChangeAspect="1"/>
          </p:cNvSpPr>
          <p:nvPr userDrawn="1"/>
        </p:nvSpPr>
        <p:spPr>
          <a:xfrm rot="21000000">
            <a:off x="96583" y="1211676"/>
            <a:ext cx="4572025" cy="4572025"/>
          </a:xfrm>
          <a:custGeom>
            <a:avLst/>
            <a:gdLst>
              <a:gd name="connsiteX0" fmla="*/ 4572025 w 4572025"/>
              <a:gd name="connsiteY0" fmla="*/ 0 h 4572025"/>
              <a:gd name="connsiteX1" fmla="*/ 4572025 w 4572025"/>
              <a:gd name="connsiteY1" fmla="*/ 4572025 h 4572025"/>
              <a:gd name="connsiteX2" fmla="*/ 0 w 4572025"/>
              <a:gd name="connsiteY2" fmla="*/ 4572025 h 4572025"/>
              <a:gd name="connsiteX3" fmla="*/ 0 w 4572025"/>
              <a:gd name="connsiteY3" fmla="*/ 1511483 h 4572025"/>
              <a:gd name="connsiteX4" fmla="*/ 266515 w 4572025"/>
              <a:gd name="connsiteY4" fmla="*/ 0 h 4572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2025" h="4572025">
                <a:moveTo>
                  <a:pt x="4572025" y="0"/>
                </a:moveTo>
                <a:lnTo>
                  <a:pt x="4572025" y="4572025"/>
                </a:lnTo>
                <a:lnTo>
                  <a:pt x="0" y="4572025"/>
                </a:lnTo>
                <a:lnTo>
                  <a:pt x="0" y="1511483"/>
                </a:lnTo>
                <a:lnTo>
                  <a:pt x="26651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12BB7BFB-64CA-6E50-CB99-34932A26ED5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-712"/>
            <a:ext cx="12192000" cy="6858712"/>
          </a:xfrm>
          <a:custGeom>
            <a:avLst/>
            <a:gdLst>
              <a:gd name="connsiteX0" fmla="*/ 0 w 12192000"/>
              <a:gd name="connsiteY0" fmla="*/ 0 h 6858712"/>
              <a:gd name="connsiteX1" fmla="*/ 12192000 w 12192000"/>
              <a:gd name="connsiteY1" fmla="*/ 0 h 6858712"/>
              <a:gd name="connsiteX2" fmla="*/ 12192000 w 12192000"/>
              <a:gd name="connsiteY2" fmla="*/ 6858712 h 6858712"/>
              <a:gd name="connsiteX3" fmla="*/ 0 w 12192000"/>
              <a:gd name="connsiteY3" fmla="*/ 6858712 h 6858712"/>
              <a:gd name="connsiteX4" fmla="*/ 0 w 12192000"/>
              <a:gd name="connsiteY4" fmla="*/ 3150659 h 6858712"/>
              <a:gd name="connsiteX5" fmla="*/ 442912 w 12192000"/>
              <a:gd name="connsiteY5" fmla="*/ 5662536 h 6858712"/>
              <a:gd name="connsiteX6" fmla="*/ 442912 w 12192000"/>
              <a:gd name="connsiteY6" fmla="*/ 6147817 h 6858712"/>
              <a:gd name="connsiteX7" fmla="*/ 5335312 w 12192000"/>
              <a:gd name="connsiteY7" fmla="*/ 6147816 h 6858712"/>
              <a:gd name="connsiteX8" fmla="*/ 5335312 w 12192000"/>
              <a:gd name="connsiteY8" fmla="*/ 1255417 h 6858712"/>
              <a:gd name="connsiteX9" fmla="*/ 4308374 w 12192000"/>
              <a:gd name="connsiteY9" fmla="*/ 1255417 h 6858712"/>
              <a:gd name="connsiteX10" fmla="*/ 4236916 w 12192000"/>
              <a:gd name="connsiteY10" fmla="*/ 850156 h 6858712"/>
              <a:gd name="connsiteX11" fmla="*/ 1938571 w 12192000"/>
              <a:gd name="connsiteY11" fmla="*/ 1255417 h 6858712"/>
              <a:gd name="connsiteX12" fmla="*/ 442912 w 12192000"/>
              <a:gd name="connsiteY12" fmla="*/ 1255417 h 6858712"/>
              <a:gd name="connsiteX13" fmla="*/ 442912 w 12192000"/>
              <a:gd name="connsiteY13" fmla="*/ 1519142 h 6858712"/>
              <a:gd name="connsiteX14" fmla="*/ 0 w 12192000"/>
              <a:gd name="connsiteY14" fmla="*/ 1597239 h 6858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712">
                <a:moveTo>
                  <a:pt x="0" y="0"/>
                </a:moveTo>
                <a:lnTo>
                  <a:pt x="12192000" y="0"/>
                </a:lnTo>
                <a:lnTo>
                  <a:pt x="12192000" y="6858712"/>
                </a:lnTo>
                <a:lnTo>
                  <a:pt x="0" y="6858712"/>
                </a:lnTo>
                <a:lnTo>
                  <a:pt x="0" y="3150659"/>
                </a:lnTo>
                <a:lnTo>
                  <a:pt x="442912" y="5662536"/>
                </a:lnTo>
                <a:lnTo>
                  <a:pt x="442912" y="6147817"/>
                </a:lnTo>
                <a:lnTo>
                  <a:pt x="5335312" y="6147816"/>
                </a:lnTo>
                <a:lnTo>
                  <a:pt x="5335312" y="1255417"/>
                </a:lnTo>
                <a:lnTo>
                  <a:pt x="4308374" y="1255417"/>
                </a:lnTo>
                <a:lnTo>
                  <a:pt x="4236916" y="850156"/>
                </a:lnTo>
                <a:lnTo>
                  <a:pt x="1938571" y="1255417"/>
                </a:lnTo>
                <a:lnTo>
                  <a:pt x="442912" y="1255417"/>
                </a:lnTo>
                <a:lnTo>
                  <a:pt x="442912" y="1519142"/>
                </a:lnTo>
                <a:lnTo>
                  <a:pt x="0" y="15972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1A5437A2-C262-B6B8-2E19-CCE2DC1739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2" y="1246822"/>
            <a:ext cx="4908577" cy="5017446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432000" tIns="1548000" rIns="432000" bIns="432000" rtlCol="0">
            <a:noAutofit/>
          </a:bodyPr>
          <a:lstStyle>
            <a:lvl1pPr>
              <a:defRPr sz="2800" b="1">
                <a:solidFill>
                  <a:schemeClr val="bg1"/>
                </a:solidFill>
                <a:latin typeface="+mj-lt"/>
              </a:defRPr>
            </a:lvl1pPr>
            <a:lvl2pPr marL="180000" indent="-1800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2pPr>
            <a:lvl3pPr marL="360000" indent="-180975"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  <a:lvl6pPr>
              <a:defRPr sz="2000">
                <a:solidFill>
                  <a:schemeClr val="bg1"/>
                </a:solidFill>
              </a:defRPr>
            </a:lvl6pPr>
            <a:lvl7pPr>
              <a:defRPr sz="2000"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7172B77-C826-D7CB-5ACB-0D493513E3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5976" y="1712226"/>
            <a:ext cx="872785" cy="795115"/>
          </a:xfrm>
          <a:custGeom>
            <a:avLst/>
            <a:gdLst>
              <a:gd name="connsiteX0" fmla="*/ 482600 w 872785"/>
              <a:gd name="connsiteY0" fmla="*/ 0 h 795115"/>
              <a:gd name="connsiteX1" fmla="*/ 872785 w 872785"/>
              <a:gd name="connsiteY1" fmla="*/ 0 h 795115"/>
              <a:gd name="connsiteX2" fmla="*/ 872785 w 872785"/>
              <a:gd name="connsiteY2" fmla="*/ 297100 h 795115"/>
              <a:gd name="connsiteX3" fmla="*/ 841510 w 872785"/>
              <a:gd name="connsiteY3" fmla="*/ 524267 h 795115"/>
              <a:gd name="connsiteX4" fmla="*/ 763881 w 872785"/>
              <a:gd name="connsiteY4" fmla="*/ 669881 h 795115"/>
              <a:gd name="connsiteX5" fmla="*/ 660726 w 872785"/>
              <a:gd name="connsiteY5" fmla="*/ 754354 h 795115"/>
              <a:gd name="connsiteX6" fmla="*/ 555284 w 872785"/>
              <a:gd name="connsiteY6" fmla="*/ 795115 h 795115"/>
              <a:gd name="connsiteX7" fmla="*/ 555284 w 872785"/>
              <a:gd name="connsiteY7" fmla="*/ 646580 h 795115"/>
              <a:gd name="connsiteX8" fmla="*/ 645676 w 872785"/>
              <a:gd name="connsiteY8" fmla="*/ 592709 h 795115"/>
              <a:gd name="connsiteX9" fmla="*/ 695493 w 872785"/>
              <a:gd name="connsiteY9" fmla="*/ 527187 h 795115"/>
              <a:gd name="connsiteX10" fmla="*/ 718670 w 872785"/>
              <a:gd name="connsiteY10" fmla="*/ 451444 h 795115"/>
              <a:gd name="connsiteX11" fmla="*/ 726767 w 872785"/>
              <a:gd name="connsiteY11" fmla="*/ 369892 h 795115"/>
              <a:gd name="connsiteX12" fmla="*/ 482600 w 872785"/>
              <a:gd name="connsiteY12" fmla="*/ 369892 h 795115"/>
              <a:gd name="connsiteX13" fmla="*/ 0 w 872785"/>
              <a:gd name="connsiteY13" fmla="*/ 0 h 795115"/>
              <a:gd name="connsiteX14" fmla="*/ 390185 w 872785"/>
              <a:gd name="connsiteY14" fmla="*/ 0 h 795115"/>
              <a:gd name="connsiteX15" fmla="*/ 390185 w 872785"/>
              <a:gd name="connsiteY15" fmla="*/ 297100 h 795115"/>
              <a:gd name="connsiteX16" fmla="*/ 358910 w 872785"/>
              <a:gd name="connsiteY16" fmla="*/ 524267 h 795115"/>
              <a:gd name="connsiteX17" fmla="*/ 281281 w 872785"/>
              <a:gd name="connsiteY17" fmla="*/ 669881 h 795115"/>
              <a:gd name="connsiteX18" fmla="*/ 178126 w 872785"/>
              <a:gd name="connsiteY18" fmla="*/ 754354 h 795115"/>
              <a:gd name="connsiteX19" fmla="*/ 72684 w 872785"/>
              <a:gd name="connsiteY19" fmla="*/ 795115 h 795115"/>
              <a:gd name="connsiteX20" fmla="*/ 72684 w 872785"/>
              <a:gd name="connsiteY20" fmla="*/ 646580 h 795115"/>
              <a:gd name="connsiteX21" fmla="*/ 163076 w 872785"/>
              <a:gd name="connsiteY21" fmla="*/ 592709 h 795115"/>
              <a:gd name="connsiteX22" fmla="*/ 212893 w 872785"/>
              <a:gd name="connsiteY22" fmla="*/ 527187 h 795115"/>
              <a:gd name="connsiteX23" fmla="*/ 236070 w 872785"/>
              <a:gd name="connsiteY23" fmla="*/ 451444 h 795115"/>
              <a:gd name="connsiteX24" fmla="*/ 244167 w 872785"/>
              <a:gd name="connsiteY24" fmla="*/ 369892 h 795115"/>
              <a:gd name="connsiteX25" fmla="*/ 0 w 872785"/>
              <a:gd name="connsiteY25" fmla="*/ 369892 h 795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72785" h="795115">
                <a:moveTo>
                  <a:pt x="482600" y="0"/>
                </a:moveTo>
                <a:lnTo>
                  <a:pt x="872785" y="0"/>
                </a:lnTo>
                <a:lnTo>
                  <a:pt x="872785" y="297100"/>
                </a:lnTo>
                <a:cubicBezTo>
                  <a:pt x="872785" y="388315"/>
                  <a:pt x="862370" y="464058"/>
                  <a:pt x="841510" y="524267"/>
                </a:cubicBezTo>
                <a:cubicBezTo>
                  <a:pt x="820682" y="584414"/>
                  <a:pt x="794785" y="632972"/>
                  <a:pt x="763881" y="669881"/>
                </a:cubicBezTo>
                <a:cubicBezTo>
                  <a:pt x="732947" y="706758"/>
                  <a:pt x="698583" y="734936"/>
                  <a:pt x="660726" y="754354"/>
                </a:cubicBezTo>
                <a:cubicBezTo>
                  <a:pt x="622870" y="773740"/>
                  <a:pt x="587733" y="787317"/>
                  <a:pt x="555284" y="795115"/>
                </a:cubicBezTo>
                <a:lnTo>
                  <a:pt x="555284" y="646580"/>
                </a:lnTo>
                <a:cubicBezTo>
                  <a:pt x="593883" y="631015"/>
                  <a:pt x="624013" y="613089"/>
                  <a:pt x="645676" y="592709"/>
                </a:cubicBezTo>
                <a:cubicBezTo>
                  <a:pt x="667278" y="572328"/>
                  <a:pt x="683904" y="550488"/>
                  <a:pt x="695493" y="527187"/>
                </a:cubicBezTo>
                <a:cubicBezTo>
                  <a:pt x="707081" y="503886"/>
                  <a:pt x="714807" y="478628"/>
                  <a:pt x="718670" y="451444"/>
                </a:cubicBezTo>
                <a:cubicBezTo>
                  <a:pt x="722502" y="424229"/>
                  <a:pt x="725221" y="397076"/>
                  <a:pt x="726767" y="369892"/>
                </a:cubicBezTo>
                <a:lnTo>
                  <a:pt x="482600" y="369892"/>
                </a:lnTo>
                <a:close/>
                <a:moveTo>
                  <a:pt x="0" y="0"/>
                </a:moveTo>
                <a:lnTo>
                  <a:pt x="390185" y="0"/>
                </a:lnTo>
                <a:lnTo>
                  <a:pt x="390185" y="297100"/>
                </a:lnTo>
                <a:cubicBezTo>
                  <a:pt x="390185" y="388315"/>
                  <a:pt x="379770" y="464058"/>
                  <a:pt x="358910" y="524267"/>
                </a:cubicBezTo>
                <a:cubicBezTo>
                  <a:pt x="338082" y="584414"/>
                  <a:pt x="312185" y="632972"/>
                  <a:pt x="281281" y="669881"/>
                </a:cubicBezTo>
                <a:cubicBezTo>
                  <a:pt x="250347" y="706758"/>
                  <a:pt x="215983" y="734936"/>
                  <a:pt x="178126" y="754354"/>
                </a:cubicBezTo>
                <a:cubicBezTo>
                  <a:pt x="140270" y="773740"/>
                  <a:pt x="105133" y="787317"/>
                  <a:pt x="72684" y="795115"/>
                </a:cubicBezTo>
                <a:lnTo>
                  <a:pt x="72684" y="646580"/>
                </a:lnTo>
                <a:cubicBezTo>
                  <a:pt x="111283" y="631015"/>
                  <a:pt x="141413" y="613089"/>
                  <a:pt x="163076" y="592709"/>
                </a:cubicBezTo>
                <a:cubicBezTo>
                  <a:pt x="184678" y="572328"/>
                  <a:pt x="201304" y="550488"/>
                  <a:pt x="212893" y="527187"/>
                </a:cubicBezTo>
                <a:cubicBezTo>
                  <a:pt x="224481" y="503886"/>
                  <a:pt x="232207" y="478628"/>
                  <a:pt x="236070" y="451444"/>
                </a:cubicBezTo>
                <a:cubicBezTo>
                  <a:pt x="239902" y="424229"/>
                  <a:pt x="242621" y="397076"/>
                  <a:pt x="244167" y="369892"/>
                </a:cubicBezTo>
                <a:lnTo>
                  <a:pt x="0" y="369892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97B9801-5B78-091C-7E5E-94C9B3E1909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E95F61-57F3-844F-BEAD-C3B2B684F5E5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5E65237-1872-5CFA-61F1-32BFDA5223A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F6CA562-1196-1946-5392-1BB7B27A4C4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8894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D7240ED9-271B-4265-D905-C3063B8C1C97}"/>
              </a:ext>
            </a:extLst>
          </p:cNvPr>
          <p:cNvSpPr>
            <a:spLocks noChangeAspect="1"/>
          </p:cNvSpPr>
          <p:nvPr userDrawn="1"/>
        </p:nvSpPr>
        <p:spPr bwMode="gray">
          <a:xfrm rot="21000000">
            <a:off x="912174" y="1081048"/>
            <a:ext cx="4572025" cy="4572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19409D92-72A9-69C3-8F11-A64650B219DA}"/>
              </a:ext>
            </a:extLst>
          </p:cNvPr>
          <p:cNvSpPr>
            <a:spLocks noGrp="1"/>
          </p:cNvSpPr>
          <p:nvPr>
            <p:ph idx="13"/>
          </p:nvPr>
        </p:nvSpPr>
        <p:spPr bwMode="gray">
          <a:xfrm>
            <a:off x="1258503" y="1124075"/>
            <a:ext cx="8629705" cy="5015109"/>
          </a:xfrm>
          <a:prstGeom prst="rect">
            <a:avLst/>
          </a:prstGeom>
          <a:solidFill>
            <a:schemeClr val="tx2"/>
          </a:solidFill>
        </p:spPr>
        <p:txBody>
          <a:bodyPr vert="horz" lIns="1026000" tIns="1548000" rIns="432000" bIns="432000" rtlCol="0">
            <a:noAutofit/>
          </a:bodyPr>
          <a:lstStyle>
            <a:lvl1pPr>
              <a:defRPr sz="2800" b="1">
                <a:solidFill>
                  <a:schemeClr val="bg1"/>
                </a:solidFill>
                <a:latin typeface="+mj-lt"/>
              </a:defRPr>
            </a:lvl1pPr>
            <a:lvl2pPr marL="180000" indent="-1800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2pPr>
            <a:lvl3pPr marL="360000" indent="-180975"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  <a:lvl6pPr>
              <a:defRPr sz="2000">
                <a:solidFill>
                  <a:schemeClr val="bg1"/>
                </a:solidFill>
              </a:defRPr>
            </a:lvl6pPr>
            <a:lvl7pPr>
              <a:defRPr sz="2000"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405FAE4-5360-E4DF-B32A-33E42B8FED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03792" y="1712226"/>
            <a:ext cx="872785" cy="795115"/>
          </a:xfrm>
          <a:custGeom>
            <a:avLst/>
            <a:gdLst>
              <a:gd name="connsiteX0" fmla="*/ 482600 w 872785"/>
              <a:gd name="connsiteY0" fmla="*/ 0 h 795115"/>
              <a:gd name="connsiteX1" fmla="*/ 872785 w 872785"/>
              <a:gd name="connsiteY1" fmla="*/ 0 h 795115"/>
              <a:gd name="connsiteX2" fmla="*/ 872785 w 872785"/>
              <a:gd name="connsiteY2" fmla="*/ 297100 h 795115"/>
              <a:gd name="connsiteX3" fmla="*/ 841510 w 872785"/>
              <a:gd name="connsiteY3" fmla="*/ 524267 h 795115"/>
              <a:gd name="connsiteX4" fmla="*/ 763881 w 872785"/>
              <a:gd name="connsiteY4" fmla="*/ 669881 h 795115"/>
              <a:gd name="connsiteX5" fmla="*/ 660726 w 872785"/>
              <a:gd name="connsiteY5" fmla="*/ 754354 h 795115"/>
              <a:gd name="connsiteX6" fmla="*/ 555284 w 872785"/>
              <a:gd name="connsiteY6" fmla="*/ 795115 h 795115"/>
              <a:gd name="connsiteX7" fmla="*/ 555284 w 872785"/>
              <a:gd name="connsiteY7" fmla="*/ 646580 h 795115"/>
              <a:gd name="connsiteX8" fmla="*/ 645676 w 872785"/>
              <a:gd name="connsiteY8" fmla="*/ 592709 h 795115"/>
              <a:gd name="connsiteX9" fmla="*/ 695493 w 872785"/>
              <a:gd name="connsiteY9" fmla="*/ 527187 h 795115"/>
              <a:gd name="connsiteX10" fmla="*/ 718670 w 872785"/>
              <a:gd name="connsiteY10" fmla="*/ 451444 h 795115"/>
              <a:gd name="connsiteX11" fmla="*/ 726767 w 872785"/>
              <a:gd name="connsiteY11" fmla="*/ 369892 h 795115"/>
              <a:gd name="connsiteX12" fmla="*/ 482600 w 872785"/>
              <a:gd name="connsiteY12" fmla="*/ 369892 h 795115"/>
              <a:gd name="connsiteX13" fmla="*/ 0 w 872785"/>
              <a:gd name="connsiteY13" fmla="*/ 0 h 795115"/>
              <a:gd name="connsiteX14" fmla="*/ 390185 w 872785"/>
              <a:gd name="connsiteY14" fmla="*/ 0 h 795115"/>
              <a:gd name="connsiteX15" fmla="*/ 390185 w 872785"/>
              <a:gd name="connsiteY15" fmla="*/ 297100 h 795115"/>
              <a:gd name="connsiteX16" fmla="*/ 358910 w 872785"/>
              <a:gd name="connsiteY16" fmla="*/ 524267 h 795115"/>
              <a:gd name="connsiteX17" fmla="*/ 281281 w 872785"/>
              <a:gd name="connsiteY17" fmla="*/ 669881 h 795115"/>
              <a:gd name="connsiteX18" fmla="*/ 178126 w 872785"/>
              <a:gd name="connsiteY18" fmla="*/ 754354 h 795115"/>
              <a:gd name="connsiteX19" fmla="*/ 72684 w 872785"/>
              <a:gd name="connsiteY19" fmla="*/ 795115 h 795115"/>
              <a:gd name="connsiteX20" fmla="*/ 72684 w 872785"/>
              <a:gd name="connsiteY20" fmla="*/ 646580 h 795115"/>
              <a:gd name="connsiteX21" fmla="*/ 163076 w 872785"/>
              <a:gd name="connsiteY21" fmla="*/ 592709 h 795115"/>
              <a:gd name="connsiteX22" fmla="*/ 212893 w 872785"/>
              <a:gd name="connsiteY22" fmla="*/ 527187 h 795115"/>
              <a:gd name="connsiteX23" fmla="*/ 236070 w 872785"/>
              <a:gd name="connsiteY23" fmla="*/ 451444 h 795115"/>
              <a:gd name="connsiteX24" fmla="*/ 244167 w 872785"/>
              <a:gd name="connsiteY24" fmla="*/ 369892 h 795115"/>
              <a:gd name="connsiteX25" fmla="*/ 0 w 872785"/>
              <a:gd name="connsiteY25" fmla="*/ 369892 h 795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72785" h="795115">
                <a:moveTo>
                  <a:pt x="482600" y="0"/>
                </a:moveTo>
                <a:lnTo>
                  <a:pt x="872785" y="0"/>
                </a:lnTo>
                <a:lnTo>
                  <a:pt x="872785" y="297100"/>
                </a:lnTo>
                <a:cubicBezTo>
                  <a:pt x="872785" y="388315"/>
                  <a:pt x="862370" y="464058"/>
                  <a:pt x="841510" y="524267"/>
                </a:cubicBezTo>
                <a:cubicBezTo>
                  <a:pt x="820682" y="584414"/>
                  <a:pt x="794785" y="632972"/>
                  <a:pt x="763881" y="669881"/>
                </a:cubicBezTo>
                <a:cubicBezTo>
                  <a:pt x="732947" y="706758"/>
                  <a:pt x="698583" y="734936"/>
                  <a:pt x="660726" y="754354"/>
                </a:cubicBezTo>
                <a:cubicBezTo>
                  <a:pt x="622870" y="773740"/>
                  <a:pt x="587733" y="787317"/>
                  <a:pt x="555284" y="795115"/>
                </a:cubicBezTo>
                <a:lnTo>
                  <a:pt x="555284" y="646580"/>
                </a:lnTo>
                <a:cubicBezTo>
                  <a:pt x="593883" y="631015"/>
                  <a:pt x="624013" y="613089"/>
                  <a:pt x="645676" y="592709"/>
                </a:cubicBezTo>
                <a:cubicBezTo>
                  <a:pt x="667278" y="572328"/>
                  <a:pt x="683904" y="550488"/>
                  <a:pt x="695493" y="527187"/>
                </a:cubicBezTo>
                <a:cubicBezTo>
                  <a:pt x="707081" y="503886"/>
                  <a:pt x="714807" y="478628"/>
                  <a:pt x="718670" y="451444"/>
                </a:cubicBezTo>
                <a:cubicBezTo>
                  <a:pt x="722502" y="424229"/>
                  <a:pt x="725221" y="397076"/>
                  <a:pt x="726767" y="369892"/>
                </a:cubicBezTo>
                <a:lnTo>
                  <a:pt x="482600" y="369892"/>
                </a:lnTo>
                <a:close/>
                <a:moveTo>
                  <a:pt x="0" y="0"/>
                </a:moveTo>
                <a:lnTo>
                  <a:pt x="390185" y="0"/>
                </a:lnTo>
                <a:lnTo>
                  <a:pt x="390185" y="297100"/>
                </a:lnTo>
                <a:cubicBezTo>
                  <a:pt x="390185" y="388315"/>
                  <a:pt x="379770" y="464058"/>
                  <a:pt x="358910" y="524267"/>
                </a:cubicBezTo>
                <a:cubicBezTo>
                  <a:pt x="338082" y="584414"/>
                  <a:pt x="312185" y="632972"/>
                  <a:pt x="281281" y="669881"/>
                </a:cubicBezTo>
                <a:cubicBezTo>
                  <a:pt x="250347" y="706758"/>
                  <a:pt x="215983" y="734936"/>
                  <a:pt x="178126" y="754354"/>
                </a:cubicBezTo>
                <a:cubicBezTo>
                  <a:pt x="140270" y="773740"/>
                  <a:pt x="105133" y="787317"/>
                  <a:pt x="72684" y="795115"/>
                </a:cubicBezTo>
                <a:lnTo>
                  <a:pt x="72684" y="646580"/>
                </a:lnTo>
                <a:cubicBezTo>
                  <a:pt x="111283" y="631015"/>
                  <a:pt x="141413" y="613089"/>
                  <a:pt x="163076" y="592709"/>
                </a:cubicBezTo>
                <a:cubicBezTo>
                  <a:pt x="184678" y="572328"/>
                  <a:pt x="201304" y="550488"/>
                  <a:pt x="212893" y="527187"/>
                </a:cubicBezTo>
                <a:cubicBezTo>
                  <a:pt x="224481" y="503886"/>
                  <a:pt x="232207" y="478628"/>
                  <a:pt x="236070" y="451444"/>
                </a:cubicBezTo>
                <a:cubicBezTo>
                  <a:pt x="239902" y="424229"/>
                  <a:pt x="242621" y="397076"/>
                  <a:pt x="244167" y="369892"/>
                </a:cubicBezTo>
                <a:lnTo>
                  <a:pt x="0" y="369892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4AF3C7-65E4-2119-2258-55C0991DC88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4BE636A-7077-4140-B1E8-9DD9C0786A44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EBE34F2-FB21-A96F-682E-0648A69E721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17B3F40-01AD-5434-5444-B63A32BCEE9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3657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3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01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9782F6F6-6B59-A59E-409E-972A01913899}"/>
              </a:ext>
            </a:extLst>
          </p:cNvPr>
          <p:cNvSpPr>
            <a:spLocks noChangeAspect="1"/>
          </p:cNvSpPr>
          <p:nvPr userDrawn="1"/>
        </p:nvSpPr>
        <p:spPr>
          <a:xfrm rot="21000000">
            <a:off x="765507" y="2644542"/>
            <a:ext cx="3553199" cy="35531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3744132-DA0E-DD1E-BAF5-6FA0363B7C4A}"/>
              </a:ext>
            </a:extLst>
          </p:cNvPr>
          <p:cNvSpPr/>
          <p:nvPr userDrawn="1"/>
        </p:nvSpPr>
        <p:spPr>
          <a:xfrm>
            <a:off x="1084820" y="3093284"/>
            <a:ext cx="5011180" cy="37647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Datumsplatzhalter 8">
            <a:extLst>
              <a:ext uri="{FF2B5EF4-FFF2-40B4-BE49-F238E27FC236}">
                <a16:creationId xmlns:a16="http://schemas.microsoft.com/office/drawing/2014/main" id="{DF3EF657-8FD6-6CD8-912C-C0255A1F23CD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>
          <a:xfrm>
            <a:off x="1523492" y="6201308"/>
            <a:ext cx="4212468" cy="288032"/>
          </a:xfrm>
        </p:spPr>
        <p:txBody>
          <a:bodyPr wrap="square" lIns="0">
            <a:noAutofit/>
          </a:bodyPr>
          <a:lstStyle>
            <a:lvl1pPr algn="l">
              <a:defRPr sz="1600" b="0" i="0">
                <a:solidFill>
                  <a:schemeClr val="bg1"/>
                </a:solidFill>
                <a:latin typeface="+mn-lt"/>
              </a:defRPr>
            </a:lvl1pPr>
          </a:lstStyle>
          <a:p>
            <a:fld id="{B829470F-2D6D-5D48-A846-95D795A74097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3" name="Titel 4">
            <a:extLst>
              <a:ext uri="{FF2B5EF4-FFF2-40B4-BE49-F238E27FC236}">
                <a16:creationId xmlns:a16="http://schemas.microsoft.com/office/drawing/2014/main" id="{07D51D8D-C714-E123-0411-C75401CC6DC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23492" y="3429000"/>
            <a:ext cx="4212468" cy="2160000"/>
          </a:xfrm>
        </p:spPr>
        <p:txBody>
          <a:bodyPr wrap="square">
            <a:noAutofit/>
          </a:bodyPr>
          <a:lstStyle>
            <a:lvl1pPr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Textplatzhalter 7">
            <a:extLst>
              <a:ext uri="{FF2B5EF4-FFF2-40B4-BE49-F238E27FC236}">
                <a16:creationId xmlns:a16="http://schemas.microsoft.com/office/drawing/2014/main" id="{0E829E96-CBE9-EF6A-214E-BB3A8E4C46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523492" y="5589240"/>
            <a:ext cx="4212468" cy="540060"/>
          </a:xfrm>
        </p:spPr>
        <p:txBody>
          <a:bodyPr wrap="square" anchor="b">
            <a:noAutofit/>
          </a:bodyPr>
          <a:lstStyle>
            <a:lvl4pPr>
              <a:defRPr sz="1600" b="0" i="0">
                <a:solidFill>
                  <a:schemeClr val="bg1"/>
                </a:solidFill>
                <a:latin typeface="+mn-lt"/>
              </a:defRPr>
            </a:lvl4pPr>
          </a:lstStyle>
          <a:p>
            <a:pPr lvl="3"/>
            <a:r>
              <a:rPr lang="de-DE" dirty="0" err="1"/>
              <a:t>Subtitel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pic>
        <p:nvPicPr>
          <p:cNvPr id="5" name="Grafik 4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A0E81D9E-CA53-5401-27AB-A03210C920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14" y="452304"/>
            <a:ext cx="1379369" cy="864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D702A069-23A6-38D5-6E05-130B43976A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279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4212628 w 6096000"/>
              <a:gd name="connsiteY1" fmla="*/ 0 h 6858000"/>
              <a:gd name="connsiteX2" fmla="*/ 4212628 w 6096000"/>
              <a:gd name="connsiteY2" fmla="*/ 1439721 h 6858000"/>
              <a:gd name="connsiteX3" fmla="*/ 5652628 w 6096000"/>
              <a:gd name="connsiteY3" fmla="*/ 1439721 h 6858000"/>
              <a:gd name="connsiteX4" fmla="*/ 5652628 w 6096000"/>
              <a:gd name="connsiteY4" fmla="*/ 908441 h 6858000"/>
              <a:gd name="connsiteX5" fmla="*/ 5653086 w 6096000"/>
              <a:gd name="connsiteY5" fmla="*/ 908441 h 6858000"/>
              <a:gd name="connsiteX6" fmla="*/ 5653086 w 6096000"/>
              <a:gd name="connsiteY6" fmla="*/ 0 h 6858000"/>
              <a:gd name="connsiteX7" fmla="*/ 6096000 w 6096000"/>
              <a:gd name="connsiteY7" fmla="*/ 0 h 6858000"/>
              <a:gd name="connsiteX8" fmla="*/ 6096000 w 6096000"/>
              <a:gd name="connsiteY8" fmla="*/ 6858000 h 6858000"/>
              <a:gd name="connsiteX9" fmla="*/ 0 w 6096000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4212628" y="0"/>
                </a:lnTo>
                <a:lnTo>
                  <a:pt x="4212628" y="1439721"/>
                </a:lnTo>
                <a:lnTo>
                  <a:pt x="5652628" y="1439721"/>
                </a:lnTo>
                <a:lnTo>
                  <a:pt x="5652628" y="908441"/>
                </a:lnTo>
                <a:lnTo>
                  <a:pt x="5653086" y="908441"/>
                </a:lnTo>
                <a:lnTo>
                  <a:pt x="5653086" y="0"/>
                </a:ln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9C21AAC-8EA9-80DD-AD4E-685D3E4C8A15}"/>
              </a:ext>
            </a:extLst>
          </p:cNvPr>
          <p:cNvGrpSpPr/>
          <p:nvPr userDrawn="1"/>
        </p:nvGrpSpPr>
        <p:grpSpPr>
          <a:xfrm>
            <a:off x="10308628" y="0"/>
            <a:ext cx="1440000" cy="1440000"/>
            <a:chOff x="10308628" y="0"/>
            <a:chExt cx="1440000" cy="1440000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4C0E0A66-BD06-1302-4170-B29103F82E70}"/>
                </a:ext>
              </a:extLst>
            </p:cNvPr>
            <p:cNvSpPr/>
            <p:nvPr userDrawn="1"/>
          </p:nvSpPr>
          <p:spPr>
            <a:xfrm>
              <a:off x="10308628" y="0"/>
              <a:ext cx="1440000" cy="14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2C54F87B-8021-7D7C-319A-A8AC5D4774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02800" y="384235"/>
              <a:ext cx="880619" cy="6715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19168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D8CAB68C-DEBD-C2A5-B349-925C9457F01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-712"/>
            <a:ext cx="12192000" cy="68587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8E0227-D4CA-34C2-5F4D-47C6C8EA715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C1D7A3-1161-604A-870A-5172D79384CE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460BFFD-B8BC-1B38-FDFD-88549EE3435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26E0613-D226-AF73-E00A-7D41AB0CA8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87635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ihandform 17">
            <a:extLst>
              <a:ext uri="{FF2B5EF4-FFF2-40B4-BE49-F238E27FC236}">
                <a16:creationId xmlns:a16="http://schemas.microsoft.com/office/drawing/2014/main" id="{2D28B1F0-336D-ABA2-48E4-68BCBEF64A4C}"/>
              </a:ext>
            </a:extLst>
          </p:cNvPr>
          <p:cNvSpPr/>
          <p:nvPr userDrawn="1"/>
        </p:nvSpPr>
        <p:spPr>
          <a:xfrm rot="21000000">
            <a:off x="-288427" y="1549622"/>
            <a:ext cx="11408574" cy="6347131"/>
          </a:xfrm>
          <a:custGeom>
            <a:avLst/>
            <a:gdLst>
              <a:gd name="connsiteX0" fmla="*/ 11408574 w 11408574"/>
              <a:gd name="connsiteY0" fmla="*/ 0 h 6347131"/>
              <a:gd name="connsiteX1" fmla="*/ 11408574 w 11408574"/>
              <a:gd name="connsiteY1" fmla="*/ 6347131 h 6347131"/>
              <a:gd name="connsiteX2" fmla="*/ 0 w 11408574"/>
              <a:gd name="connsiteY2" fmla="*/ 4335492 h 6347131"/>
              <a:gd name="connsiteX3" fmla="*/ 764464 w 11408574"/>
              <a:gd name="connsiteY3" fmla="*/ 0 h 6347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08574" h="6347131">
                <a:moveTo>
                  <a:pt x="11408574" y="0"/>
                </a:moveTo>
                <a:lnTo>
                  <a:pt x="11408574" y="6347131"/>
                </a:lnTo>
                <a:lnTo>
                  <a:pt x="0" y="4335492"/>
                </a:lnTo>
                <a:lnTo>
                  <a:pt x="764464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76D07D1-2FFB-A6F4-CF69-3043A97792E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62686" y="4381122"/>
            <a:ext cx="4389233" cy="2476878"/>
          </a:xfrm>
          <a:custGeom>
            <a:avLst/>
            <a:gdLst>
              <a:gd name="connsiteX0" fmla="*/ 0 w 4389233"/>
              <a:gd name="connsiteY0" fmla="*/ 0 h 2476878"/>
              <a:gd name="connsiteX1" fmla="*/ 4389233 w 4389233"/>
              <a:gd name="connsiteY1" fmla="*/ 0 h 2476878"/>
              <a:gd name="connsiteX2" fmla="*/ 4389233 w 4389233"/>
              <a:gd name="connsiteY2" fmla="*/ 2476878 h 2476878"/>
              <a:gd name="connsiteX3" fmla="*/ 0 w 4389233"/>
              <a:gd name="connsiteY3" fmla="*/ 2476878 h 2476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89233" h="2476878">
                <a:moveTo>
                  <a:pt x="0" y="0"/>
                </a:moveTo>
                <a:lnTo>
                  <a:pt x="4389233" y="0"/>
                </a:lnTo>
                <a:lnTo>
                  <a:pt x="4389233" y="2476878"/>
                </a:lnTo>
                <a:lnTo>
                  <a:pt x="0" y="24768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53BB4492-72C5-3563-A082-6F7D968561E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762685" y="1221294"/>
            <a:ext cx="4555207" cy="2891753"/>
          </a:xfrm>
          <a:custGeom>
            <a:avLst/>
            <a:gdLst>
              <a:gd name="connsiteX0" fmla="*/ 0 w 4555207"/>
              <a:gd name="connsiteY0" fmla="*/ 0 h 2891753"/>
              <a:gd name="connsiteX1" fmla="*/ 4555207 w 4555207"/>
              <a:gd name="connsiteY1" fmla="*/ 0 h 2891753"/>
              <a:gd name="connsiteX2" fmla="*/ 4555207 w 4555207"/>
              <a:gd name="connsiteY2" fmla="*/ 2891753 h 2891753"/>
              <a:gd name="connsiteX3" fmla="*/ 0 w 4555207"/>
              <a:gd name="connsiteY3" fmla="*/ 2891753 h 2891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5207" h="2891753">
                <a:moveTo>
                  <a:pt x="0" y="0"/>
                </a:moveTo>
                <a:lnTo>
                  <a:pt x="4555207" y="0"/>
                </a:lnTo>
                <a:lnTo>
                  <a:pt x="4555207" y="2891753"/>
                </a:lnTo>
                <a:lnTo>
                  <a:pt x="0" y="289175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BFD27DBC-FFB3-F8B4-A0CB-8A998687090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1860966"/>
            <a:ext cx="5476010" cy="4997035"/>
          </a:xfrm>
          <a:custGeom>
            <a:avLst/>
            <a:gdLst>
              <a:gd name="connsiteX0" fmla="*/ 0 w 5476009"/>
              <a:gd name="connsiteY0" fmla="*/ 0 h 4997035"/>
              <a:gd name="connsiteX1" fmla="*/ 5476009 w 5476009"/>
              <a:gd name="connsiteY1" fmla="*/ 0 h 4997035"/>
              <a:gd name="connsiteX2" fmla="*/ 5476009 w 5476009"/>
              <a:gd name="connsiteY2" fmla="*/ 4997035 h 4997035"/>
              <a:gd name="connsiteX3" fmla="*/ 0 w 5476009"/>
              <a:gd name="connsiteY3" fmla="*/ 4997035 h 4997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6009" h="4997035">
                <a:moveTo>
                  <a:pt x="0" y="0"/>
                </a:moveTo>
                <a:lnTo>
                  <a:pt x="5476009" y="0"/>
                </a:lnTo>
                <a:lnTo>
                  <a:pt x="5476009" y="4997035"/>
                </a:lnTo>
                <a:lnTo>
                  <a:pt x="0" y="499703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C8116E-72A4-EB20-FFB6-FFDE5E0D32F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90B93C8-7499-4F48-A73B-577EB51BF8EB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D9D2DCB-1897-0F12-57E6-266044853A5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3371" y="6273316"/>
            <a:ext cx="4860541" cy="3600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6F0BC0B-8C5C-B00B-9407-20EA4E5A2A3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31CBB75-DBE1-2DA5-D6D8-C96C2A070E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5033097" cy="9361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10956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 13">
            <a:extLst>
              <a:ext uri="{FF2B5EF4-FFF2-40B4-BE49-F238E27FC236}">
                <a16:creationId xmlns:a16="http://schemas.microsoft.com/office/drawing/2014/main" id="{C6B08C21-A37C-2864-2168-45B957479F4A}"/>
              </a:ext>
            </a:extLst>
          </p:cNvPr>
          <p:cNvSpPr/>
          <p:nvPr userDrawn="1"/>
        </p:nvSpPr>
        <p:spPr>
          <a:xfrm rot="21000000">
            <a:off x="-336137" y="1242321"/>
            <a:ext cx="10058647" cy="6538680"/>
          </a:xfrm>
          <a:custGeom>
            <a:avLst/>
            <a:gdLst>
              <a:gd name="connsiteX0" fmla="*/ 10058647 w 10058647"/>
              <a:gd name="connsiteY0" fmla="*/ 0 h 6538680"/>
              <a:gd name="connsiteX1" fmla="*/ 10058647 w 10058647"/>
              <a:gd name="connsiteY1" fmla="*/ 6538680 h 6538680"/>
              <a:gd name="connsiteX2" fmla="*/ 0 w 10058647"/>
              <a:gd name="connsiteY2" fmla="*/ 4765069 h 6538680"/>
              <a:gd name="connsiteX3" fmla="*/ 840211 w 10058647"/>
              <a:gd name="connsiteY3" fmla="*/ 0 h 6538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58647" h="6538680">
                <a:moveTo>
                  <a:pt x="10058647" y="0"/>
                </a:moveTo>
                <a:lnTo>
                  <a:pt x="10058647" y="6538680"/>
                </a:lnTo>
                <a:lnTo>
                  <a:pt x="0" y="4765069"/>
                </a:lnTo>
                <a:lnTo>
                  <a:pt x="84021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AD936CFF-96EF-9927-D176-7EC2E78622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09937" y="4087127"/>
            <a:ext cx="4364794" cy="2770874"/>
          </a:xfrm>
          <a:custGeom>
            <a:avLst/>
            <a:gdLst>
              <a:gd name="connsiteX0" fmla="*/ 0 w 4364794"/>
              <a:gd name="connsiteY0" fmla="*/ 0 h 2770874"/>
              <a:gd name="connsiteX1" fmla="*/ 4364794 w 4364794"/>
              <a:gd name="connsiteY1" fmla="*/ 0 h 2770874"/>
              <a:gd name="connsiteX2" fmla="*/ 4364794 w 4364794"/>
              <a:gd name="connsiteY2" fmla="*/ 2770874 h 2770874"/>
              <a:gd name="connsiteX3" fmla="*/ 0 w 4364794"/>
              <a:gd name="connsiteY3" fmla="*/ 2770874 h 2770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4794" h="2770874">
                <a:moveTo>
                  <a:pt x="0" y="0"/>
                </a:moveTo>
                <a:lnTo>
                  <a:pt x="4364794" y="0"/>
                </a:lnTo>
                <a:lnTo>
                  <a:pt x="4364794" y="2770874"/>
                </a:lnTo>
                <a:lnTo>
                  <a:pt x="0" y="277087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B92397A7-7C35-00D2-7A5E-CF9BDA265A8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41325"/>
            <a:ext cx="5695122" cy="3213801"/>
          </a:xfrm>
          <a:custGeom>
            <a:avLst/>
            <a:gdLst>
              <a:gd name="connsiteX0" fmla="*/ 0 w 5695122"/>
              <a:gd name="connsiteY0" fmla="*/ 0 h 3213801"/>
              <a:gd name="connsiteX1" fmla="*/ 5695122 w 5695122"/>
              <a:gd name="connsiteY1" fmla="*/ 0 h 3213801"/>
              <a:gd name="connsiteX2" fmla="*/ 5695122 w 5695122"/>
              <a:gd name="connsiteY2" fmla="*/ 3213801 h 3213801"/>
              <a:gd name="connsiteX3" fmla="*/ 0 w 5695122"/>
              <a:gd name="connsiteY3" fmla="*/ 3213801 h 321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95122" h="3213801">
                <a:moveTo>
                  <a:pt x="0" y="0"/>
                </a:moveTo>
                <a:lnTo>
                  <a:pt x="5695122" y="0"/>
                </a:lnTo>
                <a:lnTo>
                  <a:pt x="5695122" y="3213801"/>
                </a:lnTo>
                <a:lnTo>
                  <a:pt x="0" y="321380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B18D128E-27D6-B465-3BA3-336B9D46C3F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4085693"/>
            <a:ext cx="4364794" cy="2772308"/>
          </a:xfrm>
          <a:custGeom>
            <a:avLst/>
            <a:gdLst>
              <a:gd name="connsiteX0" fmla="*/ 0 w 4364794"/>
              <a:gd name="connsiteY0" fmla="*/ 0 h 2770874"/>
              <a:gd name="connsiteX1" fmla="*/ 4364794 w 4364794"/>
              <a:gd name="connsiteY1" fmla="*/ 0 h 2770874"/>
              <a:gd name="connsiteX2" fmla="*/ 4364794 w 4364794"/>
              <a:gd name="connsiteY2" fmla="*/ 2770874 h 2770874"/>
              <a:gd name="connsiteX3" fmla="*/ 0 w 4364794"/>
              <a:gd name="connsiteY3" fmla="*/ 2770874 h 2770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4794" h="2770874">
                <a:moveTo>
                  <a:pt x="0" y="0"/>
                </a:moveTo>
                <a:lnTo>
                  <a:pt x="4364794" y="0"/>
                </a:lnTo>
                <a:lnTo>
                  <a:pt x="4364794" y="2770874"/>
                </a:lnTo>
                <a:lnTo>
                  <a:pt x="0" y="277087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DAD8CD6-F1CF-E444-5BBB-7E10BBB28CA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52084D-14F3-184C-82FF-61A4923091B2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6FCE1FE-62D0-FF96-732D-9240A61D1A6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3371" y="6273316"/>
            <a:ext cx="3605813" cy="3600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C3EF231-9243-C326-6F8C-CCBA412ABF9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D8097AAF-11A0-B1D2-B288-C34AEC37C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1628800"/>
            <a:ext cx="2844316" cy="2016224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40875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cheln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08838A4A-4BA4-1866-B15D-AFA3578E13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023992" y="1448780"/>
            <a:ext cx="1476164" cy="1476164"/>
          </a:xfrm>
          <a:solidFill>
            <a:schemeClr val="accent1"/>
          </a:solidFill>
          <a:ln w="47625" cap="sq">
            <a:solidFill>
              <a:schemeClr val="accent1"/>
            </a:solidFill>
            <a:miter lim="800000"/>
          </a:ln>
        </p:spPr>
        <p:txBody>
          <a:bodyPr wrap="square" lIns="180000" tIns="180000" rIns="180000" bIns="180000" anchor="ctr">
            <a:noAutofit/>
          </a:bodyPr>
          <a:lstStyle>
            <a:lvl1pPr>
              <a:defRPr sz="16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Freihandform 20">
            <a:extLst>
              <a:ext uri="{FF2B5EF4-FFF2-40B4-BE49-F238E27FC236}">
                <a16:creationId xmlns:a16="http://schemas.microsoft.com/office/drawing/2014/main" id="{8052336D-0E71-7FCC-A336-951A561F8798}"/>
              </a:ext>
            </a:extLst>
          </p:cNvPr>
          <p:cNvSpPr/>
          <p:nvPr userDrawn="1"/>
        </p:nvSpPr>
        <p:spPr bwMode="gray">
          <a:xfrm rot="21000000">
            <a:off x="-103324" y="3559866"/>
            <a:ext cx="12766285" cy="4307388"/>
          </a:xfrm>
          <a:custGeom>
            <a:avLst/>
            <a:gdLst>
              <a:gd name="connsiteX0" fmla="*/ 12766285 w 12766285"/>
              <a:gd name="connsiteY0" fmla="*/ 0 h 4307388"/>
              <a:gd name="connsiteX1" fmla="*/ 12006776 w 12766285"/>
              <a:gd name="connsiteY1" fmla="*/ 4307388 h 4307388"/>
              <a:gd name="connsiteX2" fmla="*/ 0 w 12766285"/>
              <a:gd name="connsiteY2" fmla="*/ 2190270 h 4307388"/>
              <a:gd name="connsiteX3" fmla="*/ 386204 w 12766285"/>
              <a:gd name="connsiteY3" fmla="*/ 0 h 4307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66285" h="4307388">
                <a:moveTo>
                  <a:pt x="12766285" y="0"/>
                </a:moveTo>
                <a:lnTo>
                  <a:pt x="12006776" y="4307388"/>
                </a:lnTo>
                <a:lnTo>
                  <a:pt x="0" y="2190270"/>
                </a:lnTo>
                <a:lnTo>
                  <a:pt x="386204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682F7852-F83B-4490-8F33-B982295D8B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43371" y="2348880"/>
            <a:ext cx="2952328" cy="2952328"/>
          </a:xfrm>
          <a:custGeom>
            <a:avLst/>
            <a:gdLst>
              <a:gd name="connsiteX0" fmla="*/ 0 w 2947187"/>
              <a:gd name="connsiteY0" fmla="*/ 0 h 2948479"/>
              <a:gd name="connsiteX1" fmla="*/ 2947187 w 2947187"/>
              <a:gd name="connsiteY1" fmla="*/ 0 h 2948479"/>
              <a:gd name="connsiteX2" fmla="*/ 2947187 w 2947187"/>
              <a:gd name="connsiteY2" fmla="*/ 2948479 h 2948479"/>
              <a:gd name="connsiteX3" fmla="*/ 0 w 2947187"/>
              <a:gd name="connsiteY3" fmla="*/ 2948479 h 2948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7187" h="2948479">
                <a:moveTo>
                  <a:pt x="0" y="0"/>
                </a:moveTo>
                <a:lnTo>
                  <a:pt x="2947187" y="0"/>
                </a:lnTo>
                <a:lnTo>
                  <a:pt x="2947187" y="2948479"/>
                </a:lnTo>
                <a:lnTo>
                  <a:pt x="0" y="294847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7DC96B8-F513-80E9-A4BA-88D9F8C7105F}"/>
              </a:ext>
            </a:extLst>
          </p:cNvPr>
          <p:cNvSpPr>
            <a:spLocks noChangeAspect="1"/>
          </p:cNvSpPr>
          <p:nvPr/>
        </p:nvSpPr>
        <p:spPr bwMode="gray">
          <a:xfrm>
            <a:off x="5087888" y="4761148"/>
            <a:ext cx="612068" cy="612068"/>
          </a:xfrm>
          <a:prstGeom prst="rect">
            <a:avLst/>
          </a:prstGeom>
          <a:solidFill>
            <a:schemeClr val="accent3"/>
          </a:solidFill>
          <a:ln w="50800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6A21C61-B60F-4BE2-2576-9B8101901557}"/>
              </a:ext>
            </a:extLst>
          </p:cNvPr>
          <p:cNvSpPr>
            <a:spLocks noChangeAspect="1"/>
          </p:cNvSpPr>
          <p:nvPr/>
        </p:nvSpPr>
        <p:spPr bwMode="gray">
          <a:xfrm>
            <a:off x="9984432" y="2168860"/>
            <a:ext cx="720080" cy="720080"/>
          </a:xfrm>
          <a:prstGeom prst="rect">
            <a:avLst/>
          </a:prstGeom>
          <a:solidFill>
            <a:schemeClr val="accent3"/>
          </a:solidFill>
          <a:ln w="50800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580B45F2-E708-DB79-3AB5-BF2A79951F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3647728" y="2348880"/>
            <a:ext cx="2088232" cy="2088232"/>
          </a:xfrm>
          <a:solidFill>
            <a:schemeClr val="bg1"/>
          </a:solidFill>
          <a:ln w="47625" cap="sq">
            <a:solidFill>
              <a:schemeClr val="accent1"/>
            </a:solidFill>
            <a:miter lim="800000"/>
          </a:ln>
        </p:spPr>
        <p:txBody>
          <a:bodyPr wrap="square" lIns="180000" tIns="180000" rIns="180000" bIns="180000" anchor="ctr">
            <a:noAutofit/>
          </a:bodyPr>
          <a:lstStyle>
            <a:lvl1pPr>
              <a:defRPr sz="16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9D4E323D-1898-5A5A-A1A5-A914ADE2059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788188" y="980728"/>
            <a:ext cx="1944216" cy="1944216"/>
          </a:xfrm>
          <a:custGeom>
            <a:avLst/>
            <a:gdLst>
              <a:gd name="connsiteX0" fmla="*/ 0 w 1930073"/>
              <a:gd name="connsiteY0" fmla="*/ 0 h 1930220"/>
              <a:gd name="connsiteX1" fmla="*/ 1930073 w 1930073"/>
              <a:gd name="connsiteY1" fmla="*/ 0 h 1930220"/>
              <a:gd name="connsiteX2" fmla="*/ 1930073 w 1930073"/>
              <a:gd name="connsiteY2" fmla="*/ 1930220 h 1930220"/>
              <a:gd name="connsiteX3" fmla="*/ 0 w 1930073"/>
              <a:gd name="connsiteY3" fmla="*/ 1930220 h 1930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0073" h="1930220">
                <a:moveTo>
                  <a:pt x="0" y="0"/>
                </a:moveTo>
                <a:lnTo>
                  <a:pt x="1930073" y="0"/>
                </a:lnTo>
                <a:lnTo>
                  <a:pt x="1930073" y="1930220"/>
                </a:lnTo>
                <a:lnTo>
                  <a:pt x="0" y="193022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id="{EDC11B85-A242-D352-A44B-CC03EDFE7A9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23992" y="3140968"/>
            <a:ext cx="2484276" cy="2448272"/>
          </a:xfrm>
          <a:custGeom>
            <a:avLst/>
            <a:gdLst>
              <a:gd name="connsiteX0" fmla="*/ 0 w 2468243"/>
              <a:gd name="connsiteY0" fmla="*/ 0 h 2465083"/>
              <a:gd name="connsiteX1" fmla="*/ 2468243 w 2468243"/>
              <a:gd name="connsiteY1" fmla="*/ 0 h 2465083"/>
              <a:gd name="connsiteX2" fmla="*/ 2468243 w 2468243"/>
              <a:gd name="connsiteY2" fmla="*/ 2465083 h 2465083"/>
              <a:gd name="connsiteX3" fmla="*/ 0 w 2468243"/>
              <a:gd name="connsiteY3" fmla="*/ 2465083 h 2465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68243" h="2465083">
                <a:moveTo>
                  <a:pt x="0" y="0"/>
                </a:moveTo>
                <a:lnTo>
                  <a:pt x="2468243" y="0"/>
                </a:lnTo>
                <a:lnTo>
                  <a:pt x="2468243" y="2465083"/>
                </a:lnTo>
                <a:lnTo>
                  <a:pt x="0" y="246508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E8799A5E-D3D8-F701-1C25-A8FC7B8C043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8760296" y="3176972"/>
            <a:ext cx="1476164" cy="1476164"/>
          </a:xfrm>
          <a:solidFill>
            <a:schemeClr val="accent1"/>
          </a:solidFill>
          <a:ln w="47625" cap="sq">
            <a:solidFill>
              <a:schemeClr val="accent1"/>
            </a:solidFill>
            <a:miter lim="800000"/>
          </a:ln>
        </p:spPr>
        <p:txBody>
          <a:bodyPr wrap="square" lIns="180000" tIns="180000" rIns="180000" bIns="180000" anchor="ctr">
            <a:noAutofit/>
          </a:bodyPr>
          <a:lstStyle>
            <a:lvl1pPr>
              <a:defRPr sz="16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5D5E56A-8EC4-DD24-2844-12A075850048}"/>
              </a:ext>
            </a:extLst>
          </p:cNvPr>
          <p:cNvSpPr>
            <a:spLocks noGrp="1"/>
          </p:cNvSpPr>
          <p:nvPr>
            <p:ph type="dt" sz="half" idx="21"/>
          </p:nvPr>
        </p:nvSpPr>
        <p:spPr bwMode="gray"/>
        <p:txBody>
          <a:bodyPr/>
          <a:lstStyle/>
          <a:p>
            <a:fld id="{AADEB7F7-CDDF-7446-8FDD-B97E9AF17395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D6D6BC6-F856-C375-3797-3424D96C3E2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 bwMode="gray"/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07A1971-813B-3264-EFE4-F2F24C9FD046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 bwMode="gray"/>
        <p:txBody>
          <a:bodyPr/>
          <a:lstStyle/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DDD610C2-89B4-2A0C-9A51-198CF28152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5292589" cy="936104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67601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cheln 0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0210E131-8000-797B-B3CF-D3E37A7B9BFB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5536923" y="5319663"/>
            <a:ext cx="1542168" cy="1540194"/>
          </a:xfrm>
          <a:custGeom>
            <a:avLst/>
            <a:gdLst>
              <a:gd name="connsiteX0" fmla="*/ 0 w 1542168"/>
              <a:gd name="connsiteY0" fmla="*/ 0 h 1540194"/>
              <a:gd name="connsiteX1" fmla="*/ 1542168 w 1542168"/>
              <a:gd name="connsiteY1" fmla="*/ 0 h 1540194"/>
              <a:gd name="connsiteX2" fmla="*/ 1542168 w 1542168"/>
              <a:gd name="connsiteY2" fmla="*/ 1540194 h 1540194"/>
              <a:gd name="connsiteX3" fmla="*/ 0 w 1542168"/>
              <a:gd name="connsiteY3" fmla="*/ 1540194 h 1540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42168" h="1540194">
                <a:moveTo>
                  <a:pt x="0" y="0"/>
                </a:moveTo>
                <a:lnTo>
                  <a:pt x="1542168" y="0"/>
                </a:lnTo>
                <a:lnTo>
                  <a:pt x="1542168" y="1540194"/>
                </a:lnTo>
                <a:lnTo>
                  <a:pt x="0" y="15401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7" name="Textplatzhalter 34">
            <a:extLst>
              <a:ext uri="{FF2B5EF4-FFF2-40B4-BE49-F238E27FC236}">
                <a16:creationId xmlns:a16="http://schemas.microsoft.com/office/drawing/2014/main" id="{20E76A46-CD6D-139B-FBCC-460BAD2B54C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416480" y="3753036"/>
            <a:ext cx="1332148" cy="1872208"/>
          </a:xfrm>
        </p:spPr>
        <p:txBody>
          <a:bodyPr wrap="square" anchor="b">
            <a:noAutofit/>
          </a:bodyPr>
          <a:lstStyle>
            <a:lvl1pPr algn="l">
              <a:defRPr sz="1400">
                <a:solidFill>
                  <a:schemeClr val="bg1"/>
                </a:solidFill>
              </a:defRPr>
            </a:lvl1pPr>
            <a:lvl2pPr algn="l">
              <a:defRPr sz="1400">
                <a:solidFill>
                  <a:schemeClr val="bg1"/>
                </a:solidFill>
              </a:defRPr>
            </a:lvl2pPr>
            <a:lvl3pPr algn="l">
              <a:defRPr sz="1400">
                <a:solidFill>
                  <a:schemeClr val="bg1"/>
                </a:solidFill>
              </a:defRPr>
            </a:lvl3pPr>
            <a:lvl4pPr algn="l">
              <a:defRPr sz="1400">
                <a:solidFill>
                  <a:schemeClr val="bg1"/>
                </a:solidFill>
              </a:defRPr>
            </a:lvl4pPr>
            <a:lvl5pPr algn="l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874B11BF-9D74-F6BC-CFB6-6E501862253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43371" y="2528900"/>
            <a:ext cx="2448272" cy="2196244"/>
          </a:xfrm>
        </p:spPr>
        <p:txBody>
          <a:bodyPr wrap="square" anchor="b">
            <a:noAutofit/>
          </a:bodyPr>
          <a:lstStyle>
            <a:lvl1pPr algn="r">
              <a:defRPr sz="1400">
                <a:solidFill>
                  <a:schemeClr val="bg1"/>
                </a:solidFill>
              </a:defRPr>
            </a:lvl1pPr>
            <a:lvl2pPr algn="r">
              <a:defRPr sz="1400">
                <a:solidFill>
                  <a:schemeClr val="bg1"/>
                </a:solidFill>
              </a:defRPr>
            </a:lvl2pPr>
            <a:lvl3pPr algn="r">
              <a:defRPr sz="1400">
                <a:solidFill>
                  <a:schemeClr val="bg1"/>
                </a:solidFill>
              </a:defRPr>
            </a:lvl3pPr>
            <a:lvl4pPr algn="r">
              <a:defRPr sz="1400">
                <a:solidFill>
                  <a:schemeClr val="bg1"/>
                </a:solidFill>
              </a:defRPr>
            </a:lvl4pPr>
            <a:lvl5pPr algn="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682F7852-F83B-4490-8F33-B982295D8B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07668" y="2492896"/>
            <a:ext cx="2232248" cy="2196244"/>
          </a:xfrm>
          <a:custGeom>
            <a:avLst/>
            <a:gdLst>
              <a:gd name="connsiteX0" fmla="*/ 0 w 2947187"/>
              <a:gd name="connsiteY0" fmla="*/ 0 h 2948479"/>
              <a:gd name="connsiteX1" fmla="*/ 2947187 w 2947187"/>
              <a:gd name="connsiteY1" fmla="*/ 0 h 2948479"/>
              <a:gd name="connsiteX2" fmla="*/ 2947187 w 2947187"/>
              <a:gd name="connsiteY2" fmla="*/ 2948479 h 2948479"/>
              <a:gd name="connsiteX3" fmla="*/ 0 w 2947187"/>
              <a:gd name="connsiteY3" fmla="*/ 2948479 h 2948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7187" h="2948479">
                <a:moveTo>
                  <a:pt x="0" y="0"/>
                </a:moveTo>
                <a:lnTo>
                  <a:pt x="2947187" y="0"/>
                </a:lnTo>
                <a:lnTo>
                  <a:pt x="2947187" y="2948479"/>
                </a:lnTo>
                <a:lnTo>
                  <a:pt x="0" y="294847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6A21C61-B60F-4BE2-2576-9B8101901557}"/>
              </a:ext>
            </a:extLst>
          </p:cNvPr>
          <p:cNvSpPr>
            <a:spLocks noChangeAspect="1"/>
          </p:cNvSpPr>
          <p:nvPr/>
        </p:nvSpPr>
        <p:spPr bwMode="gray">
          <a:xfrm>
            <a:off x="8364252" y="2492896"/>
            <a:ext cx="972108" cy="1002000"/>
          </a:xfrm>
          <a:prstGeom prst="rect">
            <a:avLst/>
          </a:prstGeom>
          <a:solidFill>
            <a:schemeClr val="accent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04097D1-1DF0-D046-05C0-0C6661D4C6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371" y="404664"/>
            <a:ext cx="4500500" cy="158417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sz="5400"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580B45F2-E708-DB79-3AB5-BF2A79951F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303912" y="1232756"/>
            <a:ext cx="1080120" cy="1080120"/>
          </a:xfrm>
          <a:solidFill>
            <a:schemeClr val="bg1"/>
          </a:solidFill>
          <a:ln w="47625" cap="sq">
            <a:solidFill>
              <a:schemeClr val="accent1"/>
            </a:solidFill>
            <a:miter lim="800000"/>
          </a:ln>
        </p:spPr>
        <p:txBody>
          <a:bodyPr wrap="square" lIns="180000" tIns="180000" rIns="180000" bIns="180000" anchor="ctr">
            <a:noAutofit/>
          </a:bodyPr>
          <a:lstStyle>
            <a:lvl1pPr>
              <a:lnSpc>
                <a:spcPct val="120000"/>
              </a:lnSpc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id="{EDC11B85-A242-D352-A44B-CC03EDFE7A9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600056" y="8620"/>
            <a:ext cx="2304256" cy="2304256"/>
          </a:xfrm>
          <a:custGeom>
            <a:avLst/>
            <a:gdLst>
              <a:gd name="connsiteX0" fmla="*/ 0 w 2468243"/>
              <a:gd name="connsiteY0" fmla="*/ 0 h 2465083"/>
              <a:gd name="connsiteX1" fmla="*/ 2468243 w 2468243"/>
              <a:gd name="connsiteY1" fmla="*/ 0 h 2465083"/>
              <a:gd name="connsiteX2" fmla="*/ 2468243 w 2468243"/>
              <a:gd name="connsiteY2" fmla="*/ 2465083 h 2465083"/>
              <a:gd name="connsiteX3" fmla="*/ 0 w 2468243"/>
              <a:gd name="connsiteY3" fmla="*/ 2465083 h 2465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68243" h="2465083">
                <a:moveTo>
                  <a:pt x="0" y="0"/>
                </a:moveTo>
                <a:lnTo>
                  <a:pt x="2468243" y="0"/>
                </a:lnTo>
                <a:lnTo>
                  <a:pt x="2468243" y="2465083"/>
                </a:lnTo>
                <a:lnTo>
                  <a:pt x="0" y="246508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018887B1-F202-D467-7486-9F889DF4C2BE}"/>
              </a:ext>
            </a:extLst>
          </p:cNvPr>
          <p:cNvSpPr>
            <a:spLocks noGrp="1"/>
          </p:cNvSpPr>
          <p:nvPr>
            <p:ph sz="half" idx="23"/>
          </p:nvPr>
        </p:nvSpPr>
        <p:spPr>
          <a:xfrm>
            <a:off x="5536923" y="2492791"/>
            <a:ext cx="2628000" cy="2628000"/>
          </a:xfrm>
          <a:solidFill>
            <a:schemeClr val="accent6"/>
          </a:solidFill>
        </p:spPr>
        <p:txBody>
          <a:bodyPr wrap="square" lIns="180000" tIns="180000" rIns="180000" bIns="180000" anchor="ctr">
            <a:noAutofit/>
          </a:bodyPr>
          <a:lstStyle>
            <a:lvl1pPr>
              <a:lnSpc>
                <a:spcPct val="120000"/>
              </a:lnSpc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22">
            <a:extLst>
              <a:ext uri="{FF2B5EF4-FFF2-40B4-BE49-F238E27FC236}">
                <a16:creationId xmlns:a16="http://schemas.microsoft.com/office/drawing/2014/main" id="{9B384C42-3B59-AD49-52BB-AC29C5BDCE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511824" y="4977172"/>
            <a:ext cx="792088" cy="792088"/>
          </a:xfrm>
          <a:solidFill>
            <a:schemeClr val="accent1"/>
          </a:solidFill>
          <a:ln w="47625" cap="sq">
            <a:solidFill>
              <a:schemeClr val="accent1"/>
            </a:solidFill>
            <a:miter lim="800000"/>
          </a:ln>
        </p:spPr>
        <p:txBody>
          <a:bodyPr wrap="square" lIns="72000" tIns="72000" rIns="72000" bIns="72000" anchor="ctr">
            <a:noAutofit/>
          </a:bodyPr>
          <a:lstStyle>
            <a:lvl1pPr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Wort</a:t>
            </a:r>
          </a:p>
        </p:txBody>
      </p:sp>
      <p:sp>
        <p:nvSpPr>
          <p:cNvPr id="11" name="Textplatzhalter 22">
            <a:extLst>
              <a:ext uri="{FF2B5EF4-FFF2-40B4-BE49-F238E27FC236}">
                <a16:creationId xmlns:a16="http://schemas.microsoft.com/office/drawing/2014/main" id="{51096C62-BD3C-D79B-5FAE-8F9A167DBAD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7372835" y="5337212"/>
            <a:ext cx="792088" cy="792088"/>
          </a:xfrm>
          <a:solidFill>
            <a:schemeClr val="accent3"/>
          </a:solidFill>
          <a:ln w="47625" cap="sq">
            <a:solidFill>
              <a:schemeClr val="accent3"/>
            </a:solidFill>
            <a:miter lim="800000"/>
          </a:ln>
        </p:spPr>
        <p:txBody>
          <a:bodyPr wrap="square" lIns="72000" tIns="72000" rIns="72000" bIns="72000" anchor="ctr">
            <a:noAutofit/>
          </a:bodyPr>
          <a:lstStyle>
            <a:lvl1pPr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Wort</a:t>
            </a:r>
          </a:p>
        </p:txBody>
      </p:sp>
      <p:sp>
        <p:nvSpPr>
          <p:cNvPr id="13" name="Textplatzhalter 22">
            <a:extLst>
              <a:ext uri="{FF2B5EF4-FFF2-40B4-BE49-F238E27FC236}">
                <a16:creationId xmlns:a16="http://schemas.microsoft.com/office/drawing/2014/main" id="{EA5A693D-3D93-7780-F088-C8296154D56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9588388" y="2708920"/>
            <a:ext cx="792088" cy="792088"/>
          </a:xfrm>
          <a:solidFill>
            <a:schemeClr val="accent3"/>
          </a:solidFill>
          <a:ln w="47625" cap="sq">
            <a:solidFill>
              <a:schemeClr val="accent3"/>
            </a:solidFill>
            <a:miter lim="800000"/>
          </a:ln>
        </p:spPr>
        <p:txBody>
          <a:bodyPr wrap="square" lIns="72000" tIns="72000" rIns="72000" bIns="72000" anchor="ctr">
            <a:noAutofit/>
          </a:bodyPr>
          <a:lstStyle>
            <a:lvl1pPr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Wor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D30580B-A850-EDFA-0169-AE87F1E34C01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8364252" y="5769260"/>
            <a:ext cx="432048" cy="432048"/>
          </a:xfrm>
          <a:prstGeom prst="rect">
            <a:avLst/>
          </a:prstGeom>
          <a:solidFill>
            <a:schemeClr val="accent3"/>
          </a:solidFill>
          <a:ln w="50800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0" name="Bildplatzhalter 33">
            <a:extLst>
              <a:ext uri="{FF2B5EF4-FFF2-40B4-BE49-F238E27FC236}">
                <a16:creationId xmlns:a16="http://schemas.microsoft.com/office/drawing/2014/main" id="{9545CFF4-9F70-B665-058A-957862325D18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64252" y="3753036"/>
            <a:ext cx="1836204" cy="1872208"/>
          </a:xfrm>
          <a:custGeom>
            <a:avLst/>
            <a:gdLst>
              <a:gd name="connsiteX0" fmla="*/ 0 w 2468243"/>
              <a:gd name="connsiteY0" fmla="*/ 0 h 2465083"/>
              <a:gd name="connsiteX1" fmla="*/ 2468243 w 2468243"/>
              <a:gd name="connsiteY1" fmla="*/ 0 h 2465083"/>
              <a:gd name="connsiteX2" fmla="*/ 2468243 w 2468243"/>
              <a:gd name="connsiteY2" fmla="*/ 2465083 h 2465083"/>
              <a:gd name="connsiteX3" fmla="*/ 0 w 2468243"/>
              <a:gd name="connsiteY3" fmla="*/ 2465083 h 2465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68243" h="2465083">
                <a:moveTo>
                  <a:pt x="0" y="0"/>
                </a:moveTo>
                <a:lnTo>
                  <a:pt x="2468243" y="0"/>
                </a:lnTo>
                <a:lnTo>
                  <a:pt x="2468243" y="2465083"/>
                </a:lnTo>
                <a:lnTo>
                  <a:pt x="0" y="246508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6" name="Textplatzhalter 34">
            <a:extLst>
              <a:ext uri="{FF2B5EF4-FFF2-40B4-BE49-F238E27FC236}">
                <a16:creationId xmlns:a16="http://schemas.microsoft.com/office/drawing/2014/main" id="{676F6BD1-2F18-67A5-3D01-9F095651908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084332" y="476672"/>
            <a:ext cx="2664296" cy="1872208"/>
          </a:xfrm>
        </p:spPr>
        <p:txBody>
          <a:bodyPr wrap="square" anchor="b">
            <a:noAutofit/>
          </a:bodyPr>
          <a:lstStyle>
            <a:lvl1pPr algn="l">
              <a:defRPr sz="1400">
                <a:solidFill>
                  <a:schemeClr val="bg1"/>
                </a:solidFill>
              </a:defRPr>
            </a:lvl1pPr>
            <a:lvl2pPr algn="l">
              <a:defRPr sz="1400">
                <a:solidFill>
                  <a:schemeClr val="bg1"/>
                </a:solidFill>
              </a:defRPr>
            </a:lvl2pPr>
            <a:lvl3pPr algn="l">
              <a:defRPr sz="1400">
                <a:solidFill>
                  <a:schemeClr val="bg1"/>
                </a:solidFill>
              </a:defRPr>
            </a:lvl3pPr>
            <a:lvl4pPr algn="l">
              <a:defRPr sz="1400">
                <a:solidFill>
                  <a:schemeClr val="bg1"/>
                </a:solidFill>
              </a:defRPr>
            </a:lvl4pPr>
            <a:lvl5pPr algn="l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CDBD72E-0DC5-B692-FC05-1A2DD9B07AAB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fld id="{251C80D8-4420-E543-83B2-63D0FACB9E07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44842BCC-417D-E7E4-A35F-E41F3315EFF0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84E4050-E18C-7EB2-68D5-39BE876DCCB6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97701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 0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B1EC2A55-DE0E-A325-B685-923EFF93F157}"/>
              </a:ext>
            </a:extLst>
          </p:cNvPr>
          <p:cNvSpPr>
            <a:spLocks noChangeAspect="1"/>
          </p:cNvSpPr>
          <p:nvPr userDrawn="1"/>
        </p:nvSpPr>
        <p:spPr>
          <a:xfrm rot="21000000">
            <a:off x="873786" y="1789064"/>
            <a:ext cx="3482705" cy="34827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9B84C5D-2C5A-A628-6587-A08164CE1B65}"/>
              </a:ext>
            </a:extLst>
          </p:cNvPr>
          <p:cNvSpPr/>
          <p:nvPr userDrawn="1"/>
        </p:nvSpPr>
        <p:spPr bwMode="gray">
          <a:xfrm>
            <a:off x="1197864" y="2240280"/>
            <a:ext cx="10551224" cy="4176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216000" rIns="216000" bIns="21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Aft>
                <a:spcPts val="800"/>
              </a:spcAft>
            </a:pPr>
            <a:endParaRPr lang="de-DE" sz="1600" dirty="0">
              <a:solidFill>
                <a:schemeClr val="bg1"/>
              </a:solidFill>
              <a:ea typeface="Arial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platzhalter 34">
            <a:extLst>
              <a:ext uri="{FF2B5EF4-FFF2-40B4-BE49-F238E27FC236}">
                <a16:creationId xmlns:a16="http://schemas.microsoft.com/office/drawing/2014/main" id="{38BA3E9C-731D-9999-45E2-592B6E4862D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323692" y="2672916"/>
            <a:ext cx="2664296" cy="1440160"/>
          </a:xfrm>
        </p:spPr>
        <p:txBody>
          <a:bodyPr wrap="square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2000" b="1" cap="none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1000"/>
              </a:spcAft>
              <a:buFontTx/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1"/>
                </a:solidFill>
                <a:latin typeface="+mj-lt"/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Textplatzhalter 34">
            <a:extLst>
              <a:ext uri="{FF2B5EF4-FFF2-40B4-BE49-F238E27FC236}">
                <a16:creationId xmlns:a16="http://schemas.microsoft.com/office/drawing/2014/main" id="{3BCC9BEB-0A0C-2348-1879-2DCEB505327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323692" y="4545124"/>
            <a:ext cx="2664296" cy="1440160"/>
          </a:xfrm>
        </p:spPr>
        <p:txBody>
          <a:bodyPr wrap="square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2000" b="1" cap="none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1000"/>
              </a:spcAft>
              <a:buFontTx/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1"/>
                </a:solidFill>
                <a:latin typeface="+mj-lt"/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" name="Textplatzhalter 34">
            <a:extLst>
              <a:ext uri="{FF2B5EF4-FFF2-40B4-BE49-F238E27FC236}">
                <a16:creationId xmlns:a16="http://schemas.microsoft.com/office/drawing/2014/main" id="{D91E4D01-2A79-5354-B206-871F973C227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220236" y="2672916"/>
            <a:ext cx="2664296" cy="1440160"/>
          </a:xfrm>
        </p:spPr>
        <p:txBody>
          <a:bodyPr wrap="square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2000" b="1" cap="none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1000"/>
              </a:spcAft>
              <a:buFontTx/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1"/>
                </a:solidFill>
                <a:latin typeface="+mj-lt"/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7" name="Textplatzhalter 34">
            <a:extLst>
              <a:ext uri="{FF2B5EF4-FFF2-40B4-BE49-F238E27FC236}">
                <a16:creationId xmlns:a16="http://schemas.microsoft.com/office/drawing/2014/main" id="{938A3090-9DC3-D953-F2B1-2B4E564843D3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220236" y="4545124"/>
            <a:ext cx="2664296" cy="1440160"/>
          </a:xfrm>
        </p:spPr>
        <p:txBody>
          <a:bodyPr wrap="square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2000" b="1" cap="none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1000"/>
              </a:spcAft>
              <a:buFontTx/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400" b="1">
                <a:solidFill>
                  <a:schemeClr val="tx1"/>
                </a:solidFill>
                <a:latin typeface="+mj-lt"/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Bildplatzhalter 28">
            <a:extLst>
              <a:ext uri="{FF2B5EF4-FFF2-40B4-BE49-F238E27FC236}">
                <a16:creationId xmlns:a16="http://schemas.microsoft.com/office/drawing/2014/main" id="{740492E0-1C98-8714-251E-7A56FDD9417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631504" y="2672916"/>
            <a:ext cx="1440160" cy="1440160"/>
          </a:xfrm>
          <a:custGeom>
            <a:avLst/>
            <a:gdLst>
              <a:gd name="connsiteX0" fmla="*/ 0 w 1930073"/>
              <a:gd name="connsiteY0" fmla="*/ 0 h 1930220"/>
              <a:gd name="connsiteX1" fmla="*/ 1930073 w 1930073"/>
              <a:gd name="connsiteY1" fmla="*/ 0 h 1930220"/>
              <a:gd name="connsiteX2" fmla="*/ 1930073 w 1930073"/>
              <a:gd name="connsiteY2" fmla="*/ 1930220 h 1930220"/>
              <a:gd name="connsiteX3" fmla="*/ 0 w 1930073"/>
              <a:gd name="connsiteY3" fmla="*/ 1930220 h 1930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0073" h="1930220">
                <a:moveTo>
                  <a:pt x="0" y="0"/>
                </a:moveTo>
                <a:lnTo>
                  <a:pt x="1930073" y="0"/>
                </a:lnTo>
                <a:lnTo>
                  <a:pt x="1930073" y="1930220"/>
                </a:lnTo>
                <a:lnTo>
                  <a:pt x="0" y="193022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platzhalter 28">
            <a:extLst>
              <a:ext uri="{FF2B5EF4-FFF2-40B4-BE49-F238E27FC236}">
                <a16:creationId xmlns:a16="http://schemas.microsoft.com/office/drawing/2014/main" id="{B462FA8E-7500-1F1A-BD51-28416F08E8E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631504" y="4545124"/>
            <a:ext cx="1440160" cy="1440160"/>
          </a:xfrm>
          <a:custGeom>
            <a:avLst/>
            <a:gdLst>
              <a:gd name="connsiteX0" fmla="*/ 0 w 1930073"/>
              <a:gd name="connsiteY0" fmla="*/ 0 h 1930220"/>
              <a:gd name="connsiteX1" fmla="*/ 1930073 w 1930073"/>
              <a:gd name="connsiteY1" fmla="*/ 0 h 1930220"/>
              <a:gd name="connsiteX2" fmla="*/ 1930073 w 1930073"/>
              <a:gd name="connsiteY2" fmla="*/ 1930220 h 1930220"/>
              <a:gd name="connsiteX3" fmla="*/ 0 w 1930073"/>
              <a:gd name="connsiteY3" fmla="*/ 1930220 h 1930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0073" h="1930220">
                <a:moveTo>
                  <a:pt x="0" y="0"/>
                </a:moveTo>
                <a:lnTo>
                  <a:pt x="1930073" y="0"/>
                </a:lnTo>
                <a:lnTo>
                  <a:pt x="1930073" y="1930220"/>
                </a:lnTo>
                <a:lnTo>
                  <a:pt x="0" y="193022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28">
            <a:extLst>
              <a:ext uri="{FF2B5EF4-FFF2-40B4-BE49-F238E27FC236}">
                <a16:creationId xmlns:a16="http://schemas.microsoft.com/office/drawing/2014/main" id="{34FBA42B-58D0-78CB-25B5-FCEEEEEED0D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492044" y="2672916"/>
            <a:ext cx="1440160" cy="1440160"/>
          </a:xfrm>
          <a:custGeom>
            <a:avLst/>
            <a:gdLst>
              <a:gd name="connsiteX0" fmla="*/ 0 w 1930073"/>
              <a:gd name="connsiteY0" fmla="*/ 0 h 1930220"/>
              <a:gd name="connsiteX1" fmla="*/ 1930073 w 1930073"/>
              <a:gd name="connsiteY1" fmla="*/ 0 h 1930220"/>
              <a:gd name="connsiteX2" fmla="*/ 1930073 w 1930073"/>
              <a:gd name="connsiteY2" fmla="*/ 1930220 h 1930220"/>
              <a:gd name="connsiteX3" fmla="*/ 0 w 1930073"/>
              <a:gd name="connsiteY3" fmla="*/ 1930220 h 1930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0073" h="1930220">
                <a:moveTo>
                  <a:pt x="0" y="0"/>
                </a:moveTo>
                <a:lnTo>
                  <a:pt x="1930073" y="0"/>
                </a:lnTo>
                <a:lnTo>
                  <a:pt x="1930073" y="1930220"/>
                </a:lnTo>
                <a:lnTo>
                  <a:pt x="0" y="193022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28">
            <a:extLst>
              <a:ext uri="{FF2B5EF4-FFF2-40B4-BE49-F238E27FC236}">
                <a16:creationId xmlns:a16="http://schemas.microsoft.com/office/drawing/2014/main" id="{031EE9F9-82A5-0918-BC1E-10533858AF5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492044" y="4545124"/>
            <a:ext cx="1440160" cy="1440160"/>
          </a:xfrm>
          <a:custGeom>
            <a:avLst/>
            <a:gdLst>
              <a:gd name="connsiteX0" fmla="*/ 0 w 1930073"/>
              <a:gd name="connsiteY0" fmla="*/ 0 h 1930220"/>
              <a:gd name="connsiteX1" fmla="*/ 1930073 w 1930073"/>
              <a:gd name="connsiteY1" fmla="*/ 0 h 1930220"/>
              <a:gd name="connsiteX2" fmla="*/ 1930073 w 1930073"/>
              <a:gd name="connsiteY2" fmla="*/ 1930220 h 1930220"/>
              <a:gd name="connsiteX3" fmla="*/ 0 w 1930073"/>
              <a:gd name="connsiteY3" fmla="*/ 1930220 h 1930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0073" h="1930220">
                <a:moveTo>
                  <a:pt x="0" y="0"/>
                </a:moveTo>
                <a:lnTo>
                  <a:pt x="1930073" y="0"/>
                </a:lnTo>
                <a:lnTo>
                  <a:pt x="1930073" y="1930220"/>
                </a:lnTo>
                <a:lnTo>
                  <a:pt x="0" y="193022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Fußzeilenplatzhalter 5">
            <a:extLst>
              <a:ext uri="{FF2B5EF4-FFF2-40B4-BE49-F238E27FC236}">
                <a16:creationId xmlns:a16="http://schemas.microsoft.com/office/drawing/2014/main" id="{0EE89CB5-0070-680C-8CEC-E32F319C1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5143" y="6943614"/>
            <a:ext cx="9046565" cy="37494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/>
              <a:t>deas Folienmaster 2024</a:t>
            </a:r>
          </a:p>
        </p:txBody>
      </p:sp>
      <p:sp>
        <p:nvSpPr>
          <p:cNvPr id="21" name="Foliennummernplatzhalter 6">
            <a:extLst>
              <a:ext uri="{FF2B5EF4-FFF2-40B4-BE49-F238E27FC236}">
                <a16:creationId xmlns:a16="http://schemas.microsoft.com/office/drawing/2014/main" id="{D2074040-95FA-A1BE-16A1-2AEAFB04F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6528" y="6953436"/>
            <a:ext cx="582559" cy="365125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CB58C3F2-3AE3-417E-B204-81AF71A0158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670F492-4745-329F-8610-3151F40A8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54995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4">
            <a:extLst>
              <a:ext uri="{FF2B5EF4-FFF2-40B4-BE49-F238E27FC236}">
                <a16:creationId xmlns:a16="http://schemas.microsoft.com/office/drawing/2014/main" id="{F932D7BF-1CDA-F741-AE2D-4C3A3BCFF0C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135560" y="1628800"/>
            <a:ext cx="3168352" cy="1332148"/>
          </a:xfrm>
        </p:spPr>
        <p:txBody>
          <a:bodyPr wrap="square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2000" b="1" cap="none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1000"/>
              </a:spcAft>
              <a:buFontTx/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tx1"/>
                </a:solidFill>
                <a:latin typeface="+mj-lt"/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1EC2A55-DE0E-A325-B685-923EFF93F157}"/>
              </a:ext>
            </a:extLst>
          </p:cNvPr>
          <p:cNvSpPr>
            <a:spLocks noChangeAspect="1"/>
          </p:cNvSpPr>
          <p:nvPr userDrawn="1"/>
        </p:nvSpPr>
        <p:spPr>
          <a:xfrm rot="21000000">
            <a:off x="6348143" y="1040686"/>
            <a:ext cx="5399437" cy="53994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Bildplatzhalter 28">
            <a:extLst>
              <a:ext uri="{FF2B5EF4-FFF2-40B4-BE49-F238E27FC236}">
                <a16:creationId xmlns:a16="http://schemas.microsoft.com/office/drawing/2014/main" id="{740492E0-1C98-8714-251E-7A56FDD9417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43371" y="1628800"/>
            <a:ext cx="1332148" cy="1332148"/>
          </a:xfrm>
          <a:custGeom>
            <a:avLst/>
            <a:gdLst>
              <a:gd name="connsiteX0" fmla="*/ 0 w 1930073"/>
              <a:gd name="connsiteY0" fmla="*/ 0 h 1930220"/>
              <a:gd name="connsiteX1" fmla="*/ 1930073 w 1930073"/>
              <a:gd name="connsiteY1" fmla="*/ 0 h 1930220"/>
              <a:gd name="connsiteX2" fmla="*/ 1930073 w 1930073"/>
              <a:gd name="connsiteY2" fmla="*/ 1930220 h 1930220"/>
              <a:gd name="connsiteX3" fmla="*/ 0 w 1930073"/>
              <a:gd name="connsiteY3" fmla="*/ 1930220 h 1930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0073" h="1930220">
                <a:moveTo>
                  <a:pt x="0" y="0"/>
                </a:moveTo>
                <a:lnTo>
                  <a:pt x="1930073" y="0"/>
                </a:lnTo>
                <a:lnTo>
                  <a:pt x="1930073" y="1930220"/>
                </a:lnTo>
                <a:lnTo>
                  <a:pt x="0" y="193022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platzhalter 28">
            <a:extLst>
              <a:ext uri="{FF2B5EF4-FFF2-40B4-BE49-F238E27FC236}">
                <a16:creationId xmlns:a16="http://schemas.microsoft.com/office/drawing/2014/main" id="{B462FA8E-7500-1F1A-BD51-28416F08E8E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43371" y="3356992"/>
            <a:ext cx="1332148" cy="1332148"/>
          </a:xfrm>
          <a:custGeom>
            <a:avLst/>
            <a:gdLst>
              <a:gd name="connsiteX0" fmla="*/ 0 w 1930073"/>
              <a:gd name="connsiteY0" fmla="*/ 0 h 1930220"/>
              <a:gd name="connsiteX1" fmla="*/ 1930073 w 1930073"/>
              <a:gd name="connsiteY1" fmla="*/ 0 h 1930220"/>
              <a:gd name="connsiteX2" fmla="*/ 1930073 w 1930073"/>
              <a:gd name="connsiteY2" fmla="*/ 1930220 h 1930220"/>
              <a:gd name="connsiteX3" fmla="*/ 0 w 1930073"/>
              <a:gd name="connsiteY3" fmla="*/ 1930220 h 1930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0073" h="1930220">
                <a:moveTo>
                  <a:pt x="0" y="0"/>
                </a:moveTo>
                <a:lnTo>
                  <a:pt x="1930073" y="0"/>
                </a:lnTo>
                <a:lnTo>
                  <a:pt x="1930073" y="1930220"/>
                </a:lnTo>
                <a:lnTo>
                  <a:pt x="0" y="193022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28">
            <a:extLst>
              <a:ext uri="{FF2B5EF4-FFF2-40B4-BE49-F238E27FC236}">
                <a16:creationId xmlns:a16="http://schemas.microsoft.com/office/drawing/2014/main" id="{34FBA42B-58D0-78CB-25B5-FCEEEEEED0D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43371" y="5085184"/>
            <a:ext cx="1332148" cy="1332148"/>
          </a:xfrm>
          <a:custGeom>
            <a:avLst/>
            <a:gdLst>
              <a:gd name="connsiteX0" fmla="*/ 0 w 1930073"/>
              <a:gd name="connsiteY0" fmla="*/ 0 h 1930220"/>
              <a:gd name="connsiteX1" fmla="*/ 1930073 w 1930073"/>
              <a:gd name="connsiteY1" fmla="*/ 0 h 1930220"/>
              <a:gd name="connsiteX2" fmla="*/ 1930073 w 1930073"/>
              <a:gd name="connsiteY2" fmla="*/ 1930220 h 1930220"/>
              <a:gd name="connsiteX3" fmla="*/ 0 w 1930073"/>
              <a:gd name="connsiteY3" fmla="*/ 1930220 h 1930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0073" h="1930220">
                <a:moveTo>
                  <a:pt x="0" y="0"/>
                </a:moveTo>
                <a:lnTo>
                  <a:pt x="1930073" y="0"/>
                </a:lnTo>
                <a:lnTo>
                  <a:pt x="1930073" y="1930220"/>
                </a:lnTo>
                <a:lnTo>
                  <a:pt x="0" y="193022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Datumsplatzhalter 4">
            <a:extLst>
              <a:ext uri="{FF2B5EF4-FFF2-40B4-BE49-F238E27FC236}">
                <a16:creationId xmlns:a16="http://schemas.microsoft.com/office/drawing/2014/main" id="{71FDA898-5402-2E6F-6B77-42C0FA7CDE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88286" y="6953436"/>
            <a:ext cx="1284514" cy="365125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E19A17D0-6144-2C41-90BB-333101288125}" type="datetime1">
              <a:rPr lang="de-DE" smtClean="0"/>
              <a:t>03.03.2025</a:t>
            </a:fld>
            <a:endParaRPr lang="de-DE"/>
          </a:p>
        </p:txBody>
      </p:sp>
      <p:sp>
        <p:nvSpPr>
          <p:cNvPr id="20" name="Fußzeilenplatzhalter 5">
            <a:extLst>
              <a:ext uri="{FF2B5EF4-FFF2-40B4-BE49-F238E27FC236}">
                <a16:creationId xmlns:a16="http://schemas.microsoft.com/office/drawing/2014/main" id="{0EE89CB5-0070-680C-8CEC-E32F319C1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5143" y="6943614"/>
            <a:ext cx="9046565" cy="37494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/>
              <a:t>deas Folienmaster 2024</a:t>
            </a:r>
          </a:p>
        </p:txBody>
      </p:sp>
      <p:sp>
        <p:nvSpPr>
          <p:cNvPr id="21" name="Foliennummernplatzhalter 6">
            <a:extLst>
              <a:ext uri="{FF2B5EF4-FFF2-40B4-BE49-F238E27FC236}">
                <a16:creationId xmlns:a16="http://schemas.microsoft.com/office/drawing/2014/main" id="{D2074040-95FA-A1BE-16A1-2AEAFB04F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6528" y="6953436"/>
            <a:ext cx="582559" cy="365125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CB58C3F2-3AE3-417E-B204-81AF71A0158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Bildplatzhalter 22">
            <a:extLst>
              <a:ext uri="{FF2B5EF4-FFF2-40B4-BE49-F238E27FC236}">
                <a16:creationId xmlns:a16="http://schemas.microsoft.com/office/drawing/2014/main" id="{5890FB6D-7527-B23F-63BF-6560556156F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858000" y="0"/>
            <a:ext cx="5334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34">
            <a:extLst>
              <a:ext uri="{FF2B5EF4-FFF2-40B4-BE49-F238E27FC236}">
                <a16:creationId xmlns:a16="http://schemas.microsoft.com/office/drawing/2014/main" id="{E3042226-8C2D-7504-DA6F-17D0A67C616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2135560" y="3356992"/>
            <a:ext cx="3168352" cy="1332148"/>
          </a:xfrm>
        </p:spPr>
        <p:txBody>
          <a:bodyPr wrap="square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2000" b="1" cap="none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1000"/>
              </a:spcAft>
              <a:buFontTx/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tx1"/>
                </a:solidFill>
                <a:latin typeface="+mj-lt"/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3" name="Textplatzhalter 34">
            <a:extLst>
              <a:ext uri="{FF2B5EF4-FFF2-40B4-BE49-F238E27FC236}">
                <a16:creationId xmlns:a16="http://schemas.microsoft.com/office/drawing/2014/main" id="{5DD03AAC-CE2E-4C20-7057-93FE9889EDD8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135560" y="5085184"/>
            <a:ext cx="3168352" cy="1332148"/>
          </a:xfrm>
        </p:spPr>
        <p:txBody>
          <a:bodyPr wrap="square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2000" b="1" cap="none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1000"/>
              </a:spcAft>
              <a:buFontTx/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tx1"/>
                </a:solidFill>
                <a:latin typeface="+mj-lt"/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F4EF73E-FDFC-A538-200A-79136AB59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5652629" cy="936104"/>
          </a:xfrm>
        </p:spPr>
        <p:txBody>
          <a:bodyPr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22995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 0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 2">
            <a:extLst>
              <a:ext uri="{FF2B5EF4-FFF2-40B4-BE49-F238E27FC236}">
                <a16:creationId xmlns:a16="http://schemas.microsoft.com/office/drawing/2014/main" id="{7CD1FA70-510A-DE96-9E8E-F65BF71EC2E7}"/>
              </a:ext>
            </a:extLst>
          </p:cNvPr>
          <p:cNvSpPr>
            <a:spLocks noChangeAspect="1"/>
          </p:cNvSpPr>
          <p:nvPr userDrawn="1"/>
        </p:nvSpPr>
        <p:spPr>
          <a:xfrm rot="21000000">
            <a:off x="-104174" y="3581849"/>
            <a:ext cx="12777118" cy="4301395"/>
          </a:xfrm>
          <a:custGeom>
            <a:avLst/>
            <a:gdLst>
              <a:gd name="connsiteX0" fmla="*/ 12778363 w 12778363"/>
              <a:gd name="connsiteY0" fmla="*/ 0 h 4301814"/>
              <a:gd name="connsiteX1" fmla="*/ 12019838 w 12778363"/>
              <a:gd name="connsiteY1" fmla="*/ 4301814 h 4301814"/>
              <a:gd name="connsiteX2" fmla="*/ 0 w 12778363"/>
              <a:gd name="connsiteY2" fmla="*/ 2182392 h 4301814"/>
              <a:gd name="connsiteX3" fmla="*/ 384814 w 12778363"/>
              <a:gd name="connsiteY3" fmla="*/ 0 h 4301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78363" h="4301814">
                <a:moveTo>
                  <a:pt x="12778363" y="0"/>
                </a:moveTo>
                <a:lnTo>
                  <a:pt x="12019838" y="4301814"/>
                </a:lnTo>
                <a:lnTo>
                  <a:pt x="0" y="2182392"/>
                </a:lnTo>
                <a:lnTo>
                  <a:pt x="38481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3" name="Textplatzhalter 34">
            <a:extLst>
              <a:ext uri="{FF2B5EF4-FFF2-40B4-BE49-F238E27FC236}">
                <a16:creationId xmlns:a16="http://schemas.microsoft.com/office/drawing/2014/main" id="{3475264F-A736-6945-8F6A-BD950457272E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852084" y="3789040"/>
            <a:ext cx="2484276" cy="2448272"/>
          </a:xfrm>
          <a:solidFill>
            <a:schemeClr val="accent4"/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800" b="1" cap="none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1000"/>
              </a:spcAft>
              <a:buFontTx/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  <a:latin typeface="+mj-lt"/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Textplatzhalter 34">
            <a:extLst>
              <a:ext uri="{FF2B5EF4-FFF2-40B4-BE49-F238E27FC236}">
                <a16:creationId xmlns:a16="http://schemas.microsoft.com/office/drawing/2014/main" id="{AA355E02-0D68-9294-FD1D-63A805B9302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9264352" y="1160748"/>
            <a:ext cx="2484276" cy="2448272"/>
          </a:xfrm>
          <a:solidFill>
            <a:schemeClr val="accent1"/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800" b="1" cap="none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1000"/>
              </a:spcAft>
              <a:buFontTx/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  <a:latin typeface="+mj-lt"/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04097D1-1DF0-D046-05C0-0C6661D4C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11305257" cy="50405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Textplatzhalter 34">
            <a:extLst>
              <a:ext uri="{FF2B5EF4-FFF2-40B4-BE49-F238E27FC236}">
                <a16:creationId xmlns:a16="http://schemas.microsoft.com/office/drawing/2014/main" id="{38BA3E9C-731D-9999-45E2-592B6E4862D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503712" y="1160748"/>
            <a:ext cx="2484276" cy="2448272"/>
          </a:xfrm>
          <a:solidFill>
            <a:schemeClr val="accent3"/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800" b="1" cap="none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1000"/>
              </a:spcAft>
              <a:buFontTx/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  <a:latin typeface="+mj-lt"/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Bildplatzhalter 28">
            <a:extLst>
              <a:ext uri="{FF2B5EF4-FFF2-40B4-BE49-F238E27FC236}">
                <a16:creationId xmlns:a16="http://schemas.microsoft.com/office/drawing/2014/main" id="{740492E0-1C98-8714-251E-7A56FDD9417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631504" y="1988840"/>
            <a:ext cx="1620180" cy="1620180"/>
          </a:xfrm>
          <a:custGeom>
            <a:avLst/>
            <a:gdLst>
              <a:gd name="connsiteX0" fmla="*/ 0 w 1930073"/>
              <a:gd name="connsiteY0" fmla="*/ 0 h 1930220"/>
              <a:gd name="connsiteX1" fmla="*/ 1930073 w 1930073"/>
              <a:gd name="connsiteY1" fmla="*/ 0 h 1930220"/>
              <a:gd name="connsiteX2" fmla="*/ 1930073 w 1930073"/>
              <a:gd name="connsiteY2" fmla="*/ 1930220 h 1930220"/>
              <a:gd name="connsiteX3" fmla="*/ 0 w 1930073"/>
              <a:gd name="connsiteY3" fmla="*/ 1930220 h 1930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0073" h="1930220">
                <a:moveTo>
                  <a:pt x="0" y="0"/>
                </a:moveTo>
                <a:lnTo>
                  <a:pt x="1930073" y="0"/>
                </a:lnTo>
                <a:lnTo>
                  <a:pt x="1930073" y="1930220"/>
                </a:lnTo>
                <a:lnTo>
                  <a:pt x="0" y="193022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platzhalter 28">
            <a:extLst>
              <a:ext uri="{FF2B5EF4-FFF2-40B4-BE49-F238E27FC236}">
                <a16:creationId xmlns:a16="http://schemas.microsoft.com/office/drawing/2014/main" id="{B462FA8E-7500-1F1A-BD51-28416F08E8E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443371" y="3789040"/>
            <a:ext cx="1620180" cy="1620180"/>
          </a:xfrm>
          <a:custGeom>
            <a:avLst/>
            <a:gdLst>
              <a:gd name="connsiteX0" fmla="*/ 0 w 1930073"/>
              <a:gd name="connsiteY0" fmla="*/ 0 h 1930220"/>
              <a:gd name="connsiteX1" fmla="*/ 1930073 w 1930073"/>
              <a:gd name="connsiteY1" fmla="*/ 0 h 1930220"/>
              <a:gd name="connsiteX2" fmla="*/ 1930073 w 1930073"/>
              <a:gd name="connsiteY2" fmla="*/ 1930220 h 1930220"/>
              <a:gd name="connsiteX3" fmla="*/ 0 w 1930073"/>
              <a:gd name="connsiteY3" fmla="*/ 1930220 h 1930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0073" h="1930220">
                <a:moveTo>
                  <a:pt x="0" y="0"/>
                </a:moveTo>
                <a:lnTo>
                  <a:pt x="1930073" y="0"/>
                </a:lnTo>
                <a:lnTo>
                  <a:pt x="1930073" y="1930220"/>
                </a:lnTo>
                <a:lnTo>
                  <a:pt x="0" y="193022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28">
            <a:extLst>
              <a:ext uri="{FF2B5EF4-FFF2-40B4-BE49-F238E27FC236}">
                <a16:creationId xmlns:a16="http://schemas.microsoft.com/office/drawing/2014/main" id="{34FBA42B-58D0-78CB-25B5-FCEEEEEED0D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7428148" y="1988840"/>
            <a:ext cx="1620180" cy="1620180"/>
          </a:xfrm>
          <a:custGeom>
            <a:avLst/>
            <a:gdLst>
              <a:gd name="connsiteX0" fmla="*/ 0 w 1930073"/>
              <a:gd name="connsiteY0" fmla="*/ 0 h 1930220"/>
              <a:gd name="connsiteX1" fmla="*/ 1930073 w 1930073"/>
              <a:gd name="connsiteY1" fmla="*/ 0 h 1930220"/>
              <a:gd name="connsiteX2" fmla="*/ 1930073 w 1930073"/>
              <a:gd name="connsiteY2" fmla="*/ 1930220 h 1930220"/>
              <a:gd name="connsiteX3" fmla="*/ 0 w 1930073"/>
              <a:gd name="connsiteY3" fmla="*/ 1930220 h 1930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0073" h="1930220">
                <a:moveTo>
                  <a:pt x="0" y="0"/>
                </a:moveTo>
                <a:lnTo>
                  <a:pt x="1930073" y="0"/>
                </a:lnTo>
                <a:lnTo>
                  <a:pt x="1930073" y="1930220"/>
                </a:lnTo>
                <a:lnTo>
                  <a:pt x="0" y="193022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28">
            <a:extLst>
              <a:ext uri="{FF2B5EF4-FFF2-40B4-BE49-F238E27FC236}">
                <a16:creationId xmlns:a16="http://schemas.microsoft.com/office/drawing/2014/main" id="{031EE9F9-82A5-0918-BC1E-10533858AF5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5015880" y="3789040"/>
            <a:ext cx="1620180" cy="1620180"/>
          </a:xfrm>
          <a:custGeom>
            <a:avLst/>
            <a:gdLst>
              <a:gd name="connsiteX0" fmla="*/ 0 w 1930073"/>
              <a:gd name="connsiteY0" fmla="*/ 0 h 1930220"/>
              <a:gd name="connsiteX1" fmla="*/ 1930073 w 1930073"/>
              <a:gd name="connsiteY1" fmla="*/ 0 h 1930220"/>
              <a:gd name="connsiteX2" fmla="*/ 1930073 w 1930073"/>
              <a:gd name="connsiteY2" fmla="*/ 1930220 h 1930220"/>
              <a:gd name="connsiteX3" fmla="*/ 0 w 1930073"/>
              <a:gd name="connsiteY3" fmla="*/ 1930220 h 1930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0073" h="1930220">
                <a:moveTo>
                  <a:pt x="0" y="0"/>
                </a:moveTo>
                <a:lnTo>
                  <a:pt x="1930073" y="0"/>
                </a:lnTo>
                <a:lnTo>
                  <a:pt x="1930073" y="1930220"/>
                </a:lnTo>
                <a:lnTo>
                  <a:pt x="0" y="193022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Datumsplatzhalter 4">
            <a:extLst>
              <a:ext uri="{FF2B5EF4-FFF2-40B4-BE49-F238E27FC236}">
                <a16:creationId xmlns:a16="http://schemas.microsoft.com/office/drawing/2014/main" id="{71FDA898-5402-2E6F-6B77-42C0FA7CDE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88286" y="6953436"/>
            <a:ext cx="1284514" cy="365125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FAA05558-B7D6-8E4C-A8EB-FEDE49CDF244}" type="datetime1">
              <a:rPr lang="de-DE" smtClean="0"/>
              <a:t>03.03.2025</a:t>
            </a:fld>
            <a:endParaRPr lang="de-DE"/>
          </a:p>
        </p:txBody>
      </p:sp>
      <p:sp>
        <p:nvSpPr>
          <p:cNvPr id="20" name="Fußzeilenplatzhalter 5">
            <a:extLst>
              <a:ext uri="{FF2B5EF4-FFF2-40B4-BE49-F238E27FC236}">
                <a16:creationId xmlns:a16="http://schemas.microsoft.com/office/drawing/2014/main" id="{0EE89CB5-0070-680C-8CEC-E32F319C1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5143" y="6943614"/>
            <a:ext cx="9046565" cy="374947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de-DE"/>
              <a:t>deas Folienmaster 2024</a:t>
            </a:r>
          </a:p>
        </p:txBody>
      </p:sp>
      <p:sp>
        <p:nvSpPr>
          <p:cNvPr id="21" name="Foliennummernplatzhalter 6">
            <a:extLst>
              <a:ext uri="{FF2B5EF4-FFF2-40B4-BE49-F238E27FC236}">
                <a16:creationId xmlns:a16="http://schemas.microsoft.com/office/drawing/2014/main" id="{D2074040-95FA-A1BE-16A1-2AEAFB04F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6528" y="6953436"/>
            <a:ext cx="582559" cy="365125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CB58C3F2-3AE3-417E-B204-81AF71A0158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25C6F7E-F848-BB16-D797-3E7C1F0B2644}"/>
              </a:ext>
            </a:extLst>
          </p:cNvPr>
          <p:cNvSpPr>
            <a:spLocks noChangeAspect="1"/>
          </p:cNvSpPr>
          <p:nvPr userDrawn="1"/>
        </p:nvSpPr>
        <p:spPr>
          <a:xfrm>
            <a:off x="6204012" y="2636912"/>
            <a:ext cx="972108" cy="972108"/>
          </a:xfrm>
          <a:prstGeom prst="rect">
            <a:avLst/>
          </a:prstGeom>
          <a:solidFill>
            <a:schemeClr val="accent1"/>
          </a:solidFill>
          <a:ln w="508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AB89F9E-6EF3-3161-3F2F-911E47C1BE97}"/>
              </a:ext>
            </a:extLst>
          </p:cNvPr>
          <p:cNvSpPr>
            <a:spLocks noChangeAspect="1"/>
          </p:cNvSpPr>
          <p:nvPr userDrawn="1"/>
        </p:nvSpPr>
        <p:spPr>
          <a:xfrm>
            <a:off x="5015880" y="5625244"/>
            <a:ext cx="972108" cy="972108"/>
          </a:xfrm>
          <a:prstGeom prst="rect">
            <a:avLst/>
          </a:prstGeom>
          <a:solidFill>
            <a:schemeClr val="tx2"/>
          </a:solidFill>
          <a:ln w="508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E6B6B69-6BFA-82F4-0F06-0E459716FF7F}"/>
              </a:ext>
            </a:extLst>
          </p:cNvPr>
          <p:cNvSpPr>
            <a:spLocks noChangeAspect="1"/>
          </p:cNvSpPr>
          <p:nvPr userDrawn="1"/>
        </p:nvSpPr>
        <p:spPr>
          <a:xfrm>
            <a:off x="9588388" y="3789040"/>
            <a:ext cx="972108" cy="972108"/>
          </a:xfrm>
          <a:prstGeom prst="rect">
            <a:avLst/>
          </a:prstGeom>
          <a:solidFill>
            <a:schemeClr val="accent3"/>
          </a:solidFill>
          <a:ln w="508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9" name="Textplatzhalter 34">
            <a:extLst>
              <a:ext uri="{FF2B5EF4-FFF2-40B4-BE49-F238E27FC236}">
                <a16:creationId xmlns:a16="http://schemas.microsoft.com/office/drawing/2014/main" id="{41F6FACA-2C41-0C4C-07CB-C7D33524AD4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279576" y="3789040"/>
            <a:ext cx="2484276" cy="2448272"/>
          </a:xfrm>
          <a:solidFill>
            <a:schemeClr val="accent1"/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800" b="1" cap="none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Bef>
                <a:spcPts val="0"/>
              </a:spcBef>
              <a:spcAft>
                <a:spcPts val="1000"/>
              </a:spcAft>
              <a:buFontTx/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  <a:latin typeface="+mj-lt"/>
              </a:defRPr>
            </a:lvl3pPr>
            <a:lvl4pPr algn="l">
              <a:defRPr sz="1400">
                <a:solidFill>
                  <a:schemeClr val="tx1"/>
                </a:solidFill>
              </a:defRPr>
            </a:lvl4pPr>
            <a:lvl5pPr algn="l"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4704868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len Dank-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AD5144BF-2BC7-7AF7-3248-CA8F69DA989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3386816" cy="5347503"/>
          </a:xfrm>
          <a:custGeom>
            <a:avLst/>
            <a:gdLst>
              <a:gd name="connsiteX0" fmla="*/ 8976320 w 13386816"/>
              <a:gd name="connsiteY0" fmla="*/ 0 h 5347503"/>
              <a:gd name="connsiteX1" fmla="*/ 10308628 w 13386816"/>
              <a:gd name="connsiteY1" fmla="*/ 0 h 5347503"/>
              <a:gd name="connsiteX2" fmla="*/ 10308628 w 13386816"/>
              <a:gd name="connsiteY2" fmla="*/ 1440000 h 5347503"/>
              <a:gd name="connsiteX3" fmla="*/ 11748628 w 13386816"/>
              <a:gd name="connsiteY3" fmla="*/ 1440000 h 5347503"/>
              <a:gd name="connsiteX4" fmla="*/ 11748628 w 13386816"/>
              <a:gd name="connsiteY4" fmla="*/ 0 h 5347503"/>
              <a:gd name="connsiteX5" fmla="*/ 12000656 w 13386816"/>
              <a:gd name="connsiteY5" fmla="*/ 0 h 5347503"/>
              <a:gd name="connsiteX6" fmla="*/ 12000656 w 13386816"/>
              <a:gd name="connsiteY6" fmla="*/ 1 h 5347503"/>
              <a:gd name="connsiteX7" fmla="*/ 12192001 w 13386816"/>
              <a:gd name="connsiteY7" fmla="*/ 1 h 5347503"/>
              <a:gd name="connsiteX8" fmla="*/ 12192001 w 13386816"/>
              <a:gd name="connsiteY8" fmla="*/ 253935 h 5347503"/>
              <a:gd name="connsiteX9" fmla="*/ 12192002 w 13386816"/>
              <a:gd name="connsiteY9" fmla="*/ 253935 h 5347503"/>
              <a:gd name="connsiteX10" fmla="*/ 12192002 w 13386816"/>
              <a:gd name="connsiteY10" fmla="*/ 437957 h 5347503"/>
              <a:gd name="connsiteX11" fmla="*/ 13386816 w 13386816"/>
              <a:gd name="connsiteY11" fmla="*/ 437957 h 5347503"/>
              <a:gd name="connsiteX12" fmla="*/ 13386816 w 13386816"/>
              <a:gd name="connsiteY12" fmla="*/ 1625407 h 5347503"/>
              <a:gd name="connsiteX13" fmla="*/ 12192002 w 13386816"/>
              <a:gd name="connsiteY13" fmla="*/ 1625407 h 5347503"/>
              <a:gd name="connsiteX14" fmla="*/ 12192002 w 13386816"/>
              <a:gd name="connsiteY14" fmla="*/ 5347503 h 5347503"/>
              <a:gd name="connsiteX15" fmla="*/ 11854873 w 13386816"/>
              <a:gd name="connsiteY15" fmla="*/ 5347503 h 5347503"/>
              <a:gd name="connsiteX16" fmla="*/ 11685949 w 13386816"/>
              <a:gd name="connsiteY16" fmla="*/ 4391649 h 5347503"/>
              <a:gd name="connsiteX17" fmla="*/ 6277244 w 13386816"/>
              <a:gd name="connsiteY17" fmla="*/ 5347503 h 5347503"/>
              <a:gd name="connsiteX18" fmla="*/ 1 w 13386816"/>
              <a:gd name="connsiteY18" fmla="*/ 5347503 h 5347503"/>
              <a:gd name="connsiteX19" fmla="*/ 1 w 13386816"/>
              <a:gd name="connsiteY19" fmla="*/ 2004292 h 5347503"/>
              <a:gd name="connsiteX20" fmla="*/ 0 w 13386816"/>
              <a:gd name="connsiteY20" fmla="*/ 2004292 h 5347503"/>
              <a:gd name="connsiteX21" fmla="*/ 0 w 13386816"/>
              <a:gd name="connsiteY21" fmla="*/ 1 h 5347503"/>
              <a:gd name="connsiteX22" fmla="*/ 8976320 w 13386816"/>
              <a:gd name="connsiteY22" fmla="*/ 1 h 5347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3386816" h="5347503">
                <a:moveTo>
                  <a:pt x="8976320" y="0"/>
                </a:moveTo>
                <a:lnTo>
                  <a:pt x="10308628" y="0"/>
                </a:lnTo>
                <a:lnTo>
                  <a:pt x="10308628" y="1440000"/>
                </a:lnTo>
                <a:lnTo>
                  <a:pt x="11748628" y="1440000"/>
                </a:lnTo>
                <a:lnTo>
                  <a:pt x="11748628" y="0"/>
                </a:lnTo>
                <a:lnTo>
                  <a:pt x="12000656" y="0"/>
                </a:lnTo>
                <a:lnTo>
                  <a:pt x="12000656" y="1"/>
                </a:lnTo>
                <a:lnTo>
                  <a:pt x="12192001" y="1"/>
                </a:lnTo>
                <a:lnTo>
                  <a:pt x="12192001" y="253935"/>
                </a:lnTo>
                <a:lnTo>
                  <a:pt x="12192002" y="253935"/>
                </a:lnTo>
                <a:lnTo>
                  <a:pt x="12192002" y="437957"/>
                </a:lnTo>
                <a:lnTo>
                  <a:pt x="13386816" y="437957"/>
                </a:lnTo>
                <a:lnTo>
                  <a:pt x="13386816" y="1625407"/>
                </a:lnTo>
                <a:lnTo>
                  <a:pt x="12192002" y="1625407"/>
                </a:lnTo>
                <a:lnTo>
                  <a:pt x="12192002" y="5347503"/>
                </a:lnTo>
                <a:lnTo>
                  <a:pt x="11854873" y="5347503"/>
                </a:lnTo>
                <a:lnTo>
                  <a:pt x="11685949" y="4391649"/>
                </a:lnTo>
                <a:lnTo>
                  <a:pt x="6277244" y="5347503"/>
                </a:lnTo>
                <a:lnTo>
                  <a:pt x="1" y="5347503"/>
                </a:lnTo>
                <a:lnTo>
                  <a:pt x="1" y="2004292"/>
                </a:lnTo>
                <a:lnTo>
                  <a:pt x="0" y="2004292"/>
                </a:lnTo>
                <a:lnTo>
                  <a:pt x="0" y="1"/>
                </a:lnTo>
                <a:lnTo>
                  <a:pt x="8976320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15DAF180-DF29-2117-26E8-1B40ADCC75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92002" cy="5347503"/>
          </a:xfrm>
          <a:custGeom>
            <a:avLst/>
            <a:gdLst>
              <a:gd name="connsiteX0" fmla="*/ 8256240 w 12192002"/>
              <a:gd name="connsiteY0" fmla="*/ 0 h 5347503"/>
              <a:gd name="connsiteX1" fmla="*/ 10308628 w 12192002"/>
              <a:gd name="connsiteY1" fmla="*/ 0 h 5347503"/>
              <a:gd name="connsiteX2" fmla="*/ 10308628 w 12192002"/>
              <a:gd name="connsiteY2" fmla="*/ 1440000 h 5347503"/>
              <a:gd name="connsiteX3" fmla="*/ 11748628 w 12192002"/>
              <a:gd name="connsiteY3" fmla="*/ 1440000 h 5347503"/>
              <a:gd name="connsiteX4" fmla="*/ 11748628 w 12192002"/>
              <a:gd name="connsiteY4" fmla="*/ 0 h 5347503"/>
              <a:gd name="connsiteX5" fmla="*/ 11928648 w 12192002"/>
              <a:gd name="connsiteY5" fmla="*/ 0 h 5347503"/>
              <a:gd name="connsiteX6" fmla="*/ 11928648 w 12192002"/>
              <a:gd name="connsiteY6" fmla="*/ 1 h 5347503"/>
              <a:gd name="connsiteX7" fmla="*/ 12192001 w 12192002"/>
              <a:gd name="connsiteY7" fmla="*/ 1 h 5347503"/>
              <a:gd name="connsiteX8" fmla="*/ 12192001 w 12192002"/>
              <a:gd name="connsiteY8" fmla="*/ 253935 h 5347503"/>
              <a:gd name="connsiteX9" fmla="*/ 12192002 w 12192002"/>
              <a:gd name="connsiteY9" fmla="*/ 253935 h 5347503"/>
              <a:gd name="connsiteX10" fmla="*/ 12192002 w 12192002"/>
              <a:gd name="connsiteY10" fmla="*/ 5347503 h 5347503"/>
              <a:gd name="connsiteX11" fmla="*/ 11854873 w 12192002"/>
              <a:gd name="connsiteY11" fmla="*/ 5347503 h 5347503"/>
              <a:gd name="connsiteX12" fmla="*/ 11685949 w 12192002"/>
              <a:gd name="connsiteY12" fmla="*/ 4391649 h 5347503"/>
              <a:gd name="connsiteX13" fmla="*/ 6277242 w 12192002"/>
              <a:gd name="connsiteY13" fmla="*/ 5347503 h 5347503"/>
              <a:gd name="connsiteX14" fmla="*/ 1 w 12192002"/>
              <a:gd name="connsiteY14" fmla="*/ 5347503 h 5347503"/>
              <a:gd name="connsiteX15" fmla="*/ 1 w 12192002"/>
              <a:gd name="connsiteY15" fmla="*/ 2004292 h 5347503"/>
              <a:gd name="connsiteX16" fmla="*/ 0 w 12192002"/>
              <a:gd name="connsiteY16" fmla="*/ 2004292 h 5347503"/>
              <a:gd name="connsiteX17" fmla="*/ 0 w 12192002"/>
              <a:gd name="connsiteY17" fmla="*/ 1 h 5347503"/>
              <a:gd name="connsiteX18" fmla="*/ 8256240 w 12192002"/>
              <a:gd name="connsiteY18" fmla="*/ 1 h 5347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2" h="5347503">
                <a:moveTo>
                  <a:pt x="8256240" y="0"/>
                </a:moveTo>
                <a:lnTo>
                  <a:pt x="10308628" y="0"/>
                </a:lnTo>
                <a:lnTo>
                  <a:pt x="10308628" y="1440000"/>
                </a:lnTo>
                <a:lnTo>
                  <a:pt x="11748628" y="1440000"/>
                </a:lnTo>
                <a:lnTo>
                  <a:pt x="11748628" y="0"/>
                </a:lnTo>
                <a:lnTo>
                  <a:pt x="11928648" y="0"/>
                </a:lnTo>
                <a:lnTo>
                  <a:pt x="11928648" y="1"/>
                </a:lnTo>
                <a:lnTo>
                  <a:pt x="12192001" y="1"/>
                </a:lnTo>
                <a:lnTo>
                  <a:pt x="12192001" y="253935"/>
                </a:lnTo>
                <a:lnTo>
                  <a:pt x="12192002" y="253935"/>
                </a:lnTo>
                <a:lnTo>
                  <a:pt x="12192002" y="5347503"/>
                </a:lnTo>
                <a:lnTo>
                  <a:pt x="11854873" y="5347503"/>
                </a:lnTo>
                <a:lnTo>
                  <a:pt x="11685949" y="4391649"/>
                </a:lnTo>
                <a:lnTo>
                  <a:pt x="6277242" y="5347503"/>
                </a:lnTo>
                <a:lnTo>
                  <a:pt x="1" y="5347503"/>
                </a:lnTo>
                <a:lnTo>
                  <a:pt x="1" y="2004292"/>
                </a:lnTo>
                <a:lnTo>
                  <a:pt x="0" y="2004292"/>
                </a:lnTo>
                <a:lnTo>
                  <a:pt x="0" y="1"/>
                </a:lnTo>
                <a:lnTo>
                  <a:pt x="8256240" y="1"/>
                </a:lnTo>
                <a:close/>
              </a:path>
            </a:pathLst>
          </a:custGeom>
          <a:gradFill>
            <a:gsLst>
              <a:gs pos="0">
                <a:schemeClr val="accent6">
                  <a:alpha val="44254"/>
                  <a:lumMod val="0"/>
                </a:schemeClr>
              </a:gs>
              <a:gs pos="76000">
                <a:schemeClr val="accent6">
                  <a:alpha val="30475"/>
                  <a:lumMod val="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de-DE" smtClean="0">
                <a:solidFill>
                  <a:schemeClr val="lt1"/>
                </a:solidFill>
              </a:defRPr>
            </a:lvl1pPr>
            <a:lvl2pPr>
              <a:defRPr lang="de-DE" sz="1800" smtClean="0">
                <a:solidFill>
                  <a:schemeClr val="lt1"/>
                </a:solidFill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pPr lvl="0" algn="ctr"/>
            <a:r>
              <a:rPr lang="de-DE" dirty="0"/>
              <a:t> 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0B1F2C2-9440-AC18-11B2-A008E33C1FAA}"/>
              </a:ext>
            </a:extLst>
          </p:cNvPr>
          <p:cNvSpPr/>
          <p:nvPr userDrawn="1"/>
        </p:nvSpPr>
        <p:spPr>
          <a:xfrm>
            <a:off x="-1" y="5347503"/>
            <a:ext cx="12192001" cy="151049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FB3D1DE-7F02-3496-EE5A-F3B8ABB459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86861" y="6985867"/>
            <a:ext cx="1284514" cy="365125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fld id="{BE16422D-BF6B-FD4F-A0CF-B4572AA4B720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F8F1AD3-D787-A06B-D930-A04BB11224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5143" y="6990778"/>
            <a:ext cx="9046565" cy="374947"/>
          </a:xfrm>
        </p:spPr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CF22E7D-9981-664B-376A-C849A72FD2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6528" y="6990778"/>
            <a:ext cx="582559" cy="365125"/>
          </a:xfrm>
        </p:spPr>
        <p:txBody>
          <a:bodyPr/>
          <a:lstStyle/>
          <a:p>
            <a:fld id="{C7DC5FB3-A06A-E744-8386-10E90D7D3EDB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4" name="Titelplatzhalter 1">
            <a:extLst>
              <a:ext uri="{FF2B5EF4-FFF2-40B4-BE49-F238E27FC236}">
                <a16:creationId xmlns:a16="http://schemas.microsoft.com/office/drawing/2014/main" id="{2939135E-0E63-822F-C79B-318F1739F6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692696"/>
            <a:ext cx="10261599" cy="273630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800"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r>
              <a:rPr lang="de-DE" dirty="0"/>
              <a:t>Vielen</a:t>
            </a:r>
            <a:br>
              <a:rPr lang="de-DE" dirty="0"/>
            </a:br>
            <a:r>
              <a:rPr lang="de-DE" dirty="0"/>
              <a:t>Dank!</a:t>
            </a:r>
          </a:p>
        </p:txBody>
      </p:sp>
      <p:pic>
        <p:nvPicPr>
          <p:cNvPr id="19" name="Grafik 18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418FAC7C-BF6C-800A-E65B-2FF6C24396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007" y="5748988"/>
            <a:ext cx="1246910" cy="779319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CC870BCC-C766-CD34-BC3E-925EFB6194C8}"/>
              </a:ext>
            </a:extLst>
          </p:cNvPr>
          <p:cNvSpPr txBox="1"/>
          <p:nvPr userDrawn="1"/>
        </p:nvSpPr>
        <p:spPr bwMode="gray">
          <a:xfrm>
            <a:off x="7899421" y="5912430"/>
            <a:ext cx="2963917" cy="45243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4" indent="0" algn="r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Weitere Informationen unter</a:t>
            </a:r>
          </a:p>
          <a:p>
            <a:pPr marL="0" marR="0" lvl="4" indent="0" algn="r" defTabSz="914400" rtl="0" eaLnBrk="1" fontAlgn="auto" latinLnBrk="0" hangingPunct="1">
              <a:lnSpc>
                <a:spcPct val="120000"/>
              </a:lnSpc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400" b="1" u="none" dirty="0">
                <a:solidFill>
                  <a:schemeClr val="bg1"/>
                </a:solidFill>
                <a:latin typeface="+mj-lt"/>
              </a:rPr>
              <a:t>www.deas.de</a:t>
            </a:r>
            <a:endParaRPr kumimoji="0" lang="de-DE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4D55F8F-D57E-883C-8F66-B087070435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2800" y="384235"/>
            <a:ext cx="880619" cy="671531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C0DDDFD7-1B16-BD53-0872-B6A730B73EF6}"/>
              </a:ext>
            </a:extLst>
          </p:cNvPr>
          <p:cNvSpPr/>
          <p:nvPr userDrawn="1"/>
        </p:nvSpPr>
        <p:spPr>
          <a:xfrm>
            <a:off x="11035727" y="5748987"/>
            <a:ext cx="792000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Aft>
                <a:spcPts val="800"/>
              </a:spcAft>
            </a:pPr>
            <a:endParaRPr lang="de-DE" sz="1600" dirty="0">
              <a:solidFill>
                <a:schemeClr val="bg1"/>
              </a:solidFill>
              <a:ea typeface="Arial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C4E792A-CC3F-7225-F3E4-3DF474FAEB4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108921" y="5814646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8407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 mit Bild 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35500646-F3B4-A178-F0E6-5DC283E98032}"/>
              </a:ext>
            </a:extLst>
          </p:cNvPr>
          <p:cNvGrpSpPr/>
          <p:nvPr userDrawn="1"/>
        </p:nvGrpSpPr>
        <p:grpSpPr>
          <a:xfrm>
            <a:off x="10271996" y="-9910"/>
            <a:ext cx="1513264" cy="1486542"/>
            <a:chOff x="10271996" y="-9910"/>
            <a:chExt cx="1513264" cy="1486542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E8C39A47-F217-EE9F-578D-9E1A7CE99147}"/>
                </a:ext>
              </a:extLst>
            </p:cNvPr>
            <p:cNvSpPr/>
            <p:nvPr userDrawn="1"/>
          </p:nvSpPr>
          <p:spPr>
            <a:xfrm>
              <a:off x="10271996" y="-9910"/>
              <a:ext cx="1513264" cy="14865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1734619E-C345-28C4-8EA3-446F532ABA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02800" y="384235"/>
              <a:ext cx="880619" cy="671531"/>
            </a:xfrm>
            <a:prstGeom prst="rect">
              <a:avLst/>
            </a:prstGeom>
          </p:spPr>
        </p:pic>
      </p:grpSp>
      <p:sp>
        <p:nvSpPr>
          <p:cNvPr id="11" name="Rechteck 10">
            <a:extLst>
              <a:ext uri="{FF2B5EF4-FFF2-40B4-BE49-F238E27FC236}">
                <a16:creationId xmlns:a16="http://schemas.microsoft.com/office/drawing/2014/main" id="{1B43C068-3632-BE9B-E595-76F20ABD2977}"/>
              </a:ext>
            </a:extLst>
          </p:cNvPr>
          <p:cNvSpPr>
            <a:spLocks noChangeAspect="1"/>
          </p:cNvSpPr>
          <p:nvPr userDrawn="1"/>
        </p:nvSpPr>
        <p:spPr>
          <a:xfrm rot="21000000">
            <a:off x="3715629" y="1040686"/>
            <a:ext cx="5399437" cy="53994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7391878-05C0-4994-C910-E842E5FAD4E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88286" y="6958628"/>
            <a:ext cx="1284514" cy="365125"/>
          </a:xfrm>
        </p:spPr>
        <p:txBody>
          <a:bodyPr wrap="square">
            <a:noAutofit/>
          </a:bodyPr>
          <a:lstStyle/>
          <a:p>
            <a:fld id="{947F2D3F-1A5F-6E4D-8CD6-7F29AF94CEDF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CFCDB07-2352-B2BB-A8D0-79386FF613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5143" y="6948806"/>
            <a:ext cx="9046565" cy="374947"/>
          </a:xfrm>
        </p:spPr>
        <p:txBody>
          <a:bodyPr wrap="square">
            <a:noAutofit/>
          </a:bodyPr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2BBBBB5-45AD-CB43-1EBD-BF3E4E2BE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6528" y="6958628"/>
            <a:ext cx="582559" cy="365125"/>
          </a:xfrm>
        </p:spPr>
        <p:txBody>
          <a:bodyPr wrap="square">
            <a:noAutofit/>
          </a:bodyPr>
          <a:lstStyle/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" name="Grafik 1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8F86A4B6-7DFE-675D-1EE4-10ACBD2A0A9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14" y="452304"/>
            <a:ext cx="1379369" cy="86400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46C790EE-24AE-1114-299C-2863A166492E}"/>
              </a:ext>
            </a:extLst>
          </p:cNvPr>
          <p:cNvSpPr txBox="1"/>
          <p:nvPr userDrawn="1"/>
        </p:nvSpPr>
        <p:spPr>
          <a:xfrm>
            <a:off x="1551543" y="5711578"/>
            <a:ext cx="2096185" cy="45243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4" indent="0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Weitere Informationen unter</a:t>
            </a:r>
          </a:p>
          <a:p>
            <a:pPr marL="0" marR="0" lvl="4" indent="0" defTabSz="914400" rtl="0" eaLnBrk="1" fontAlgn="auto" latinLnBrk="0" hangingPunct="1">
              <a:lnSpc>
                <a:spcPct val="110000"/>
              </a:lnSpc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400" b="1" u="none" dirty="0">
                <a:solidFill>
                  <a:schemeClr val="bg1"/>
                </a:solidFill>
                <a:latin typeface="+mj-lt"/>
              </a:rPr>
              <a:t>www.deas.de</a:t>
            </a:r>
            <a:endParaRPr kumimoji="0" lang="de-DE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5655A5F4-D6CA-CDFA-A5E8-348DFA9CAE2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215384" y="0"/>
            <a:ext cx="7976616" cy="6858000"/>
          </a:xfrm>
          <a:custGeom>
            <a:avLst/>
            <a:gdLst>
              <a:gd name="connsiteX0" fmla="*/ 0 w 7976616"/>
              <a:gd name="connsiteY0" fmla="*/ 0 h 6858000"/>
              <a:gd name="connsiteX1" fmla="*/ 5409008 w 7976616"/>
              <a:gd name="connsiteY1" fmla="*/ 0 h 6858000"/>
              <a:gd name="connsiteX2" fmla="*/ 6093244 w 7976616"/>
              <a:gd name="connsiteY2" fmla="*/ 0 h 6858000"/>
              <a:gd name="connsiteX3" fmla="*/ 6093244 w 7976616"/>
              <a:gd name="connsiteY3" fmla="*/ 1440000 h 6858000"/>
              <a:gd name="connsiteX4" fmla="*/ 7533244 w 7976616"/>
              <a:gd name="connsiteY4" fmla="*/ 1440000 h 6858000"/>
              <a:gd name="connsiteX5" fmla="*/ 7533244 w 7976616"/>
              <a:gd name="connsiteY5" fmla="*/ 0 h 6858000"/>
              <a:gd name="connsiteX6" fmla="*/ 7533703 w 7976616"/>
              <a:gd name="connsiteY6" fmla="*/ 0 h 6858000"/>
              <a:gd name="connsiteX7" fmla="*/ 7785272 w 7976616"/>
              <a:gd name="connsiteY7" fmla="*/ 0 h 6858000"/>
              <a:gd name="connsiteX8" fmla="*/ 7976616 w 7976616"/>
              <a:gd name="connsiteY8" fmla="*/ 0 h 6858000"/>
              <a:gd name="connsiteX9" fmla="*/ 7976616 w 7976616"/>
              <a:gd name="connsiteY9" fmla="*/ 6858000 h 6858000"/>
              <a:gd name="connsiteX10" fmla="*/ 0 w 7976616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976616" h="6858000">
                <a:moveTo>
                  <a:pt x="0" y="0"/>
                </a:moveTo>
                <a:lnTo>
                  <a:pt x="5409008" y="0"/>
                </a:lnTo>
                <a:lnTo>
                  <a:pt x="6093244" y="0"/>
                </a:lnTo>
                <a:lnTo>
                  <a:pt x="6093244" y="1440000"/>
                </a:lnTo>
                <a:lnTo>
                  <a:pt x="7533244" y="1440000"/>
                </a:lnTo>
                <a:lnTo>
                  <a:pt x="7533244" y="0"/>
                </a:lnTo>
                <a:lnTo>
                  <a:pt x="7533703" y="0"/>
                </a:lnTo>
                <a:lnTo>
                  <a:pt x="7785272" y="0"/>
                </a:lnTo>
                <a:lnTo>
                  <a:pt x="7976616" y="0"/>
                </a:lnTo>
                <a:lnTo>
                  <a:pt x="797661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0B5660F-D02F-B95C-CF3F-D11F4F5D786A}"/>
              </a:ext>
            </a:extLst>
          </p:cNvPr>
          <p:cNvSpPr/>
          <p:nvPr userDrawn="1"/>
        </p:nvSpPr>
        <p:spPr>
          <a:xfrm>
            <a:off x="575590" y="5556984"/>
            <a:ext cx="792000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Aft>
                <a:spcPts val="800"/>
              </a:spcAft>
            </a:pPr>
            <a:endParaRPr lang="de-DE" sz="1600" dirty="0">
              <a:solidFill>
                <a:schemeClr val="bg1"/>
              </a:solidFill>
              <a:ea typeface="Arial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D29ED4C-6B3B-F7C7-D650-094FDC4813D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7590" y="5628984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8151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F754A5B-341F-527D-49CD-41B2F61D24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1714284"/>
            <a:ext cx="671512" cy="709612"/>
          </a:xfrm>
        </p:spPr>
        <p:txBody>
          <a:bodyPr wrap="square">
            <a:noAutofit/>
          </a:bodyPr>
          <a:lstStyle>
            <a:lvl1pPr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866ED2C-7725-C05F-E48D-9288F65351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47893" y="1671167"/>
            <a:ext cx="4565511" cy="703262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400" b="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name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5D25EA70-B700-18CB-0E1C-4F4DF3E255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3" y="2542391"/>
            <a:ext cx="671512" cy="709612"/>
          </a:xfrm>
        </p:spPr>
        <p:txBody>
          <a:bodyPr wrap="square">
            <a:noAutofit/>
          </a:bodyPr>
          <a:lstStyle>
            <a:lvl1pPr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ADF02566-CCFC-D757-9854-1CE91ECE59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47893" y="2500789"/>
            <a:ext cx="4565511" cy="703262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400" b="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nam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7EB8DE39-8AA1-940D-BFBC-C4F1878DF9E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913" y="3370498"/>
            <a:ext cx="671512" cy="709612"/>
          </a:xfrm>
        </p:spPr>
        <p:txBody>
          <a:bodyPr wrap="square">
            <a:noAutofit/>
          </a:bodyPr>
          <a:lstStyle>
            <a:lvl1pPr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FF249F2B-7808-A63D-8C67-7360FBABC8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47893" y="3324354"/>
            <a:ext cx="4565511" cy="703262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400" b="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name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C6ED9DE2-AA70-0FB7-7C8C-D90EBA2CA0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913" y="4198605"/>
            <a:ext cx="671512" cy="709612"/>
          </a:xfrm>
        </p:spPr>
        <p:txBody>
          <a:bodyPr wrap="square">
            <a:noAutofit/>
          </a:bodyPr>
          <a:lstStyle>
            <a:lvl1pPr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0B3B069E-DCE7-BB6D-7AA8-73B37F65D1E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47893" y="4160031"/>
            <a:ext cx="4565511" cy="703262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400" b="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name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1B2D851E-B59A-737C-12B7-0FD85E0F86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2913" y="5026713"/>
            <a:ext cx="671512" cy="709612"/>
          </a:xfrm>
        </p:spPr>
        <p:txBody>
          <a:bodyPr wrap="square">
            <a:noAutofit/>
          </a:bodyPr>
          <a:lstStyle>
            <a:lvl1pPr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5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53B6CB21-E32F-2DC5-3342-9280EA7E86D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47893" y="4983596"/>
            <a:ext cx="4565511" cy="703262"/>
          </a:xfrm>
        </p:spPr>
        <p:txBody>
          <a:bodyPr wrap="square" anchor="b">
            <a:no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400" b="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name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C50A8D0F-5CF9-CB98-EFB5-6E56CBAF20C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096001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1208381 w 6096000"/>
              <a:gd name="connsiteY3" fmla="*/ 6858000 h 6858000"/>
              <a:gd name="connsiteX4" fmla="*/ 0 w 6096000"/>
              <a:gd name="connsiteY4" fmla="*/ 493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1208381" y="6858000"/>
                </a:lnTo>
                <a:lnTo>
                  <a:pt x="0" y="493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E9220A73-CC3B-D883-5EB8-B81A96B002A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9B5A8C8A-EBEB-E049-8AFF-3F6376DCC3A2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43F5C9CB-7C56-BAAA-6F9F-493CDD8889D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BDB83657-B6A6-EF48-1682-C11E81EA8E6B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Titel 21">
            <a:extLst>
              <a:ext uri="{FF2B5EF4-FFF2-40B4-BE49-F238E27FC236}">
                <a16:creationId xmlns:a16="http://schemas.microsoft.com/office/drawing/2014/main" id="{7B6EE727-658A-166C-FB3A-442A9A1D04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371" y="404664"/>
            <a:ext cx="5364597" cy="93677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72878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 mit Bild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1B43C068-3632-BE9B-E595-76F20ABD2977}"/>
              </a:ext>
            </a:extLst>
          </p:cNvPr>
          <p:cNvSpPr>
            <a:spLocks noChangeAspect="1"/>
          </p:cNvSpPr>
          <p:nvPr userDrawn="1"/>
        </p:nvSpPr>
        <p:spPr>
          <a:xfrm rot="21000000">
            <a:off x="3715629" y="1040686"/>
            <a:ext cx="5399437" cy="53994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7391878-05C0-4994-C910-E842E5FAD4E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88286" y="6958628"/>
            <a:ext cx="1284514" cy="365125"/>
          </a:xfrm>
        </p:spPr>
        <p:txBody>
          <a:bodyPr wrap="square">
            <a:noAutofit/>
          </a:bodyPr>
          <a:lstStyle/>
          <a:p>
            <a:fld id="{E47182A6-8DE1-A947-9CA8-BE6E49C7CB7A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CFCDB07-2352-B2BB-A8D0-79386FF613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5143" y="6948806"/>
            <a:ext cx="9046565" cy="374947"/>
          </a:xfrm>
        </p:spPr>
        <p:txBody>
          <a:bodyPr wrap="square">
            <a:noAutofit/>
          </a:bodyPr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2BBBBB5-45AD-CB43-1EBD-BF3E4E2BE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6528" y="6958628"/>
            <a:ext cx="582559" cy="365125"/>
          </a:xfrm>
        </p:spPr>
        <p:txBody>
          <a:bodyPr wrap="square">
            <a:noAutofit/>
          </a:bodyPr>
          <a:lstStyle/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9F1BA6A-5871-5AAA-161B-D234416894C0}"/>
              </a:ext>
            </a:extLst>
          </p:cNvPr>
          <p:cNvSpPr txBox="1"/>
          <p:nvPr userDrawn="1"/>
        </p:nvSpPr>
        <p:spPr>
          <a:xfrm>
            <a:off x="1551543" y="5711578"/>
            <a:ext cx="2261506" cy="45243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4" indent="0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Weitere Informationen unter</a:t>
            </a:r>
          </a:p>
          <a:p>
            <a:pPr marL="0" marR="0" lvl="4" indent="0" defTabSz="914400" rtl="0" eaLnBrk="1" fontAlgn="auto" latinLnBrk="0" hangingPunct="1">
              <a:lnSpc>
                <a:spcPct val="110000"/>
              </a:lnSpc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400" b="1" u="none" dirty="0">
                <a:solidFill>
                  <a:schemeClr val="tx1"/>
                </a:solidFill>
                <a:latin typeface="+mj-lt"/>
              </a:rPr>
              <a:t>www.deas.de</a:t>
            </a:r>
            <a:endParaRPr kumimoji="0" lang="de-DE" sz="11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6" name="Grafik 5" descr="Ein Bild, das Text, Schrift, Screenshot, Grafiken enthält.&#10;&#10;Automatisch generierte Beschreibung">
            <a:extLst>
              <a:ext uri="{FF2B5EF4-FFF2-40B4-BE49-F238E27FC236}">
                <a16:creationId xmlns:a16="http://schemas.microsoft.com/office/drawing/2014/main" id="{EFD1C8F1-8441-7830-EE15-B35D98790B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14" y="452304"/>
            <a:ext cx="1379369" cy="864000"/>
          </a:xfrm>
          <a:prstGeom prst="rect">
            <a:avLst/>
          </a:prstGeom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92BABEB-B66F-34E2-9A9A-D929D97EBD03}"/>
              </a:ext>
            </a:extLst>
          </p:cNvPr>
          <p:cNvGrpSpPr/>
          <p:nvPr userDrawn="1"/>
        </p:nvGrpSpPr>
        <p:grpSpPr>
          <a:xfrm>
            <a:off x="10271996" y="-9910"/>
            <a:ext cx="1513264" cy="1486542"/>
            <a:chOff x="10271996" y="-9910"/>
            <a:chExt cx="1513264" cy="1486542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8FC8CD52-BDA3-88C1-FC74-6286C977B77E}"/>
                </a:ext>
              </a:extLst>
            </p:cNvPr>
            <p:cNvSpPr/>
            <p:nvPr userDrawn="1"/>
          </p:nvSpPr>
          <p:spPr>
            <a:xfrm>
              <a:off x="10271996" y="-9910"/>
              <a:ext cx="1513264" cy="148654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90103C18-B8A5-F6B8-864C-2C96F0D80D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02800" y="384235"/>
              <a:ext cx="880619" cy="671531"/>
            </a:xfrm>
            <a:prstGeom prst="rect">
              <a:avLst/>
            </a:prstGeom>
          </p:spPr>
        </p:pic>
      </p:grp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B1AF7B1D-3CA1-93C4-DDBC-AAC11E46B2D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215384" y="0"/>
            <a:ext cx="7976616" cy="6858000"/>
          </a:xfrm>
          <a:custGeom>
            <a:avLst/>
            <a:gdLst>
              <a:gd name="connsiteX0" fmla="*/ 0 w 7976616"/>
              <a:gd name="connsiteY0" fmla="*/ 0 h 6858000"/>
              <a:gd name="connsiteX1" fmla="*/ 5409008 w 7976616"/>
              <a:gd name="connsiteY1" fmla="*/ 0 h 6858000"/>
              <a:gd name="connsiteX2" fmla="*/ 6093244 w 7976616"/>
              <a:gd name="connsiteY2" fmla="*/ 0 h 6858000"/>
              <a:gd name="connsiteX3" fmla="*/ 6093244 w 7976616"/>
              <a:gd name="connsiteY3" fmla="*/ 1440000 h 6858000"/>
              <a:gd name="connsiteX4" fmla="*/ 7533244 w 7976616"/>
              <a:gd name="connsiteY4" fmla="*/ 1440000 h 6858000"/>
              <a:gd name="connsiteX5" fmla="*/ 7533244 w 7976616"/>
              <a:gd name="connsiteY5" fmla="*/ 0 h 6858000"/>
              <a:gd name="connsiteX6" fmla="*/ 7533703 w 7976616"/>
              <a:gd name="connsiteY6" fmla="*/ 0 h 6858000"/>
              <a:gd name="connsiteX7" fmla="*/ 7785272 w 7976616"/>
              <a:gd name="connsiteY7" fmla="*/ 0 h 6858000"/>
              <a:gd name="connsiteX8" fmla="*/ 7976616 w 7976616"/>
              <a:gd name="connsiteY8" fmla="*/ 0 h 6858000"/>
              <a:gd name="connsiteX9" fmla="*/ 7976616 w 7976616"/>
              <a:gd name="connsiteY9" fmla="*/ 6858000 h 6858000"/>
              <a:gd name="connsiteX10" fmla="*/ 0 w 7976616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976616" h="6858000">
                <a:moveTo>
                  <a:pt x="0" y="0"/>
                </a:moveTo>
                <a:lnTo>
                  <a:pt x="5409008" y="0"/>
                </a:lnTo>
                <a:lnTo>
                  <a:pt x="6093244" y="0"/>
                </a:lnTo>
                <a:lnTo>
                  <a:pt x="6093244" y="1440000"/>
                </a:lnTo>
                <a:lnTo>
                  <a:pt x="7533244" y="1440000"/>
                </a:lnTo>
                <a:lnTo>
                  <a:pt x="7533244" y="0"/>
                </a:lnTo>
                <a:lnTo>
                  <a:pt x="7533703" y="0"/>
                </a:lnTo>
                <a:lnTo>
                  <a:pt x="7785272" y="0"/>
                </a:lnTo>
                <a:lnTo>
                  <a:pt x="7976616" y="0"/>
                </a:lnTo>
                <a:lnTo>
                  <a:pt x="797661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3594FDA-DE08-4FFB-F553-C761591A6B9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27772" y="5624875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84262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ohne Bil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3E42E8-4F6E-C75A-3DF7-831D9B351BD9}"/>
              </a:ext>
            </a:extLst>
          </p:cNvPr>
          <p:cNvSpPr>
            <a:spLocks noChangeAspect="1"/>
          </p:cNvSpPr>
          <p:nvPr userDrawn="1"/>
        </p:nvSpPr>
        <p:spPr>
          <a:xfrm rot="21000000">
            <a:off x="1499037" y="2644542"/>
            <a:ext cx="3553199" cy="35531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3744132-DA0E-DD1E-BAF5-6FA0363B7C4A}"/>
              </a:ext>
            </a:extLst>
          </p:cNvPr>
          <p:cNvSpPr/>
          <p:nvPr userDrawn="1"/>
        </p:nvSpPr>
        <p:spPr bwMode="gray">
          <a:xfrm>
            <a:off x="1818349" y="3093284"/>
            <a:ext cx="7757729" cy="37647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3" name="Titel 4">
            <a:extLst>
              <a:ext uri="{FF2B5EF4-FFF2-40B4-BE49-F238E27FC236}">
                <a16:creationId xmlns:a16="http://schemas.microsoft.com/office/drawing/2014/main" id="{3165B5C7-4697-AFB0-5B68-C7169C1307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3572" y="3429000"/>
            <a:ext cx="6804757" cy="1764196"/>
          </a:xfrm>
        </p:spPr>
        <p:txBody>
          <a:bodyPr anchor="b">
            <a:noAutofit/>
          </a:bodyPr>
          <a:lstStyle>
            <a:lvl1pPr>
              <a:defRPr sz="3600" cap="all" baseline="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CC227B-635E-3138-C873-4C9A5B70AF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43572" y="5301208"/>
            <a:ext cx="6804757" cy="828092"/>
          </a:xfrm>
        </p:spPr>
        <p:txBody>
          <a:bodyPr anchor="b">
            <a:noAutofit/>
          </a:bodyPr>
          <a:lstStyle>
            <a:lvl4pPr>
              <a:defRPr sz="1600" b="0" i="0">
                <a:solidFill>
                  <a:schemeClr val="tx1"/>
                </a:solidFill>
                <a:latin typeface="+mn-lt"/>
              </a:defRPr>
            </a:lvl4pPr>
          </a:lstStyle>
          <a:p>
            <a:pPr lvl="3"/>
            <a:r>
              <a:rPr lang="de-DE" dirty="0" err="1"/>
              <a:t>Subtitel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5841FF27-778C-8ED0-6472-C49CE34B040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2243572" y="6201308"/>
            <a:ext cx="6804757" cy="288032"/>
          </a:xfrm>
        </p:spPr>
        <p:txBody>
          <a:bodyPr lIns="0">
            <a:noAutofit/>
          </a:bodyPr>
          <a:lstStyle>
            <a:lvl1pPr algn="l"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fld id="{AD46FB0F-7B84-447C-9B1D-7EC64802AA11}" type="datetime1">
              <a:rPr lang="de-DE" smtClean="0"/>
              <a:t>03.03.2025</a:t>
            </a:fld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0B8146-300A-A938-3B5B-BA8F54A585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371" y="440668"/>
            <a:ext cx="1368152" cy="855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907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04 (easy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ihandform 31">
            <a:extLst>
              <a:ext uri="{FF2B5EF4-FFF2-40B4-BE49-F238E27FC236}">
                <a16:creationId xmlns:a16="http://schemas.microsoft.com/office/drawing/2014/main" id="{1B950045-2899-A5E7-2C47-231028BF83A1}"/>
              </a:ext>
            </a:extLst>
          </p:cNvPr>
          <p:cNvSpPr/>
          <p:nvPr userDrawn="1"/>
        </p:nvSpPr>
        <p:spPr bwMode="gray">
          <a:xfrm rot="21000000">
            <a:off x="-429510" y="1625569"/>
            <a:ext cx="1942825" cy="5462067"/>
          </a:xfrm>
          <a:custGeom>
            <a:avLst/>
            <a:gdLst>
              <a:gd name="connsiteX0" fmla="*/ 1942825 w 1942825"/>
              <a:gd name="connsiteY0" fmla="*/ 0 h 5462067"/>
              <a:gd name="connsiteX1" fmla="*/ 1942825 w 1942825"/>
              <a:gd name="connsiteY1" fmla="*/ 5462067 h 5462067"/>
              <a:gd name="connsiteX2" fmla="*/ 0 w 1942825"/>
              <a:gd name="connsiteY2" fmla="*/ 5119495 h 5462067"/>
              <a:gd name="connsiteX3" fmla="*/ 902705 w 1942825"/>
              <a:gd name="connsiteY3" fmla="*/ 0 h 5462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2825" h="5462067">
                <a:moveTo>
                  <a:pt x="1942825" y="0"/>
                </a:moveTo>
                <a:lnTo>
                  <a:pt x="1942825" y="5462067"/>
                </a:lnTo>
                <a:lnTo>
                  <a:pt x="0" y="5119495"/>
                </a:lnTo>
                <a:lnTo>
                  <a:pt x="90270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C50A8D0F-5CF9-CB98-EFB5-6E56CBAF20C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758081" y="0"/>
            <a:ext cx="5433919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29E6F1B-2CE7-D01C-1599-424C926736B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E6B08A4-D211-484F-AC67-90CA0BD802AC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C5BF856-A3D3-B04F-EFFB-75A8A081493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1965553" y="6273316"/>
            <a:ext cx="7514823" cy="360040"/>
          </a:xfrm>
        </p:spPr>
        <p:txBody>
          <a:bodyPr/>
          <a:lstStyle/>
          <a:p>
            <a:r>
              <a:rPr lang="de-DE"/>
              <a:t>Präsentationsname über easySlides | Folienelemente | Kopf- und Fußzeile aktualisieren</a:t>
            </a:r>
            <a:endParaRPr lang="de-DE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8B1B71E-FD9F-C27B-591D-47D97E1EFE3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 21">
            <a:extLst>
              <a:ext uri="{FF2B5EF4-FFF2-40B4-BE49-F238E27FC236}">
                <a16:creationId xmlns:a16="http://schemas.microsoft.com/office/drawing/2014/main" id="{EB530B54-7BC1-1ABD-8512-96484B6EDC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371" y="404664"/>
            <a:ext cx="5652629" cy="93677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2174836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eißer_Hintergrund_einspalti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F4DD0A-8F87-1B4F-BCED-531DBA0B50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898" y="130176"/>
            <a:ext cx="11503259" cy="432359"/>
          </a:xfrm>
        </p:spPr>
        <p:txBody>
          <a:bodyPr lIns="0" tIns="46800" rIns="46800">
            <a:noAutofit/>
          </a:bodyPr>
          <a:lstStyle>
            <a:lvl1pPr>
              <a:lnSpc>
                <a:spcPts val="3800"/>
              </a:lnSpc>
              <a:defRPr sz="2600">
                <a:solidFill>
                  <a:schemeClr val="tx1"/>
                </a:solidFill>
                <a:latin typeface="TeXGyreHeros" pitchFamily="2" charset="77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898" y="1284050"/>
            <a:ext cx="11503259" cy="1754326"/>
          </a:xfrm>
          <a:prstGeom prst="rect">
            <a:avLst/>
          </a:prstGeom>
        </p:spPr>
        <p:txBody>
          <a:bodyPr lIns="0" rIns="46800"/>
          <a:lstStyle>
            <a:lvl1pPr marL="250825" indent="-250825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1E3F72"/>
              </a:buClr>
              <a:buFont typeface="Wingdings" panose="05000000000000000000" pitchFamily="2" charset="2"/>
              <a:buChar char="§"/>
              <a:defRPr lang="de-DE" sz="1800" kern="1200" baseline="0" dirty="0" smtClean="0">
                <a:solidFill>
                  <a:schemeClr val="tx1"/>
                </a:solidFill>
                <a:latin typeface="TeXGyreHeros" panose="00000500000000000000" pitchFamily="50" charset="0"/>
                <a:ea typeface="+mn-ea"/>
                <a:cs typeface="Arial" pitchFamily="34" charset="0"/>
              </a:defRPr>
            </a:lvl1pPr>
            <a:lvl2pPr marL="504000" indent="-215900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B4BFCD"/>
              </a:buClr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TeXGyreHeros" panose="00000500000000000000" pitchFamily="50" charset="0"/>
                <a:ea typeface="+mn-ea"/>
                <a:cs typeface="Arial" pitchFamily="34" charset="0"/>
              </a:defRPr>
            </a:lvl2pPr>
            <a:lvl3pPr marL="756000" indent="-215900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B4BFCD"/>
              </a:buClr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TeXGyreHeros" panose="00000500000000000000" pitchFamily="50" charset="0"/>
                <a:ea typeface="+mn-ea"/>
                <a:cs typeface="Arial" pitchFamily="34" charset="0"/>
              </a:defRPr>
            </a:lvl3pPr>
            <a:lvl4pPr marL="1008000" indent="-215900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B4BFCD"/>
              </a:buClr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TeXGyreHeros" panose="00000500000000000000" pitchFamily="50" charset="0"/>
                <a:ea typeface="+mn-ea"/>
                <a:cs typeface="Arial" pitchFamily="34" charset="0"/>
              </a:defRPr>
            </a:lvl4pPr>
            <a:lvl5pPr marL="1260000" indent="-215900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B4BFCD"/>
              </a:buClr>
              <a:buFont typeface="Wingdings" panose="05000000000000000000" pitchFamily="2" charset="2"/>
              <a:buChar char="§"/>
              <a:defRPr lang="de-AT" sz="1800" kern="1200" dirty="0" smtClean="0">
                <a:solidFill>
                  <a:schemeClr val="tx1"/>
                </a:solidFill>
                <a:latin typeface="TeXGyreHeros" panose="00000500000000000000" pitchFamily="50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D502978F-55E5-4941-805F-FE54D1266F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1898" y="703607"/>
            <a:ext cx="11503259" cy="365125"/>
          </a:xfrm>
          <a:prstGeom prst="rect">
            <a:avLst/>
          </a:prstGeom>
        </p:spPr>
        <p:txBody>
          <a:bodyPr lIns="0" rIns="4680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TeXGyreHeros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E18CBC5B-8977-4DE6-E67D-0F962472122E}"/>
              </a:ext>
            </a:extLst>
          </p:cNvPr>
          <p:cNvSpPr txBox="1">
            <a:spLocks/>
          </p:cNvSpPr>
          <p:nvPr userDrawn="1"/>
        </p:nvSpPr>
        <p:spPr>
          <a:xfrm>
            <a:off x="11245850" y="6503988"/>
            <a:ext cx="599307" cy="128587"/>
          </a:xfrm>
          <a:prstGeom prst="rect">
            <a:avLst/>
          </a:prstGeom>
        </p:spPr>
        <p:txBody>
          <a:bodyPr vert="horz" lIns="0" tIns="0" rIns="0" bIns="0" rtlCol="0" anchor="ctr" anchorCtr="1"/>
          <a:lstStyle>
            <a:defPPr>
              <a:defRPr lang="de-DE"/>
            </a:defPPr>
            <a:lvl1pPr marL="0" algn="r" defTabSz="914400" rtl="0" eaLnBrk="1" latinLnBrk="0" hangingPunct="1">
              <a:defRPr sz="900" b="0" i="0" kern="1200">
                <a:solidFill>
                  <a:schemeClr val="tx1"/>
                </a:solidFill>
                <a:latin typeface="Helvetica Light" panose="020B0403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1D3E71"/>
                </a:solidFill>
                <a:effectLst/>
                <a:uLnTx/>
                <a:uFillTx/>
                <a:latin typeface="TeXGyreHeros" pitchFamily="2" charset="77"/>
                <a:ea typeface="+mn-ea"/>
                <a:cs typeface="+mn-cs"/>
              </a:rPr>
              <a:t>| Seite </a:t>
            </a:r>
            <a:fld id="{58BE5C0F-BD1E-0A4D-9E42-830DCCE0C302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1D3E71"/>
                </a:solidFill>
                <a:effectLst/>
                <a:uLnTx/>
                <a:uFillTx/>
                <a:latin typeface="TeXGyreHeros" pitchFamily="2" charset="77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1D3E71"/>
              </a:solidFill>
              <a:effectLst/>
              <a:uLnTx/>
              <a:uFillTx/>
              <a:latin typeface="TeXGyreHeros" pitchFamily="2" charset="77"/>
              <a:ea typeface="+mn-ea"/>
              <a:cs typeface="+mn-cs"/>
            </a:endParaRPr>
          </a:p>
        </p:txBody>
      </p:sp>
      <p:sp>
        <p:nvSpPr>
          <p:cNvPr id="12" name="Textplatzhalter 31">
            <a:extLst>
              <a:ext uri="{FF2B5EF4-FFF2-40B4-BE49-F238E27FC236}">
                <a16:creationId xmlns:a16="http://schemas.microsoft.com/office/drawing/2014/main" id="{B6EDA43E-34B1-F982-2497-FAAC3F2104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66862" y="6515721"/>
            <a:ext cx="1800000" cy="129600"/>
          </a:xfrm>
          <a:prstGeom prst="rect">
            <a:avLst/>
          </a:prstGeom>
        </p:spPr>
        <p:txBody>
          <a:bodyPr lIns="0" tIns="0" rIns="36000" bIns="0" anchor="ctr" anchorCtr="0">
            <a:spAutoFit/>
          </a:bodyPr>
          <a:lstStyle>
            <a:lvl1pPr marL="0" indent="0" algn="r">
              <a:buFontTx/>
              <a:buNone/>
              <a:defRPr sz="900"/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01594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uer_Hintergrund_einspalti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F4DD0A-8F87-1B4F-BCED-531DBA0B50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896" y="130176"/>
            <a:ext cx="11503261" cy="450289"/>
          </a:xfrm>
        </p:spPr>
        <p:txBody>
          <a:bodyPr lIns="0" tIns="46800" rIns="46800">
            <a:noAutofit/>
          </a:bodyPr>
          <a:lstStyle>
            <a:lvl1pPr>
              <a:lnSpc>
                <a:spcPts val="3800"/>
              </a:lnSpc>
              <a:defRPr sz="2600">
                <a:solidFill>
                  <a:schemeClr val="bg1"/>
                </a:solidFill>
                <a:latin typeface="TeXGyreHeros" pitchFamily="2" charset="77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D502978F-55E5-4941-805F-FE54D1266F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1896" y="703607"/>
            <a:ext cx="11503261" cy="365125"/>
          </a:xfrm>
          <a:prstGeom prst="rect">
            <a:avLst/>
          </a:prstGeom>
        </p:spPr>
        <p:txBody>
          <a:bodyPr lIns="0" rIns="4680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TeXGyreHeros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40876" y="1284050"/>
            <a:ext cx="11504281" cy="1754326"/>
          </a:xfrm>
          <a:prstGeom prst="rect">
            <a:avLst/>
          </a:prstGeom>
        </p:spPr>
        <p:txBody>
          <a:bodyPr lIns="0" rIns="46800"/>
          <a:lstStyle>
            <a:lvl1pPr marL="250825" indent="-250825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lang="de-DE" sz="1800" kern="1200" baseline="0" dirty="0" smtClean="0">
                <a:solidFill>
                  <a:schemeClr val="bg1"/>
                </a:solidFill>
                <a:latin typeface="TeXGyreHeros" panose="00000500000000000000" pitchFamily="50" charset="0"/>
                <a:ea typeface="+mn-ea"/>
                <a:cs typeface="Arial" pitchFamily="34" charset="0"/>
              </a:defRPr>
            </a:lvl1pPr>
            <a:lvl2pPr marL="504000" indent="-215900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bg1"/>
                </a:solidFill>
                <a:latin typeface="TeXGyreHeros" panose="00000500000000000000" pitchFamily="50" charset="0"/>
                <a:ea typeface="+mn-ea"/>
                <a:cs typeface="Arial" pitchFamily="34" charset="0"/>
              </a:defRPr>
            </a:lvl2pPr>
            <a:lvl3pPr marL="756000" indent="-215900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bg1"/>
                </a:solidFill>
                <a:latin typeface="TeXGyreHeros" panose="00000500000000000000" pitchFamily="50" charset="0"/>
                <a:ea typeface="+mn-ea"/>
                <a:cs typeface="Arial" pitchFamily="34" charset="0"/>
              </a:defRPr>
            </a:lvl3pPr>
            <a:lvl4pPr marL="1008000" indent="-215900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B4BFCD"/>
              </a:buClr>
              <a:buFont typeface="Wingdings" panose="05000000000000000000" pitchFamily="2" charset="2"/>
              <a:buChar char="§"/>
              <a:defRPr lang="de-DE" sz="1800" kern="1200" dirty="0" smtClean="0">
                <a:solidFill>
                  <a:schemeClr val="tx1"/>
                </a:solidFill>
                <a:latin typeface="TeXGyreHeros" panose="00000500000000000000" pitchFamily="50" charset="0"/>
                <a:ea typeface="+mn-ea"/>
                <a:cs typeface="Arial" pitchFamily="34" charset="0"/>
              </a:defRPr>
            </a:lvl4pPr>
            <a:lvl5pPr marL="1260000" indent="-215900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B4BFCD"/>
              </a:buClr>
              <a:buFont typeface="Wingdings" panose="05000000000000000000" pitchFamily="2" charset="2"/>
              <a:buChar char="§"/>
              <a:defRPr lang="de-AT" sz="1800" kern="1200" dirty="0" smtClean="0">
                <a:solidFill>
                  <a:schemeClr val="tx1"/>
                </a:solidFill>
                <a:latin typeface="TeXGyreHeros" panose="00000500000000000000" pitchFamily="50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DEEC7CA3-A134-4529-6A17-A33A36E53DE7}"/>
              </a:ext>
            </a:extLst>
          </p:cNvPr>
          <p:cNvSpPr txBox="1">
            <a:spLocks/>
          </p:cNvSpPr>
          <p:nvPr userDrawn="1"/>
        </p:nvSpPr>
        <p:spPr>
          <a:xfrm>
            <a:off x="11245850" y="6503988"/>
            <a:ext cx="599307" cy="128587"/>
          </a:xfrm>
          <a:prstGeom prst="rect">
            <a:avLst/>
          </a:prstGeom>
        </p:spPr>
        <p:txBody>
          <a:bodyPr vert="horz" lIns="0" tIns="0" rIns="0" bIns="0" rtlCol="0" anchor="ctr" anchorCtr="1"/>
          <a:lstStyle>
            <a:defPPr>
              <a:defRPr lang="de-DE"/>
            </a:defPPr>
            <a:lvl1pPr marL="0" algn="r" defTabSz="914400" rtl="0" eaLnBrk="1" latinLnBrk="0" hangingPunct="1">
              <a:defRPr sz="900" b="0" i="0" kern="1200">
                <a:solidFill>
                  <a:schemeClr val="tx1"/>
                </a:solidFill>
                <a:latin typeface="Helvetica Light" panose="020B0403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1D3E71"/>
                </a:solidFill>
                <a:effectLst/>
                <a:uLnTx/>
                <a:uFillTx/>
                <a:latin typeface="TeXGyreHeros" pitchFamily="2" charset="77"/>
                <a:ea typeface="+mn-ea"/>
                <a:cs typeface="+mn-cs"/>
              </a:rPr>
              <a:t>| Seite </a:t>
            </a:r>
            <a:fld id="{58BE5C0F-BD1E-0A4D-9E42-830DCCE0C302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1D3E71"/>
                </a:solidFill>
                <a:effectLst/>
                <a:uLnTx/>
                <a:uFillTx/>
                <a:latin typeface="TeXGyreHeros" pitchFamily="2" charset="77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1D3E71"/>
              </a:solidFill>
              <a:effectLst/>
              <a:uLnTx/>
              <a:uFillTx/>
              <a:latin typeface="TeXGyreHeros" pitchFamily="2" charset="77"/>
              <a:ea typeface="+mn-ea"/>
              <a:cs typeface="+mn-cs"/>
            </a:endParaRPr>
          </a:p>
        </p:txBody>
      </p:sp>
      <p:sp>
        <p:nvSpPr>
          <p:cNvPr id="5" name="Textplatzhalter 31">
            <a:extLst>
              <a:ext uri="{FF2B5EF4-FFF2-40B4-BE49-F238E27FC236}">
                <a16:creationId xmlns:a16="http://schemas.microsoft.com/office/drawing/2014/main" id="{635C1B99-B468-F86F-A6FA-7FAFF35571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466862" y="6515721"/>
            <a:ext cx="1800000" cy="129600"/>
          </a:xfrm>
          <a:prstGeom prst="rect">
            <a:avLst/>
          </a:prstGeom>
        </p:spPr>
        <p:txBody>
          <a:bodyPr lIns="0" tIns="0" rIns="36000" bIns="0" anchor="ctr" anchorCtr="0">
            <a:spAutoFit/>
          </a:bodyPr>
          <a:lstStyle>
            <a:lvl1pPr marL="0" indent="0" algn="r">
              <a:buFontTx/>
              <a:buNone/>
              <a:defRPr sz="900">
                <a:solidFill>
                  <a:srgbClr val="1E3F72"/>
                </a:solidFill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64974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0FA948E7-E8C8-3394-75A1-032815661B7C}"/>
              </a:ext>
            </a:extLst>
          </p:cNvPr>
          <p:cNvSpPr/>
          <p:nvPr userDrawn="1"/>
        </p:nvSpPr>
        <p:spPr>
          <a:xfrm rot="21000000">
            <a:off x="6275138" y="1349677"/>
            <a:ext cx="3399840" cy="52629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C50A8D0F-5CF9-CB98-EFB5-6E56CBAF20C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758081" y="0"/>
            <a:ext cx="5433919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F754A5B-341F-527D-49CD-41B2F61D24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5100" y="1490226"/>
            <a:ext cx="745200" cy="745200"/>
          </a:xfrm>
          <a:solidFill>
            <a:schemeClr val="accent1"/>
          </a:solidFill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866ED2C-7725-C05F-E48D-9288F65351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53352" y="1508394"/>
            <a:ext cx="4014882" cy="709612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name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BE322775-8676-9883-8F62-EB30F605672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5100" y="2387973"/>
            <a:ext cx="745200" cy="745200"/>
          </a:xfrm>
          <a:solidFill>
            <a:schemeClr val="accent1"/>
          </a:solidFill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CF8A3A4C-EF71-1818-673D-9E51A29ED91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53352" y="2408236"/>
            <a:ext cx="4014882" cy="709612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name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04E0D7FE-5362-BC6F-4447-6531C99E1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5100" y="3285720"/>
            <a:ext cx="745200" cy="745200"/>
          </a:xfrm>
          <a:solidFill>
            <a:schemeClr val="accent1"/>
          </a:solidFill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68789F6F-3102-68AA-FA09-8CE25709ED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53352" y="3303514"/>
            <a:ext cx="4014882" cy="709612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name</a:t>
            </a:r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0370FEAD-4B46-5082-2112-C26703296C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5100" y="4183467"/>
            <a:ext cx="745200" cy="745200"/>
          </a:xfrm>
          <a:solidFill>
            <a:schemeClr val="accent1"/>
          </a:solidFill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13E0F442-736B-66E2-AFB7-2C00EFB1230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53352" y="4201261"/>
            <a:ext cx="4014882" cy="709612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name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8E2E4D1C-ED76-28DB-7196-F285030D38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5100" y="5081215"/>
            <a:ext cx="745200" cy="745200"/>
          </a:xfrm>
          <a:solidFill>
            <a:schemeClr val="accent1"/>
          </a:solidFill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96C38421-5D9B-6D7F-BC01-2E72201DAF0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453352" y="5099009"/>
            <a:ext cx="4014882" cy="709612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000" b="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name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6A5E94FF-A90D-6557-EC17-95B495D80A9C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6FBE4E46-4714-BD42-B5E9-7C4D7322E4F1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76DB41BE-339A-D551-3F8F-3601E058E06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2384707C-4F94-09A9-0474-284C9DA088CC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itel 21">
            <a:extLst>
              <a:ext uri="{FF2B5EF4-FFF2-40B4-BE49-F238E27FC236}">
                <a16:creationId xmlns:a16="http://schemas.microsoft.com/office/drawing/2014/main" id="{E47D31CE-60E7-8BFF-8D3D-5F31D44F4C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371" y="404664"/>
            <a:ext cx="5364597" cy="93677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365123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ihandform 31">
            <a:extLst>
              <a:ext uri="{FF2B5EF4-FFF2-40B4-BE49-F238E27FC236}">
                <a16:creationId xmlns:a16="http://schemas.microsoft.com/office/drawing/2014/main" id="{1B950045-2899-A5E7-2C47-231028BF83A1}"/>
              </a:ext>
            </a:extLst>
          </p:cNvPr>
          <p:cNvSpPr/>
          <p:nvPr userDrawn="1"/>
        </p:nvSpPr>
        <p:spPr>
          <a:xfrm rot="21000000">
            <a:off x="-429510" y="1625569"/>
            <a:ext cx="1942825" cy="5462067"/>
          </a:xfrm>
          <a:custGeom>
            <a:avLst/>
            <a:gdLst>
              <a:gd name="connsiteX0" fmla="*/ 1942825 w 1942825"/>
              <a:gd name="connsiteY0" fmla="*/ 0 h 5462067"/>
              <a:gd name="connsiteX1" fmla="*/ 1942825 w 1942825"/>
              <a:gd name="connsiteY1" fmla="*/ 5462067 h 5462067"/>
              <a:gd name="connsiteX2" fmla="*/ 0 w 1942825"/>
              <a:gd name="connsiteY2" fmla="*/ 5119495 h 5462067"/>
              <a:gd name="connsiteX3" fmla="*/ 902705 w 1942825"/>
              <a:gd name="connsiteY3" fmla="*/ 0 h 5462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2825" h="5462067">
                <a:moveTo>
                  <a:pt x="1942825" y="0"/>
                </a:moveTo>
                <a:lnTo>
                  <a:pt x="1942825" y="5462067"/>
                </a:lnTo>
                <a:lnTo>
                  <a:pt x="0" y="5119495"/>
                </a:lnTo>
                <a:lnTo>
                  <a:pt x="90270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C50A8D0F-5CF9-CB98-EFB5-6E56CBAF20C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758081" y="0"/>
            <a:ext cx="5433919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933496E9-FAB7-A3F1-4E3C-89CF8D92E2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1714284"/>
            <a:ext cx="671512" cy="709612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5E1FC37-FD17-681B-AFDA-1C5FF8349D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23506" y="1724097"/>
            <a:ext cx="4874348" cy="703262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400" b="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nam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D8D3D437-5817-B19C-6FA9-4B3DDB6AA6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473" y="2616919"/>
            <a:ext cx="671512" cy="709612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B395B660-6241-B463-914B-B921D634E3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84066" y="2623269"/>
            <a:ext cx="4813788" cy="703262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400" b="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name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61251D6A-26C4-2511-FF73-1FEFCD613B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9924" y="3519554"/>
            <a:ext cx="671512" cy="709612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FD3717B1-415F-D2E1-DF61-63640AFD73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650517" y="3522729"/>
            <a:ext cx="4647337" cy="703262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400" b="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name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2A2E2ECC-BC28-4DDF-E250-E39330FBBF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4464" y="4422189"/>
            <a:ext cx="671512" cy="709612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BE29A174-1116-4DF8-3256-281DD5FD9A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805057" y="4420998"/>
            <a:ext cx="4492797" cy="703262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400" b="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name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D8500497-3E80-477C-F13E-901A7539CD1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84960" y="5324823"/>
            <a:ext cx="671512" cy="709612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5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E544EAA9-3748-A323-D7C4-74622F6ED07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65553" y="5327998"/>
            <a:ext cx="4332301" cy="703262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400" b="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E1E1B6D6-6B72-B3FD-B1F7-B35A6698830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3B92C52B-3C82-6B47-B803-A7485312748E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8F6A1B84-2FAD-40B7-328F-9FAADAC4729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1965553" y="6273316"/>
            <a:ext cx="7524837" cy="360040"/>
          </a:xfrm>
        </p:spPr>
        <p:txBody>
          <a:bodyPr>
            <a:noAutofit/>
          </a:bodyPr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4826390-2D7A-302D-C45F-77224872913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 21">
            <a:extLst>
              <a:ext uri="{FF2B5EF4-FFF2-40B4-BE49-F238E27FC236}">
                <a16:creationId xmlns:a16="http://schemas.microsoft.com/office/drawing/2014/main" id="{6D751E8F-8EF2-4E59-AFFD-101A9562E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371" y="404664"/>
            <a:ext cx="5364597" cy="93677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105226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ihandform 31">
            <a:extLst>
              <a:ext uri="{FF2B5EF4-FFF2-40B4-BE49-F238E27FC236}">
                <a16:creationId xmlns:a16="http://schemas.microsoft.com/office/drawing/2014/main" id="{1B950045-2899-A5E7-2C47-231028BF83A1}"/>
              </a:ext>
            </a:extLst>
          </p:cNvPr>
          <p:cNvSpPr/>
          <p:nvPr userDrawn="1"/>
        </p:nvSpPr>
        <p:spPr>
          <a:xfrm rot="21000000">
            <a:off x="-429510" y="1625569"/>
            <a:ext cx="1942825" cy="5462067"/>
          </a:xfrm>
          <a:custGeom>
            <a:avLst/>
            <a:gdLst>
              <a:gd name="connsiteX0" fmla="*/ 1942825 w 1942825"/>
              <a:gd name="connsiteY0" fmla="*/ 0 h 5462067"/>
              <a:gd name="connsiteX1" fmla="*/ 1942825 w 1942825"/>
              <a:gd name="connsiteY1" fmla="*/ 5462067 h 5462067"/>
              <a:gd name="connsiteX2" fmla="*/ 0 w 1942825"/>
              <a:gd name="connsiteY2" fmla="*/ 5119495 h 5462067"/>
              <a:gd name="connsiteX3" fmla="*/ 902705 w 1942825"/>
              <a:gd name="connsiteY3" fmla="*/ 0 h 5462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2825" h="5462067">
                <a:moveTo>
                  <a:pt x="1942825" y="0"/>
                </a:moveTo>
                <a:lnTo>
                  <a:pt x="1942825" y="5462067"/>
                </a:lnTo>
                <a:lnTo>
                  <a:pt x="0" y="5119495"/>
                </a:lnTo>
                <a:lnTo>
                  <a:pt x="90270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C50A8D0F-5CF9-CB98-EFB5-6E56CBAF20C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758081" y="0"/>
            <a:ext cx="5433919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933496E9-FAB7-A3F1-4E3C-89CF8D92E2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1714284"/>
            <a:ext cx="671512" cy="709612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B5E1FC37-FD17-681B-AFDA-1C5FF8349D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23506" y="1724097"/>
            <a:ext cx="4874348" cy="703262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400" b="0">
                <a:solidFill>
                  <a:schemeClr val="tx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name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D8D3D437-5817-B19C-6FA9-4B3DDB6AA6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473" y="2616919"/>
            <a:ext cx="671512" cy="709612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B395B660-6241-B463-914B-B921D634E3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84066" y="2623269"/>
            <a:ext cx="4813788" cy="703262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400" b="0">
                <a:solidFill>
                  <a:schemeClr val="tx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name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61251D6A-26C4-2511-FF73-1FEFCD613B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9924" y="3519554"/>
            <a:ext cx="671512" cy="709612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FD3717B1-415F-D2E1-DF61-63640AFD73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650517" y="3522729"/>
            <a:ext cx="4647337" cy="703262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400" b="0">
                <a:solidFill>
                  <a:schemeClr val="tx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name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2A2E2ECC-BC28-4DDF-E250-E39330FBBF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4464" y="4422189"/>
            <a:ext cx="671512" cy="709612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BE29A174-1116-4DF8-3256-281DD5FD9A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805057" y="4420998"/>
            <a:ext cx="4492797" cy="703262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400" b="0">
                <a:solidFill>
                  <a:schemeClr val="tx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name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D8500497-3E80-477C-F13E-901A7539CD1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84960" y="5324823"/>
            <a:ext cx="671512" cy="709612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5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E544EAA9-3748-A323-D7C4-74622F6ED07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65553" y="5327998"/>
            <a:ext cx="4332301" cy="703262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2400" b="0">
                <a:solidFill>
                  <a:schemeClr val="tx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nam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29E6F1B-2CE7-D01C-1599-424C926736B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9AC2E3-5999-A843-B228-33A1E0B18069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C5BF856-A3D3-B04F-EFFB-75A8A081493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1965553" y="6273316"/>
            <a:ext cx="7514823" cy="360040"/>
          </a:xfrm>
        </p:spPr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8B1B71E-FD9F-C27B-591D-47D97E1EFE3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 21">
            <a:extLst>
              <a:ext uri="{FF2B5EF4-FFF2-40B4-BE49-F238E27FC236}">
                <a16:creationId xmlns:a16="http://schemas.microsoft.com/office/drawing/2014/main" id="{EB530B54-7BC1-1ABD-8512-96484B6EDC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371" y="404664"/>
            <a:ext cx="5652629" cy="93677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944433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E29C050F-D4C8-E6FD-60EB-1902DB25555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3371" y="1448780"/>
            <a:ext cx="2088232" cy="2052228"/>
          </a:xfrm>
          <a:solidFill>
            <a:schemeClr val="accent1"/>
          </a:solidFill>
        </p:spPr>
        <p:txBody>
          <a:bodyPr wrap="square" lIns="216000" tIns="702000" rIns="216000" bIns="216000">
            <a:noAutofit/>
          </a:bodyPr>
          <a:lstStyle>
            <a:lvl2pPr>
              <a:buClr>
                <a:schemeClr val="bg1"/>
              </a:buClr>
              <a:defRPr/>
            </a:lvl2pPr>
          </a:lstStyle>
          <a:p>
            <a:pPr lvl="0"/>
            <a:r>
              <a:rPr lang="de-DE" dirty="0"/>
              <a:t>Kapitelname, einzeilig oder zweizeilig 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666C3464-503F-35E4-BB4F-85A10FDA93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747628" y="3753036"/>
            <a:ext cx="2088232" cy="2052228"/>
          </a:xfrm>
          <a:solidFill>
            <a:schemeClr val="accent1"/>
          </a:solidFill>
        </p:spPr>
        <p:txBody>
          <a:bodyPr wrap="square" lIns="216000" tIns="702000" rIns="216000" bIns="216000">
            <a:noAutofit/>
          </a:bodyPr>
          <a:lstStyle>
            <a:lvl2pPr>
              <a:buClr>
                <a:schemeClr val="bg1"/>
              </a:buClr>
              <a:defRPr/>
            </a:lvl2pPr>
          </a:lstStyle>
          <a:p>
            <a:pPr lvl="0"/>
            <a:r>
              <a:rPr lang="de-DE" dirty="0"/>
              <a:t>Kapitelname, einzeilig oder zweizeilig 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E7C4121E-DA83-DD18-61F1-A6E297B910C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051884" y="1448780"/>
            <a:ext cx="2088232" cy="2052228"/>
          </a:xfrm>
          <a:solidFill>
            <a:schemeClr val="accent1"/>
          </a:solidFill>
        </p:spPr>
        <p:txBody>
          <a:bodyPr wrap="square" lIns="216000" tIns="702000" rIns="216000" bIns="216000">
            <a:noAutofit/>
          </a:bodyPr>
          <a:lstStyle>
            <a:lvl2pPr>
              <a:buClr>
                <a:schemeClr val="bg1"/>
              </a:buClr>
              <a:defRPr/>
            </a:lvl2pPr>
          </a:lstStyle>
          <a:p>
            <a:pPr lvl="0"/>
            <a:r>
              <a:rPr lang="de-DE" dirty="0"/>
              <a:t>Kapitelname, einzeilig oder zweizeilig 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D81AAE70-4FB3-94C4-2504-E18D7EE28FA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56140" y="3753036"/>
            <a:ext cx="2088232" cy="2052228"/>
          </a:xfrm>
          <a:solidFill>
            <a:schemeClr val="accent1"/>
          </a:solidFill>
        </p:spPr>
        <p:txBody>
          <a:bodyPr wrap="square" lIns="216000" tIns="702000" rIns="216000" bIns="216000">
            <a:noAutofit/>
          </a:bodyPr>
          <a:lstStyle>
            <a:lvl2pPr>
              <a:buClr>
                <a:schemeClr val="bg1"/>
              </a:buClr>
              <a:defRPr/>
            </a:lvl2pPr>
          </a:lstStyle>
          <a:p>
            <a:pPr lvl="0"/>
            <a:r>
              <a:rPr lang="de-DE" dirty="0"/>
              <a:t>Kapitelname, einzeilig oder zweizeilig </a:t>
            </a:r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32EF4A7E-E3D6-7550-9D8A-BACE6E7583C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660396" y="1448780"/>
            <a:ext cx="2088232" cy="2052228"/>
          </a:xfrm>
          <a:solidFill>
            <a:schemeClr val="accent1"/>
          </a:solidFill>
        </p:spPr>
        <p:txBody>
          <a:bodyPr wrap="square" lIns="216000" tIns="702000" rIns="216000" bIns="216000">
            <a:noAutofit/>
          </a:bodyPr>
          <a:lstStyle>
            <a:lvl2pPr>
              <a:buClr>
                <a:schemeClr val="bg1"/>
              </a:buClr>
              <a:defRPr/>
            </a:lvl2pPr>
          </a:lstStyle>
          <a:p>
            <a:pPr lvl="0"/>
            <a:r>
              <a:rPr lang="de-DE" dirty="0"/>
              <a:t>Kapitelname, einzeilig oder zweizeilig </a:t>
            </a:r>
          </a:p>
        </p:txBody>
      </p:sp>
      <p:sp>
        <p:nvSpPr>
          <p:cNvPr id="7" name="Bildplatzhalter 22">
            <a:extLst>
              <a:ext uri="{FF2B5EF4-FFF2-40B4-BE49-F238E27FC236}">
                <a16:creationId xmlns:a16="http://schemas.microsoft.com/office/drawing/2014/main" id="{0F8ACB48-9E46-4DD6-CC5A-645AB7FC5B4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3371" y="3753036"/>
            <a:ext cx="2088232" cy="20522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81ED7A8F-EC36-AD5D-795D-A07B5836E9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5399" y="1448780"/>
            <a:ext cx="684076" cy="720080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12" name="Bildplatzhalter 22">
            <a:extLst>
              <a:ext uri="{FF2B5EF4-FFF2-40B4-BE49-F238E27FC236}">
                <a16:creationId xmlns:a16="http://schemas.microsoft.com/office/drawing/2014/main" id="{64470DC2-A0DA-4153-D5E5-7A6C75D17F8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2747628" y="1448780"/>
            <a:ext cx="2088232" cy="20522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marL="0" algn="ctr">
              <a:defRPr/>
            </a:lvl1pPr>
          </a:lstStyle>
          <a:p>
            <a:r>
              <a:rPr lang="de-DE" dirty="0"/>
              <a:t>Bild durch Klicken</a:t>
            </a:r>
            <a:br>
              <a:rPr lang="de-DE" dirty="0"/>
            </a:br>
            <a:r>
              <a:rPr lang="de-DE" dirty="0"/>
              <a:t>auf Symbol</a:t>
            </a:r>
            <a:br>
              <a:rPr lang="de-DE" dirty="0"/>
            </a:br>
            <a:r>
              <a:rPr lang="de-DE" dirty="0"/>
              <a:t>hinzufügen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6FC58F59-E769-3FD3-B94A-9F649D39DE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99656" y="3753036"/>
            <a:ext cx="684076" cy="720080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15" name="Bildplatzhalter 22">
            <a:extLst>
              <a:ext uri="{FF2B5EF4-FFF2-40B4-BE49-F238E27FC236}">
                <a16:creationId xmlns:a16="http://schemas.microsoft.com/office/drawing/2014/main" id="{DFD28B17-98A2-2B15-FCD0-8B81A26107E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051884" y="3753036"/>
            <a:ext cx="2088232" cy="20522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F74BA473-28FD-4219-CA25-75FDF682224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67908" y="1448780"/>
            <a:ext cx="684076" cy="720080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18" name="Bildplatzhalter 22">
            <a:extLst>
              <a:ext uri="{FF2B5EF4-FFF2-40B4-BE49-F238E27FC236}">
                <a16:creationId xmlns:a16="http://schemas.microsoft.com/office/drawing/2014/main" id="{F0F7BF27-4056-7426-B634-41ACEE5D030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356140" y="1448780"/>
            <a:ext cx="2088232" cy="20522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B063CBC3-C043-721C-D305-C3ACE9A72C4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08168" y="3789040"/>
            <a:ext cx="684076" cy="720080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21" name="Bildplatzhalter 22">
            <a:extLst>
              <a:ext uri="{FF2B5EF4-FFF2-40B4-BE49-F238E27FC236}">
                <a16:creationId xmlns:a16="http://schemas.microsoft.com/office/drawing/2014/main" id="{13AA4480-97AF-AED6-D45E-EA0764A4599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9660396" y="3753036"/>
            <a:ext cx="2088232" cy="20522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88595E90-CDBD-D4D3-9405-C57EB74449B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876420" y="1448780"/>
            <a:ext cx="684076" cy="720080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5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FE4DD32-DA98-B9F3-7A6E-110C996547B8}"/>
              </a:ext>
            </a:extLst>
          </p:cNvPr>
          <p:cNvSpPr>
            <a:spLocks noGrp="1"/>
          </p:cNvSpPr>
          <p:nvPr>
            <p:ph type="dt" sz="half" idx="37"/>
          </p:nvPr>
        </p:nvSpPr>
        <p:spPr/>
        <p:txBody>
          <a:bodyPr/>
          <a:lstStyle/>
          <a:p>
            <a:fld id="{1A6A1FFE-2E10-EE41-BF17-FD81779BDA96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C33803B-2927-296D-85F1-69BABF3F877C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24B56F1-1BC3-D195-1F26-E2E0C2B89711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7D8A383D-FBC4-D5A2-D8D6-373E2F07C9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992699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22">
            <a:extLst>
              <a:ext uri="{FF2B5EF4-FFF2-40B4-BE49-F238E27FC236}">
                <a16:creationId xmlns:a16="http://schemas.microsoft.com/office/drawing/2014/main" id="{0F8ACB48-9E46-4DD6-CC5A-645AB7FC5B4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2913" y="3759200"/>
            <a:ext cx="2071687" cy="207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8048AC5-594B-1DD9-FDAA-3DF46B4BE91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2913" y="1455737"/>
            <a:ext cx="2071687" cy="2070000"/>
          </a:xfrm>
          <a:solidFill>
            <a:schemeClr val="tx2"/>
          </a:solidFill>
        </p:spPr>
        <p:txBody>
          <a:bodyPr wrap="square" lIns="216000" tIns="702000" rIns="216000" bIns="216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 dirty="0"/>
              <a:t>Kapitelname, einzeilig oder zweizeilig 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81ED7A8F-EC36-AD5D-795D-A07B5836E9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9979" y="1464204"/>
            <a:ext cx="671512" cy="709612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12" name="Bildplatzhalter 22">
            <a:extLst>
              <a:ext uri="{FF2B5EF4-FFF2-40B4-BE49-F238E27FC236}">
                <a16:creationId xmlns:a16="http://schemas.microsoft.com/office/drawing/2014/main" id="{64470DC2-A0DA-4153-D5E5-7A6C75D17F8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745847" y="1455737"/>
            <a:ext cx="2071687" cy="207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2868D609-3E85-D0E3-F312-5CBA891320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745847" y="3759200"/>
            <a:ext cx="2071687" cy="2070000"/>
          </a:xfrm>
          <a:solidFill>
            <a:schemeClr val="tx2"/>
          </a:solidFill>
        </p:spPr>
        <p:txBody>
          <a:bodyPr wrap="square" lIns="216000" tIns="702000" rIns="216000" bIns="216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 dirty="0"/>
              <a:t>Kapitelname, einzeilig oder zweizeilig 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6FC58F59-E769-3FD3-B94A-9F649D39DE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982913" y="3767667"/>
            <a:ext cx="671512" cy="709612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15" name="Bildplatzhalter 22">
            <a:extLst>
              <a:ext uri="{FF2B5EF4-FFF2-40B4-BE49-F238E27FC236}">
                <a16:creationId xmlns:a16="http://schemas.microsoft.com/office/drawing/2014/main" id="{DFD28B17-98A2-2B15-FCD0-8B81A26107E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048781" y="3759200"/>
            <a:ext cx="2071687" cy="207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BDE54316-E3DC-A45F-EDE0-EAD90343FD6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048781" y="1455737"/>
            <a:ext cx="2071687" cy="2070000"/>
          </a:xfrm>
          <a:solidFill>
            <a:schemeClr val="tx2"/>
          </a:solidFill>
        </p:spPr>
        <p:txBody>
          <a:bodyPr wrap="square" lIns="216000" tIns="702000" rIns="216000" bIns="216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 dirty="0"/>
              <a:t>Kapitelname, einzeilig oder zweizeilig 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F74BA473-28FD-4219-CA25-75FDF682224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285847" y="1464204"/>
            <a:ext cx="671512" cy="709612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18" name="Bildplatzhalter 22">
            <a:extLst>
              <a:ext uri="{FF2B5EF4-FFF2-40B4-BE49-F238E27FC236}">
                <a16:creationId xmlns:a16="http://schemas.microsoft.com/office/drawing/2014/main" id="{F0F7BF27-4056-7426-B634-41ACEE5D030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360181" y="1455737"/>
            <a:ext cx="2071687" cy="207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BA545E05-7EF1-DDCC-F8E6-821D4E0D0F0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60181" y="3767667"/>
            <a:ext cx="2071687" cy="2070000"/>
          </a:xfrm>
          <a:solidFill>
            <a:schemeClr val="tx2"/>
          </a:solidFill>
        </p:spPr>
        <p:txBody>
          <a:bodyPr wrap="square" lIns="216000" tIns="702000" rIns="216000" bIns="216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 dirty="0"/>
              <a:t>Kapitelname, einzeilig oder zweizeilig 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B063CBC3-C043-721C-D305-C3ACE9A72C4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7597247" y="3776134"/>
            <a:ext cx="671512" cy="709612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21" name="Bildplatzhalter 22">
            <a:extLst>
              <a:ext uri="{FF2B5EF4-FFF2-40B4-BE49-F238E27FC236}">
                <a16:creationId xmlns:a16="http://schemas.microsoft.com/office/drawing/2014/main" id="{13AA4480-97AF-AED6-D45E-EA0764A4599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9654647" y="3759200"/>
            <a:ext cx="2071687" cy="207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080000" bIns="468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141CDBB7-21EF-521F-5D0E-8D8679FBB5F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654647" y="1455737"/>
            <a:ext cx="2071687" cy="2070000"/>
          </a:xfrm>
          <a:solidFill>
            <a:schemeClr val="tx2"/>
          </a:solidFill>
        </p:spPr>
        <p:txBody>
          <a:bodyPr wrap="square" lIns="216000" tIns="702000" rIns="216000" bIns="216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 dirty="0"/>
              <a:t>Kapitelname, einzeilig oder zweizeilig </a:t>
            </a: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88595E90-CDBD-D4D3-9405-C57EB74449B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9891713" y="1464204"/>
            <a:ext cx="671512" cy="709612"/>
          </a:xfrm>
        </p:spPr>
        <p:txBody>
          <a:bodyPr wrap="square" anchor="ctr">
            <a:noAutofit/>
          </a:bodyPr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05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F567AC8-5F0D-8517-A648-2215646DD627}"/>
              </a:ext>
            </a:extLst>
          </p:cNvPr>
          <p:cNvSpPr>
            <a:spLocks noGrp="1"/>
          </p:cNvSpPr>
          <p:nvPr>
            <p:ph type="dt" sz="half" idx="37"/>
          </p:nvPr>
        </p:nvSpPr>
        <p:spPr/>
        <p:txBody>
          <a:bodyPr/>
          <a:lstStyle/>
          <a:p>
            <a:fld id="{B00C3AEC-68B0-414E-A707-0CA19EDE9534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B714724-5B06-8F02-6C92-B862E9669099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F0616C-E1F6-A9EF-1323-5E8DB41ABDD0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4" name="Titel 23">
            <a:extLst>
              <a:ext uri="{FF2B5EF4-FFF2-40B4-BE49-F238E27FC236}">
                <a16:creationId xmlns:a16="http://schemas.microsoft.com/office/drawing/2014/main" id="{BD2A2527-E1AC-136A-8C79-5175AA3AD3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553233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E30CA68-F695-303A-F8A8-D5955E19A1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70506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7" imgW="606" imgH="608" progId="TCLayout.ActiveDocument.1">
                  <p:embed/>
                </p:oleObj>
              </mc:Choice>
              <mc:Fallback>
                <p:oleObj name="think-cell Folie" r:id="rId47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15F0B8C-7B75-C704-8C54-CED4EBFF6C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11305257" cy="9361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4E0A802-A13F-A5E7-89AD-FF55B1BBC4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3371" y="1628800"/>
            <a:ext cx="11305257" cy="43564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0925F23-0260-622A-264C-03CB170ACB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96400" y="6273316"/>
            <a:ext cx="1296144" cy="360040"/>
          </a:xfrm>
          <a:prstGeom prst="rect">
            <a:avLst/>
          </a:prstGeom>
        </p:spPr>
        <p:txBody>
          <a:bodyPr vert="horz" wrap="none" lIns="91440" tIns="45720" rIns="0" bIns="45720" rtlCol="0" anchor="ctr">
            <a:noAutofit/>
          </a:bodyPr>
          <a:lstStyle>
            <a:lvl1pPr algn="r">
              <a:defRPr sz="1200">
                <a:solidFill>
                  <a:schemeClr val="accent5"/>
                </a:solidFill>
              </a:defRPr>
            </a:lvl1pPr>
          </a:lstStyle>
          <a:p>
            <a:fld id="{4CE2DB8F-2625-054A-A3C0-D0AD9134F4BD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E3EC046-952F-6159-AE93-5AC3A10302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3371" y="6273316"/>
            <a:ext cx="9037005" cy="36004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>
              <a:defRPr sz="1200">
                <a:solidFill>
                  <a:schemeClr val="accent5"/>
                </a:solidFill>
              </a:defRPr>
            </a:lvl1pPr>
          </a:lstStyle>
          <a:p>
            <a:r>
              <a:rPr lang="de-DE"/>
              <a:t>deas Folienmaster 2024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0F9C0C4-5DD7-58DB-6D5C-D11600966E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2565" y="6273316"/>
            <a:ext cx="576064" cy="36004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r">
              <a:defRPr sz="1200">
                <a:solidFill>
                  <a:schemeClr val="accent5"/>
                </a:solidFill>
                <a:latin typeface="+mj-lt"/>
              </a:defRPr>
            </a:lvl1pPr>
          </a:lstStyle>
          <a:p>
            <a:fld id="{CB58C3F2-3AE3-417E-B204-81AF71A0158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7437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661" r:id="rId2"/>
    <p:sldLayoutId id="2147483649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4" r:id="rId9"/>
    <p:sldLayoutId id="2147483803" r:id="rId10"/>
    <p:sldLayoutId id="2147483666" r:id="rId11"/>
    <p:sldLayoutId id="2147483668" r:id="rId12"/>
    <p:sldLayoutId id="2147483672" r:id="rId13"/>
    <p:sldLayoutId id="2147483818" r:id="rId14"/>
    <p:sldLayoutId id="2147483830" r:id="rId15"/>
    <p:sldLayoutId id="2147483831" r:id="rId16"/>
    <p:sldLayoutId id="2147483820" r:id="rId17"/>
    <p:sldLayoutId id="2147483670" r:id="rId18"/>
    <p:sldLayoutId id="2147483806" r:id="rId19"/>
    <p:sldLayoutId id="2147483805" r:id="rId20"/>
    <p:sldLayoutId id="2147483807" r:id="rId21"/>
    <p:sldLayoutId id="2147483808" r:id="rId22"/>
    <p:sldLayoutId id="2147483809" r:id="rId23"/>
    <p:sldLayoutId id="2147483653" r:id="rId24"/>
    <p:sldLayoutId id="2147483671" r:id="rId25"/>
    <p:sldLayoutId id="2147483817" r:id="rId26"/>
    <p:sldLayoutId id="2147483674" r:id="rId27"/>
    <p:sldLayoutId id="2147483811" r:id="rId28"/>
    <p:sldLayoutId id="2147483812" r:id="rId29"/>
    <p:sldLayoutId id="2147483810" r:id="rId30"/>
    <p:sldLayoutId id="2147483654" r:id="rId31"/>
    <p:sldLayoutId id="2147483813" r:id="rId32"/>
    <p:sldLayoutId id="2147483815" r:id="rId33"/>
    <p:sldLayoutId id="2147483816" r:id="rId34"/>
    <p:sldLayoutId id="2147483821" r:id="rId35"/>
    <p:sldLayoutId id="2147483822" r:id="rId36"/>
    <p:sldLayoutId id="2147483823" r:id="rId37"/>
    <p:sldLayoutId id="2147483829" r:id="rId38"/>
    <p:sldLayoutId id="2147483825" r:id="rId39"/>
    <p:sldLayoutId id="2147483826" r:id="rId40"/>
    <p:sldLayoutId id="2147483832" r:id="rId41"/>
    <p:sldLayoutId id="2147483833" r:id="rId42"/>
    <p:sldLayoutId id="2147483834" r:id="rId43"/>
    <p:sldLayoutId id="2147483835" r:id="rId44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500"/>
        </a:spcBef>
        <a:spcAft>
          <a:spcPts val="500"/>
        </a:spcAft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500"/>
        </a:spcAft>
        <a:buFont typeface="Arial" panose="020B0604020202020204" pitchFamily="34" charset="0"/>
        <a:buNone/>
        <a:defRPr sz="2000" b="1" kern="1200" cap="none" baseline="0">
          <a:solidFill>
            <a:schemeClr val="tx1"/>
          </a:solidFill>
          <a:latin typeface="+mj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500"/>
        </a:spcAft>
        <a:buFont typeface="Arial" panose="020B0604020202020204" pitchFamily="34" charset="0"/>
        <a:buNone/>
        <a:defRPr sz="1800" b="1" kern="1200" cap="all" baseline="0">
          <a:solidFill>
            <a:schemeClr val="tx1"/>
          </a:solidFill>
          <a:latin typeface="+mj-lt"/>
          <a:ea typeface="+mn-ea"/>
          <a:cs typeface="+mn-cs"/>
        </a:defRPr>
      </a:lvl6pPr>
      <a:lvl7pPr marL="0" indent="0" algn="l" defTabSz="914400" rtl="0" eaLnBrk="1" latinLnBrk="0" hangingPunct="1">
        <a:lnSpc>
          <a:spcPct val="120000"/>
        </a:lnSpc>
        <a:spcBef>
          <a:spcPts val="500"/>
        </a:spcBef>
        <a:spcAft>
          <a:spcPts val="500"/>
        </a:spcAft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7" userDrawn="1">
          <p15:clr>
            <a:srgbClr val="F26B43"/>
          </p15:clr>
        </p15:guide>
        <p15:guide id="2" pos="3840">
          <p15:clr>
            <a:srgbClr val="F26B43"/>
          </p15:clr>
        </p15:guide>
        <p15:guide id="3" pos="279" userDrawn="1">
          <p15:clr>
            <a:srgbClr val="F26B43"/>
          </p15:clr>
        </p15:guide>
        <p15:guide id="5" orient="horz" pos="255" userDrawn="1">
          <p15:clr>
            <a:srgbClr val="F26B43"/>
          </p15:clr>
        </p15:guide>
        <p15:guide id="6" pos="7401" userDrawn="1">
          <p15:clr>
            <a:srgbClr val="F26B43"/>
          </p15:clr>
        </p15:guide>
        <p15:guide id="7" orient="horz" pos="3770" userDrawn="1">
          <p15:clr>
            <a:srgbClr val="F26B43"/>
          </p15:clr>
        </p15:guide>
        <p15:guide id="8" orient="horz" pos="3952" userDrawn="1">
          <p15:clr>
            <a:srgbClr val="9FCC3B"/>
          </p15:clr>
        </p15:guide>
        <p15:guide id="9" orient="horz" pos="1026" userDrawn="1">
          <p15:clr>
            <a:srgbClr val="F26B43"/>
          </p15:clr>
        </p15:guide>
        <p15:guide id="10" orient="horz" pos="4178" userDrawn="1">
          <p15:clr>
            <a:srgbClr val="9FCC3B"/>
          </p15:clr>
        </p15:guide>
        <p15:guide id="11" orient="horz" pos="84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18" Type="http://schemas.openxmlformats.org/officeDocument/2006/relationships/image" Target="../media/image19.svg"/><Relationship Id="rId3" Type="http://schemas.openxmlformats.org/officeDocument/2006/relationships/slideLayout" Target="../slideLayouts/slideLayout41.xml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17" Type="http://schemas.openxmlformats.org/officeDocument/2006/relationships/image" Target="../media/image18.png"/><Relationship Id="rId2" Type="http://schemas.openxmlformats.org/officeDocument/2006/relationships/tags" Target="../tags/tag4.xml"/><Relationship Id="rId16" Type="http://schemas.openxmlformats.org/officeDocument/2006/relationships/image" Target="../media/image17.svg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6.png"/><Relationship Id="rId10" Type="http://schemas.openxmlformats.org/officeDocument/2006/relationships/image" Target="../media/image11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61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6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63.xml"/><Relationship Id="rId5" Type="http://schemas.openxmlformats.org/officeDocument/2006/relationships/image" Target="../media/image41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4.xml"/><Relationship Id="rId5" Type="http://schemas.openxmlformats.org/officeDocument/2006/relationships/image" Target="../media/image42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65.xml"/><Relationship Id="rId5" Type="http://schemas.openxmlformats.org/officeDocument/2006/relationships/image" Target="../media/image43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6.xml"/><Relationship Id="rId6" Type="http://schemas.openxmlformats.org/officeDocument/2006/relationships/image" Target="../media/image4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67.x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8.xml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18" Type="http://schemas.openxmlformats.org/officeDocument/2006/relationships/tags" Target="../tags/tag86.xml"/><Relationship Id="rId3" Type="http://schemas.openxmlformats.org/officeDocument/2006/relationships/tags" Target="../tags/tag71.xml"/><Relationship Id="rId21" Type="http://schemas.openxmlformats.org/officeDocument/2006/relationships/notesSlide" Target="../notesSlides/notesSlide8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20" Type="http://schemas.openxmlformats.org/officeDocument/2006/relationships/slideLayout" Target="../slideLayouts/slideLayout15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23" Type="http://schemas.openxmlformats.org/officeDocument/2006/relationships/image" Target="../media/image1.emf"/><Relationship Id="rId10" Type="http://schemas.openxmlformats.org/officeDocument/2006/relationships/tags" Target="../tags/tag78.xml"/><Relationship Id="rId19" Type="http://schemas.openxmlformats.org/officeDocument/2006/relationships/tags" Target="../tags/tag87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Relationship Id="rId22" Type="http://schemas.openxmlformats.org/officeDocument/2006/relationships/oleObject" Target="../embeddings/oleObject17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90.xml"/><Relationship Id="rId7" Type="http://schemas.openxmlformats.org/officeDocument/2006/relationships/tags" Target="../tags/tag94.xml"/><Relationship Id="rId12" Type="http://schemas.openxmlformats.org/officeDocument/2006/relationships/notesSlide" Target="../notesSlides/notesSlide9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11" Type="http://schemas.openxmlformats.org/officeDocument/2006/relationships/slideLayout" Target="../slideLayouts/slideLayout15.xml"/><Relationship Id="rId5" Type="http://schemas.openxmlformats.org/officeDocument/2006/relationships/tags" Target="../tags/tag92.xml"/><Relationship Id="rId15" Type="http://schemas.openxmlformats.org/officeDocument/2006/relationships/image" Target="../media/image20.png"/><Relationship Id="rId10" Type="http://schemas.openxmlformats.org/officeDocument/2006/relationships/tags" Target="../tags/tag97.xml"/><Relationship Id="rId4" Type="http://schemas.openxmlformats.org/officeDocument/2006/relationships/tags" Target="../tags/tag91.xml"/><Relationship Id="rId9" Type="http://schemas.openxmlformats.org/officeDocument/2006/relationships/tags" Target="../tags/tag96.xml"/><Relationship Id="rId1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image" Target="../media/image10.png"/><Relationship Id="rId26" Type="http://schemas.openxmlformats.org/officeDocument/2006/relationships/image" Target="../media/image18.png"/><Relationship Id="rId3" Type="http://schemas.openxmlformats.org/officeDocument/2006/relationships/tags" Target="../tags/tag7.xml"/><Relationship Id="rId21" Type="http://schemas.openxmlformats.org/officeDocument/2006/relationships/image" Target="../media/image13.svg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image" Target="../media/image9.svg"/><Relationship Id="rId25" Type="http://schemas.openxmlformats.org/officeDocument/2006/relationships/image" Target="../media/image17.svg"/><Relationship Id="rId2" Type="http://schemas.openxmlformats.org/officeDocument/2006/relationships/tags" Target="../tags/tag6.xml"/><Relationship Id="rId16" Type="http://schemas.openxmlformats.org/officeDocument/2006/relationships/image" Target="../media/image8.png"/><Relationship Id="rId20" Type="http://schemas.openxmlformats.org/officeDocument/2006/relationships/image" Target="../media/image12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image" Target="../media/image16.png"/><Relationship Id="rId5" Type="http://schemas.openxmlformats.org/officeDocument/2006/relationships/tags" Target="../tags/tag9.xml"/><Relationship Id="rId15" Type="http://schemas.openxmlformats.org/officeDocument/2006/relationships/notesSlide" Target="../notesSlides/notesSlide2.xml"/><Relationship Id="rId23" Type="http://schemas.openxmlformats.org/officeDocument/2006/relationships/image" Target="../media/image15.svg"/><Relationship Id="rId28" Type="http://schemas.openxmlformats.org/officeDocument/2006/relationships/image" Target="../media/image20.png"/><Relationship Id="rId10" Type="http://schemas.openxmlformats.org/officeDocument/2006/relationships/tags" Target="../tags/tag14.xml"/><Relationship Id="rId19" Type="http://schemas.openxmlformats.org/officeDocument/2006/relationships/image" Target="../media/image11.svg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slideLayout" Target="../slideLayouts/slideLayout42.xml"/><Relationship Id="rId22" Type="http://schemas.openxmlformats.org/officeDocument/2006/relationships/image" Target="../media/image14.png"/><Relationship Id="rId27" Type="http://schemas.openxmlformats.org/officeDocument/2006/relationships/image" Target="../media/image19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8.xml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tags" Target="../tags/tag111.xml"/><Relationship Id="rId18" Type="http://schemas.openxmlformats.org/officeDocument/2006/relationships/tags" Target="../tags/tag116.xml"/><Relationship Id="rId3" Type="http://schemas.openxmlformats.org/officeDocument/2006/relationships/tags" Target="../tags/tag101.xml"/><Relationship Id="rId21" Type="http://schemas.openxmlformats.org/officeDocument/2006/relationships/slideLayout" Target="../slideLayouts/slideLayout15.xml"/><Relationship Id="rId7" Type="http://schemas.openxmlformats.org/officeDocument/2006/relationships/tags" Target="../tags/tag105.xml"/><Relationship Id="rId12" Type="http://schemas.openxmlformats.org/officeDocument/2006/relationships/tags" Target="../tags/tag110.xml"/><Relationship Id="rId17" Type="http://schemas.openxmlformats.org/officeDocument/2006/relationships/tags" Target="../tags/tag115.xml"/><Relationship Id="rId2" Type="http://schemas.openxmlformats.org/officeDocument/2006/relationships/tags" Target="../tags/tag100.xml"/><Relationship Id="rId16" Type="http://schemas.openxmlformats.org/officeDocument/2006/relationships/tags" Target="../tags/tag114.xml"/><Relationship Id="rId20" Type="http://schemas.openxmlformats.org/officeDocument/2006/relationships/tags" Target="../tags/tag118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11" Type="http://schemas.openxmlformats.org/officeDocument/2006/relationships/tags" Target="../tags/tag109.xml"/><Relationship Id="rId24" Type="http://schemas.openxmlformats.org/officeDocument/2006/relationships/image" Target="../media/image1.emf"/><Relationship Id="rId5" Type="http://schemas.openxmlformats.org/officeDocument/2006/relationships/tags" Target="../tags/tag103.xml"/><Relationship Id="rId15" Type="http://schemas.openxmlformats.org/officeDocument/2006/relationships/tags" Target="../tags/tag113.xml"/><Relationship Id="rId23" Type="http://schemas.openxmlformats.org/officeDocument/2006/relationships/oleObject" Target="../embeddings/oleObject20.bin"/><Relationship Id="rId10" Type="http://schemas.openxmlformats.org/officeDocument/2006/relationships/tags" Target="../tags/tag108.xml"/><Relationship Id="rId19" Type="http://schemas.openxmlformats.org/officeDocument/2006/relationships/tags" Target="../tags/tag117.xml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tags" Target="../tags/tag112.xml"/><Relationship Id="rId22" Type="http://schemas.openxmlformats.org/officeDocument/2006/relationships/notesSlide" Target="../notesSlides/notesSlide1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13" Type="http://schemas.openxmlformats.org/officeDocument/2006/relationships/image" Target="../media/image1.emf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12" Type="http://schemas.openxmlformats.org/officeDocument/2006/relationships/oleObject" Target="../embeddings/oleObject21.bin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11" Type="http://schemas.openxmlformats.org/officeDocument/2006/relationships/notesSlide" Target="../notesSlides/notesSlide11.xml"/><Relationship Id="rId5" Type="http://schemas.openxmlformats.org/officeDocument/2006/relationships/tags" Target="../tags/tag123.xml"/><Relationship Id="rId10" Type="http://schemas.openxmlformats.org/officeDocument/2006/relationships/slideLayout" Target="../slideLayouts/slideLayout15.xml"/><Relationship Id="rId4" Type="http://schemas.openxmlformats.org/officeDocument/2006/relationships/tags" Target="../tags/tag122.xml"/><Relationship Id="rId9" Type="http://schemas.openxmlformats.org/officeDocument/2006/relationships/tags" Target="../tags/tag12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18" Type="http://schemas.openxmlformats.org/officeDocument/2006/relationships/slideLayout" Target="../slideLayouts/slideLayout15.xml"/><Relationship Id="rId3" Type="http://schemas.openxmlformats.org/officeDocument/2006/relationships/tags" Target="../tags/tag130.xml"/><Relationship Id="rId21" Type="http://schemas.openxmlformats.org/officeDocument/2006/relationships/image" Target="../media/image1.emf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17" Type="http://schemas.openxmlformats.org/officeDocument/2006/relationships/tags" Target="../tags/tag144.xml"/><Relationship Id="rId2" Type="http://schemas.openxmlformats.org/officeDocument/2006/relationships/tags" Target="../tags/tag129.xml"/><Relationship Id="rId16" Type="http://schemas.openxmlformats.org/officeDocument/2006/relationships/tags" Target="../tags/tag143.xml"/><Relationship Id="rId20" Type="http://schemas.openxmlformats.org/officeDocument/2006/relationships/oleObject" Target="../embeddings/oleObject22.bin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5" Type="http://schemas.openxmlformats.org/officeDocument/2006/relationships/tags" Target="../tags/tag142.xml"/><Relationship Id="rId10" Type="http://schemas.openxmlformats.org/officeDocument/2006/relationships/tags" Target="../tags/tag137.xml"/><Relationship Id="rId19" Type="http://schemas.openxmlformats.org/officeDocument/2006/relationships/notesSlide" Target="../notesSlides/notesSlide12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tags" Target="../tags/tag14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52.xml"/><Relationship Id="rId13" Type="http://schemas.openxmlformats.org/officeDocument/2006/relationships/image" Target="../media/image1.emf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12" Type="http://schemas.openxmlformats.org/officeDocument/2006/relationships/oleObject" Target="../embeddings/oleObject23.bin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11" Type="http://schemas.openxmlformats.org/officeDocument/2006/relationships/notesSlide" Target="../notesSlides/notesSlide13.xml"/><Relationship Id="rId5" Type="http://schemas.openxmlformats.org/officeDocument/2006/relationships/tags" Target="../tags/tag149.xml"/><Relationship Id="rId10" Type="http://schemas.openxmlformats.org/officeDocument/2006/relationships/slideLayout" Target="../slideLayouts/slideLayout15.xml"/><Relationship Id="rId4" Type="http://schemas.openxmlformats.org/officeDocument/2006/relationships/tags" Target="../tags/tag148.xml"/><Relationship Id="rId9" Type="http://schemas.openxmlformats.org/officeDocument/2006/relationships/tags" Target="../tags/tag15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slideLayout" Target="../slideLayouts/slideLayout15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17" Type="http://schemas.openxmlformats.org/officeDocument/2006/relationships/image" Target="../media/image47.png"/><Relationship Id="rId2" Type="http://schemas.openxmlformats.org/officeDocument/2006/relationships/tags" Target="../tags/tag155.xml"/><Relationship Id="rId16" Type="http://schemas.openxmlformats.org/officeDocument/2006/relationships/image" Target="../media/image1.emf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5" Type="http://schemas.openxmlformats.org/officeDocument/2006/relationships/tags" Target="../tags/tag158.xml"/><Relationship Id="rId15" Type="http://schemas.openxmlformats.org/officeDocument/2006/relationships/oleObject" Target="../embeddings/oleObject24.bin"/><Relationship Id="rId10" Type="http://schemas.openxmlformats.org/officeDocument/2006/relationships/tags" Target="../tags/tag163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notesSlide" Target="../notesSlides/notesSlide1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8.xml"/><Relationship Id="rId7" Type="http://schemas.openxmlformats.org/officeDocument/2006/relationships/oleObject" Target="../embeddings/oleObject25.bin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6.xml"/><Relationship Id="rId10" Type="http://schemas.openxmlformats.org/officeDocument/2006/relationships/image" Target="../media/image49.svg"/><Relationship Id="rId4" Type="http://schemas.openxmlformats.org/officeDocument/2006/relationships/tags" Target="../tags/tag169.xml"/><Relationship Id="rId9" Type="http://schemas.openxmlformats.org/officeDocument/2006/relationships/image" Target="../media/image4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13" Type="http://schemas.openxmlformats.org/officeDocument/2006/relationships/image" Target="../media/image20.png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12" Type="http://schemas.openxmlformats.org/officeDocument/2006/relationships/image" Target="../media/image51.svg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11" Type="http://schemas.openxmlformats.org/officeDocument/2006/relationships/image" Target="../media/image50.png"/><Relationship Id="rId5" Type="http://schemas.openxmlformats.org/officeDocument/2006/relationships/tags" Target="../tags/tag174.xml"/><Relationship Id="rId10" Type="http://schemas.openxmlformats.org/officeDocument/2006/relationships/notesSlide" Target="../notesSlides/notesSlide16.xml"/><Relationship Id="rId4" Type="http://schemas.openxmlformats.org/officeDocument/2006/relationships/tags" Target="../tags/tag173.xml"/><Relationship Id="rId9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78.xml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186.xml"/><Relationship Id="rId13" Type="http://schemas.openxmlformats.org/officeDocument/2006/relationships/tags" Target="../tags/tag191.xml"/><Relationship Id="rId18" Type="http://schemas.openxmlformats.org/officeDocument/2006/relationships/slideLayout" Target="../slideLayouts/slideLayout15.xml"/><Relationship Id="rId3" Type="http://schemas.openxmlformats.org/officeDocument/2006/relationships/tags" Target="../tags/tag181.xml"/><Relationship Id="rId21" Type="http://schemas.openxmlformats.org/officeDocument/2006/relationships/image" Target="../media/image1.emf"/><Relationship Id="rId7" Type="http://schemas.openxmlformats.org/officeDocument/2006/relationships/tags" Target="../tags/tag185.xml"/><Relationship Id="rId12" Type="http://schemas.openxmlformats.org/officeDocument/2006/relationships/tags" Target="../tags/tag190.xml"/><Relationship Id="rId17" Type="http://schemas.openxmlformats.org/officeDocument/2006/relationships/tags" Target="../tags/tag195.xml"/><Relationship Id="rId2" Type="http://schemas.openxmlformats.org/officeDocument/2006/relationships/tags" Target="../tags/tag180.xml"/><Relationship Id="rId16" Type="http://schemas.openxmlformats.org/officeDocument/2006/relationships/tags" Target="../tags/tag194.xml"/><Relationship Id="rId20" Type="http://schemas.openxmlformats.org/officeDocument/2006/relationships/oleObject" Target="../embeddings/oleObject27.bin"/><Relationship Id="rId1" Type="http://schemas.openxmlformats.org/officeDocument/2006/relationships/tags" Target="../tags/tag179.xml"/><Relationship Id="rId6" Type="http://schemas.openxmlformats.org/officeDocument/2006/relationships/tags" Target="../tags/tag184.xml"/><Relationship Id="rId11" Type="http://schemas.openxmlformats.org/officeDocument/2006/relationships/tags" Target="../tags/tag189.xml"/><Relationship Id="rId5" Type="http://schemas.openxmlformats.org/officeDocument/2006/relationships/tags" Target="../tags/tag183.xml"/><Relationship Id="rId15" Type="http://schemas.openxmlformats.org/officeDocument/2006/relationships/tags" Target="../tags/tag193.xml"/><Relationship Id="rId10" Type="http://schemas.openxmlformats.org/officeDocument/2006/relationships/tags" Target="../tags/tag188.xml"/><Relationship Id="rId19" Type="http://schemas.openxmlformats.org/officeDocument/2006/relationships/notesSlide" Target="../notesSlides/notesSlide17.xml"/><Relationship Id="rId4" Type="http://schemas.openxmlformats.org/officeDocument/2006/relationships/tags" Target="../tags/tag182.xml"/><Relationship Id="rId9" Type="http://schemas.openxmlformats.org/officeDocument/2006/relationships/tags" Target="../tags/tag187.xml"/><Relationship Id="rId14" Type="http://schemas.openxmlformats.org/officeDocument/2006/relationships/tags" Target="../tags/tag19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8.xml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8.xml"/><Relationship Id="rId7" Type="http://schemas.openxmlformats.org/officeDocument/2006/relationships/oleObject" Target="../embeddings/oleObject28.bin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notesSlide" Target="../notesSlides/notesSlide18.xml"/><Relationship Id="rId11" Type="http://schemas.openxmlformats.org/officeDocument/2006/relationships/image" Target="../media/image54.svg"/><Relationship Id="rId5" Type="http://schemas.openxmlformats.org/officeDocument/2006/relationships/slideLayout" Target="../slideLayouts/slideLayout21.xml"/><Relationship Id="rId10" Type="http://schemas.openxmlformats.org/officeDocument/2006/relationships/image" Target="../media/image53.png"/><Relationship Id="rId4" Type="http://schemas.openxmlformats.org/officeDocument/2006/relationships/tags" Target="../tags/tag199.xml"/><Relationship Id="rId9" Type="http://schemas.openxmlformats.org/officeDocument/2006/relationships/image" Target="../media/image5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emf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2.png"/><Relationship Id="rId12" Type="http://schemas.openxmlformats.org/officeDocument/2006/relationships/image" Target="../media/image27.emf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31.jpeg"/><Relationship Id="rId1" Type="http://schemas.openxmlformats.org/officeDocument/2006/relationships/tags" Target="../tags/tag19.xml"/><Relationship Id="rId6" Type="http://schemas.openxmlformats.org/officeDocument/2006/relationships/image" Target="../media/image21.emf"/><Relationship Id="rId11" Type="http://schemas.openxmlformats.org/officeDocument/2006/relationships/image" Target="../media/image26.svg"/><Relationship Id="rId5" Type="http://schemas.openxmlformats.org/officeDocument/2006/relationships/image" Target="../media/image1.emf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24.png"/><Relationship Id="rId14" Type="http://schemas.openxmlformats.org/officeDocument/2006/relationships/image" Target="../media/image2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0.xml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" Type="http://schemas.openxmlformats.org/officeDocument/2006/relationships/tags" Target="../tags/tag23.xml"/><Relationship Id="rId21" Type="http://schemas.openxmlformats.org/officeDocument/2006/relationships/notesSlide" Target="../notesSlides/notesSlide4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slideLayout" Target="../slideLayouts/slideLayout15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image" Target="../media/image1.emf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3" Type="http://schemas.openxmlformats.org/officeDocument/2006/relationships/tags" Target="../tags/tag42.xml"/><Relationship Id="rId21" Type="http://schemas.openxmlformats.org/officeDocument/2006/relationships/notesSlide" Target="../notesSlides/notesSlide5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slideLayout" Target="../slideLayouts/slideLayout15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image" Target="../media/image20.png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image" Target="../media/image1.emf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9.xml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0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EB0F63F-7BA7-4F82-E042-6CDDE0D080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4421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606" imgH="608" progId="TCLayout.ActiveDocument.1">
                  <p:embed/>
                </p:oleObj>
              </mc:Choice>
              <mc:Fallback>
                <p:oleObj name="think-cell Folie" r:id="rId5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99C2455D-4BBA-4FC1-BD04-6E8EE2590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3571" y="3429000"/>
            <a:ext cx="6804757" cy="1764196"/>
          </a:xfrm>
        </p:spPr>
        <p:txBody>
          <a:bodyPr vert="horz"/>
          <a:lstStyle/>
          <a:p>
            <a:pPr algn="ctr">
              <a:lnSpc>
                <a:spcPct val="100000"/>
              </a:lnSpc>
            </a:pPr>
            <a:r>
              <a:rPr lang="de-DE" sz="2800" cap="none" dirty="0"/>
              <a:t>Aktuelle Entwicklungen im Bereich der Haftpflichtversicherungen </a:t>
            </a:r>
            <a:br>
              <a:rPr lang="de-DE" sz="2800" cap="none" dirty="0"/>
            </a:br>
            <a:r>
              <a:rPr lang="de-DE" sz="2800" cap="none" dirty="0"/>
              <a:t>aus Sicht des Maklers und Zedenten, </a:t>
            </a:r>
            <a:br>
              <a:rPr lang="de-DE" sz="2800" cap="none" dirty="0"/>
            </a:br>
            <a:r>
              <a:rPr lang="de-DE" sz="2800" cap="none" dirty="0"/>
              <a:t>insbes. US </a:t>
            </a:r>
            <a:r>
              <a:rPr lang="de-DE" sz="2800" cap="none" dirty="0" err="1"/>
              <a:t>Casualty</a:t>
            </a:r>
            <a:endParaRPr lang="de-DE" sz="2800" cap="non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3BDAE4C-FDA2-9ED2-B88E-0B26461845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43572" y="5553236"/>
            <a:ext cx="6804757" cy="828092"/>
          </a:xfrm>
        </p:spPr>
        <p:txBody>
          <a:bodyPr/>
          <a:lstStyle/>
          <a:p>
            <a:r>
              <a:rPr lang="de-DE" dirty="0"/>
              <a:t>Jörg Linnert, Leiter Haftpflicht/Unfall/Rechtsschutz </a:t>
            </a:r>
            <a:br>
              <a:rPr lang="de-DE" dirty="0"/>
            </a:br>
            <a:r>
              <a:rPr lang="de-DE" dirty="0" err="1"/>
              <a:t>deas</a:t>
            </a:r>
            <a:r>
              <a:rPr lang="de-DE" dirty="0"/>
              <a:t> Deutsche Assekuranzmakler GmbH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8031FEF-087D-AF4E-6420-79856A2AA6EE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2243572" y="6453336"/>
            <a:ext cx="6804757" cy="288032"/>
          </a:xfrm>
        </p:spPr>
        <p:txBody>
          <a:bodyPr/>
          <a:lstStyle/>
          <a:p>
            <a:r>
              <a:rPr lang="de-DE" dirty="0"/>
              <a:t>München, 11. März 2025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EC5B465A-5D43-4978-5C10-225B6BE51A79}"/>
              </a:ext>
            </a:extLst>
          </p:cNvPr>
          <p:cNvGrpSpPr/>
          <p:nvPr/>
        </p:nvGrpSpPr>
        <p:grpSpPr>
          <a:xfrm>
            <a:off x="-744760" y="6820172"/>
            <a:ext cx="9493351" cy="5472408"/>
            <a:chOff x="-4483533" y="-327535"/>
            <a:chExt cx="13909180" cy="8017896"/>
          </a:xfrm>
        </p:grpSpPr>
        <p:pic>
          <p:nvPicPr>
            <p:cNvPr id="5" name="Graphic 61">
              <a:extLst>
                <a:ext uri="{FF2B5EF4-FFF2-40B4-BE49-F238E27FC236}">
                  <a16:creationId xmlns:a16="http://schemas.microsoft.com/office/drawing/2014/main" id="{ADE1B630-6DA5-38D6-3729-0BB7513A643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302929">
              <a:off x="-4483533" y="-327535"/>
              <a:ext cx="13909180" cy="8017896"/>
            </a:xfrm>
            <a:prstGeom prst="rect">
              <a:avLst/>
            </a:prstGeom>
          </p:spPr>
        </p:pic>
        <p:pic>
          <p:nvPicPr>
            <p:cNvPr id="8" name="Graphic 63">
              <a:extLst>
                <a:ext uri="{FF2B5EF4-FFF2-40B4-BE49-F238E27FC236}">
                  <a16:creationId xmlns:a16="http://schemas.microsoft.com/office/drawing/2014/main" id="{1340FD52-E48C-76D9-5A78-48E2891F726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434949" y="4029053"/>
              <a:ext cx="1116243" cy="1116243"/>
            </a:xfrm>
            <a:prstGeom prst="rect">
              <a:avLst/>
            </a:prstGeom>
          </p:spPr>
        </p:pic>
        <p:grpSp>
          <p:nvGrpSpPr>
            <p:cNvPr id="9" name="Group 3">
              <a:extLst>
                <a:ext uri="{FF2B5EF4-FFF2-40B4-BE49-F238E27FC236}">
                  <a16:creationId xmlns:a16="http://schemas.microsoft.com/office/drawing/2014/main" id="{63AAB4FC-A762-3E54-AB8D-A5F8E89B436F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7508317" y="788811"/>
              <a:ext cx="1233828" cy="1401140"/>
              <a:chOff x="9759210" y="1088292"/>
              <a:chExt cx="956611" cy="1086331"/>
            </a:xfrm>
          </p:grpSpPr>
          <p:pic>
            <p:nvPicPr>
              <p:cNvPr id="13" name="Graphic 62">
                <a:extLst>
                  <a:ext uri="{FF2B5EF4-FFF2-40B4-BE49-F238E27FC236}">
                    <a16:creationId xmlns:a16="http://schemas.microsoft.com/office/drawing/2014/main" id="{9F8DA22A-2837-C3F3-A565-4F8A66E99D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 rot="19368955">
                <a:off x="10188577" y="1088292"/>
                <a:ext cx="527244" cy="481396"/>
              </a:xfrm>
              <a:prstGeom prst="rect">
                <a:avLst/>
              </a:prstGeom>
            </p:spPr>
          </p:pic>
          <p:pic>
            <p:nvPicPr>
              <p:cNvPr id="14" name="Graphic 65">
                <a:extLst>
                  <a:ext uri="{FF2B5EF4-FFF2-40B4-BE49-F238E27FC236}">
                    <a16:creationId xmlns:a16="http://schemas.microsoft.com/office/drawing/2014/main" id="{4BE14D49-5D64-1656-4607-6EF76DD25F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9759210" y="1250698"/>
                <a:ext cx="619125" cy="923925"/>
              </a:xfrm>
              <a:prstGeom prst="rect">
                <a:avLst/>
              </a:prstGeom>
            </p:spPr>
          </p:pic>
        </p:grpSp>
        <p:grpSp>
          <p:nvGrpSpPr>
            <p:cNvPr id="10" name="Group 2">
              <a:extLst>
                <a:ext uri="{FF2B5EF4-FFF2-40B4-BE49-F238E27FC236}">
                  <a16:creationId xmlns:a16="http://schemas.microsoft.com/office/drawing/2014/main" id="{E272CA2C-AB6E-CD9E-A60C-354A10B064B1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6400799" y="2299317"/>
              <a:ext cx="1168209" cy="1373346"/>
              <a:chOff x="8479021" y="2909887"/>
              <a:chExt cx="829131" cy="974726"/>
            </a:xfrm>
          </p:grpSpPr>
          <p:pic>
            <p:nvPicPr>
              <p:cNvPr id="11" name="Graphic 64">
                <a:extLst>
                  <a:ext uri="{FF2B5EF4-FFF2-40B4-BE49-F238E27FC236}">
                    <a16:creationId xmlns:a16="http://schemas.microsoft.com/office/drawing/2014/main" id="{2E22E3A0-D563-23C0-DA1A-6ADCD410E4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8479021" y="3101975"/>
                <a:ext cx="829131" cy="782638"/>
              </a:xfrm>
              <a:prstGeom prst="rect">
                <a:avLst/>
              </a:prstGeom>
            </p:spPr>
          </p:pic>
          <p:pic>
            <p:nvPicPr>
              <p:cNvPr id="12" name="Graphic 66">
                <a:extLst>
                  <a:ext uri="{FF2B5EF4-FFF2-40B4-BE49-F238E27FC236}">
                    <a16:creationId xmlns:a16="http://schemas.microsoft.com/office/drawing/2014/main" id="{E85991BF-EE88-B759-1C38-B854051B3A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9056687" y="2909887"/>
                <a:ext cx="200025" cy="200025"/>
              </a:xfrm>
              <a:prstGeom prst="rect">
                <a:avLst/>
              </a:prstGeom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249662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DBEB3B65-AB02-298D-F57F-B328778F57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2617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06" imgH="608" progId="TCLayout.ActiveDocument.1">
                  <p:embed/>
                </p:oleObj>
              </mc:Choice>
              <mc:Fallback>
                <p:oleObj name="think-cell Folie" r:id="rId3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5014AF2-1FDF-F09F-F36F-90E3192C91C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90B93C8-7499-4F48-A73B-577EB51BF8EB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4E14AF0-E7BA-5DD3-BCCC-62DF193F5BD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613BA17-1DAD-5471-7650-DBD061BE16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US </a:t>
            </a:r>
            <a:r>
              <a:rPr lang="de-DE" dirty="0" err="1"/>
              <a:t>Casualty</a:t>
            </a:r>
            <a:r>
              <a:rPr lang="de-DE" dirty="0"/>
              <a:t> – das kritische Thema</a:t>
            </a:r>
          </a:p>
        </p:txBody>
      </p:sp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B9C467FE-203F-069B-B046-A1D73B76AE2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5"/>
          <a:srcRect l="267" r="257"/>
          <a:stretch/>
        </p:blipFill>
        <p:spPr>
          <a:xfrm>
            <a:off x="5124352" y="536575"/>
            <a:ext cx="6624736" cy="28924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ACA7C48E-519D-F47B-335C-EDFB44BA8F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7640" y="3573016"/>
            <a:ext cx="5158828" cy="22022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94EB1192-F5D9-9A08-696F-3B977BD507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19550" y="3789040"/>
            <a:ext cx="5541047" cy="24540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7" name="Textfeld 26">
            <a:extLst>
              <a:ext uri="{FF2B5EF4-FFF2-40B4-BE49-F238E27FC236}">
                <a16:creationId xmlns:a16="http://schemas.microsoft.com/office/drawing/2014/main" id="{46BDAC51-C769-2E58-FAB5-7506EF89AD81}"/>
              </a:ext>
            </a:extLst>
          </p:cNvPr>
          <p:cNvSpPr txBox="1"/>
          <p:nvPr/>
        </p:nvSpPr>
        <p:spPr>
          <a:xfrm>
            <a:off x="343122" y="6381328"/>
            <a:ext cx="609372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1200" dirty="0">
                <a:solidFill>
                  <a:schemeClr val="bg1"/>
                </a:solidFill>
              </a:rPr>
              <a:t>Quelle 2: Marathon </a:t>
            </a:r>
            <a:r>
              <a:rPr lang="de-DE" sz="1200" dirty="0" err="1">
                <a:solidFill>
                  <a:schemeClr val="bg1"/>
                </a:solidFill>
              </a:rPr>
              <a:t>Strategies</a:t>
            </a:r>
            <a:r>
              <a:rPr lang="de-DE" sz="1200" dirty="0">
                <a:solidFill>
                  <a:schemeClr val="bg1"/>
                </a:solidFill>
              </a:rPr>
              <a:t> – Corporate </a:t>
            </a:r>
            <a:r>
              <a:rPr lang="de-DE" sz="1200" dirty="0" err="1">
                <a:solidFill>
                  <a:schemeClr val="bg1"/>
                </a:solidFill>
              </a:rPr>
              <a:t>Verdicts</a:t>
            </a:r>
            <a:r>
              <a:rPr lang="de-DE" sz="1200" dirty="0">
                <a:solidFill>
                  <a:schemeClr val="bg1"/>
                </a:solidFill>
              </a:rPr>
              <a:t> Go </a:t>
            </a:r>
            <a:r>
              <a:rPr lang="de-DE" sz="1200" dirty="0" err="1">
                <a:solidFill>
                  <a:schemeClr val="bg1"/>
                </a:solidFill>
              </a:rPr>
              <a:t>Thermonuclear</a:t>
            </a:r>
            <a:endParaRPr lang="de-DE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9022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AC3F93B-B1E7-BCCC-3927-7B29850589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797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06" imgH="608" progId="TCLayout.ActiveDocument.1">
                  <p:embed/>
                </p:oleObj>
              </mc:Choice>
              <mc:Fallback>
                <p:oleObj name="think-cell Folie" r:id="rId3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A5494DE-F65D-BA58-A0AF-48067FAA63E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52084D-14F3-184C-82FF-61A4923091B2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5FA7A7-230D-1044-A021-858133A336D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4A5EDB74-3E63-4311-24A2-A4F98245573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 l="-36" r="313"/>
          <a:stretch/>
        </p:blipFill>
        <p:spPr>
          <a:xfrm>
            <a:off x="434982" y="1484784"/>
            <a:ext cx="4895404" cy="22703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739CAE04-36C2-7C10-DB3B-B9D25AE5559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/>
          <a:srcRect l="13" r="155"/>
          <a:stretch/>
        </p:blipFill>
        <p:spPr>
          <a:xfrm>
            <a:off x="443371" y="4073654"/>
            <a:ext cx="5150171" cy="22014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5536BCD2-5D23-163E-CA9C-1A6E965387F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7"/>
          <a:srcRect t="793" b="338"/>
          <a:stretch/>
        </p:blipFill>
        <p:spPr>
          <a:xfrm>
            <a:off x="6504735" y="797741"/>
            <a:ext cx="5335357" cy="52625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Titel 6">
            <a:extLst>
              <a:ext uri="{FF2B5EF4-FFF2-40B4-BE49-F238E27FC236}">
                <a16:creationId xmlns:a16="http://schemas.microsoft.com/office/drawing/2014/main" id="{C62B3660-DC36-C6B3-F688-8F308DB7A7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5033097" cy="936104"/>
          </a:xfrm>
        </p:spPr>
        <p:txBody>
          <a:bodyPr vert="horz"/>
          <a:lstStyle/>
          <a:p>
            <a:r>
              <a:rPr lang="de-DE" dirty="0"/>
              <a:t>US </a:t>
            </a:r>
            <a:r>
              <a:rPr lang="de-DE" dirty="0" err="1"/>
              <a:t>Casualty</a:t>
            </a:r>
            <a:r>
              <a:rPr lang="de-DE" dirty="0"/>
              <a:t> – das kritische Thema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4CAB7322-FFAD-6553-8EA6-CBB0E03BA645}"/>
              </a:ext>
            </a:extLst>
          </p:cNvPr>
          <p:cNvSpPr txBox="1"/>
          <p:nvPr/>
        </p:nvSpPr>
        <p:spPr>
          <a:xfrm>
            <a:off x="383715" y="6421870"/>
            <a:ext cx="61210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1200" dirty="0"/>
              <a:t>Quelle 3: </a:t>
            </a:r>
            <a:r>
              <a:rPr lang="de-DE" sz="1200" dirty="0" err="1"/>
              <a:t>Lockton</a:t>
            </a:r>
            <a:r>
              <a:rPr lang="de-DE" sz="1200" dirty="0"/>
              <a:t> Market Update </a:t>
            </a:r>
            <a:r>
              <a:rPr lang="de-DE" sz="1200" dirty="0" err="1"/>
              <a:t>December</a:t>
            </a:r>
            <a:r>
              <a:rPr lang="de-DE" sz="1200" dirty="0"/>
              <a:t> 2024</a:t>
            </a:r>
          </a:p>
        </p:txBody>
      </p:sp>
    </p:spTree>
    <p:extLst>
      <p:ext uri="{BB962C8B-B14F-4D97-AF65-F5344CB8AC3E}">
        <p14:creationId xmlns:p14="http://schemas.microsoft.com/office/powerpoint/2010/main" val="5700081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DA1AEDF-9F8B-2D85-2617-8B734407D3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2473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06" imgH="608" progId="TCLayout.ActiveDocument.1">
                  <p:embed/>
                </p:oleObj>
              </mc:Choice>
              <mc:Fallback>
                <p:oleObj name="think-cell Folie" r:id="rId3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7BAF47-ECE8-349D-872F-CB4586EFC54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7C06551-0BCA-F54C-91CE-6A5C28CB1F48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BC830DE-0FCB-C273-06B0-4ABE2BB9D66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B9FFE76-D11C-B592-66C6-FFB2048E4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US </a:t>
            </a:r>
            <a:r>
              <a:rPr lang="de-DE" dirty="0" err="1"/>
              <a:t>Casualty</a:t>
            </a:r>
            <a:r>
              <a:rPr lang="de-DE" dirty="0"/>
              <a:t> – das </a:t>
            </a:r>
            <a:br>
              <a:rPr lang="de-DE" dirty="0"/>
            </a:br>
            <a:r>
              <a:rPr lang="de-DE" dirty="0"/>
              <a:t>kritische Thema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F344BCA-09FC-C20A-0C2D-2FDAF198D1BD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r>
              <a:rPr lang="de-DE" sz="2000" b="1" dirty="0" err="1"/>
              <a:t>What</a:t>
            </a:r>
            <a:r>
              <a:rPr lang="de-DE" sz="2000" b="1" dirty="0"/>
              <a:t> </a:t>
            </a:r>
            <a:r>
              <a:rPr lang="de-DE" sz="2000" b="1" dirty="0" err="1"/>
              <a:t>is</a:t>
            </a:r>
            <a:r>
              <a:rPr lang="de-DE" sz="2000" b="1" dirty="0"/>
              <a:t> </a:t>
            </a:r>
            <a:r>
              <a:rPr lang="de-DE" sz="2000" b="1" dirty="0" err="1"/>
              <a:t>the</a:t>
            </a:r>
            <a:r>
              <a:rPr lang="de-DE" sz="2000" b="1" dirty="0"/>
              <a:t> </a:t>
            </a:r>
            <a:r>
              <a:rPr lang="de-DE" sz="2000" b="1" dirty="0" err="1"/>
              <a:t>reptile</a:t>
            </a:r>
            <a:r>
              <a:rPr lang="de-DE" sz="2000" b="1" dirty="0"/>
              <a:t> </a:t>
            </a:r>
            <a:r>
              <a:rPr lang="de-DE" sz="2000" b="1" dirty="0" err="1"/>
              <a:t>theory</a:t>
            </a:r>
            <a:r>
              <a:rPr lang="de-DE" sz="2000" b="1" dirty="0"/>
              <a:t>?</a:t>
            </a:r>
            <a:br>
              <a:rPr lang="de-DE" dirty="0"/>
            </a:br>
            <a:br>
              <a:rPr lang="de-DE" dirty="0"/>
            </a:br>
            <a:r>
              <a:rPr lang="de-DE" dirty="0" err="1"/>
              <a:t>Essentially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Reptile Approach </a:t>
            </a:r>
            <a:r>
              <a:rPr lang="de-DE" b="1" dirty="0" err="1"/>
              <a:t>suggests</a:t>
            </a:r>
            <a:r>
              <a:rPr lang="de-DE" b="1" dirty="0"/>
              <a:t> </a:t>
            </a:r>
            <a:r>
              <a:rPr lang="de-DE" b="1" dirty="0" err="1"/>
              <a:t>jurors</a:t>
            </a:r>
            <a:r>
              <a:rPr lang="de-DE" b="1" dirty="0"/>
              <a:t> </a:t>
            </a:r>
            <a:r>
              <a:rPr lang="de-DE" b="1" dirty="0" err="1"/>
              <a:t>should</a:t>
            </a:r>
            <a:r>
              <a:rPr lang="de-DE" b="1" dirty="0"/>
              <a:t> </a:t>
            </a:r>
            <a:r>
              <a:rPr lang="de-DE" b="1" dirty="0" err="1"/>
              <a:t>award</a:t>
            </a:r>
            <a:r>
              <a:rPr lang="de-DE" b="1" dirty="0"/>
              <a:t> </a:t>
            </a:r>
            <a:r>
              <a:rPr lang="de-DE" b="1" dirty="0" err="1"/>
              <a:t>damages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punish</a:t>
            </a:r>
            <a:r>
              <a:rPr lang="de-DE" b="1" dirty="0"/>
              <a:t> </a:t>
            </a:r>
            <a:r>
              <a:rPr lang="de-DE" b="1" dirty="0" err="1"/>
              <a:t>defendants</a:t>
            </a:r>
            <a:r>
              <a:rPr lang="de-DE" b="1" dirty="0"/>
              <a:t> </a:t>
            </a:r>
            <a:r>
              <a:rPr lang="de-DE" b="1" dirty="0" err="1"/>
              <a:t>while</a:t>
            </a:r>
            <a:r>
              <a:rPr lang="de-DE" b="1" dirty="0"/>
              <a:t> </a:t>
            </a:r>
            <a:r>
              <a:rPr lang="de-DE" b="1" dirty="0" err="1"/>
              <a:t>deterring</a:t>
            </a:r>
            <a:r>
              <a:rPr lang="de-DE" b="1" dirty="0"/>
              <a:t> </a:t>
            </a:r>
            <a:r>
              <a:rPr lang="de-DE" b="1" dirty="0" err="1"/>
              <a:t>other</a:t>
            </a:r>
            <a:r>
              <a:rPr lang="de-DE" b="1" dirty="0"/>
              <a:t> </a:t>
            </a:r>
            <a:r>
              <a:rPr lang="de-DE" b="1" dirty="0" err="1"/>
              <a:t>bad</a:t>
            </a:r>
            <a:r>
              <a:rPr lang="de-DE" b="1" dirty="0"/>
              <a:t> </a:t>
            </a:r>
            <a:r>
              <a:rPr lang="de-DE" b="1" dirty="0" err="1"/>
              <a:t>actors</a:t>
            </a:r>
            <a:r>
              <a:rPr lang="de-DE" b="1" dirty="0"/>
              <a:t>. </a:t>
            </a:r>
            <a:r>
              <a:rPr lang="de-DE" dirty="0" err="1"/>
              <a:t>Sometimes</a:t>
            </a:r>
            <a:r>
              <a:rPr lang="de-DE" dirty="0"/>
              <a:t>, </a:t>
            </a:r>
            <a:r>
              <a:rPr lang="de-DE" dirty="0" err="1"/>
              <a:t>attorneys</a:t>
            </a:r>
            <a:r>
              <a:rPr lang="de-DE" dirty="0"/>
              <a:t> will </a:t>
            </a:r>
            <a:r>
              <a:rPr lang="de-DE" dirty="0" err="1"/>
              <a:t>suggest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without</a:t>
            </a:r>
            <a:r>
              <a:rPr lang="de-DE" dirty="0"/>
              <a:t> a „proper“ </a:t>
            </a:r>
            <a:r>
              <a:rPr lang="de-DE" dirty="0" err="1"/>
              <a:t>verdict</a:t>
            </a:r>
            <a:r>
              <a:rPr lang="de-DE" dirty="0"/>
              <a:t> </a:t>
            </a:r>
            <a:r>
              <a:rPr lang="de-DE" dirty="0" err="1"/>
              <a:t>featuring</a:t>
            </a:r>
            <a:r>
              <a:rPr lang="de-DE" dirty="0"/>
              <a:t> an „</a:t>
            </a:r>
            <a:r>
              <a:rPr lang="de-DE" dirty="0" err="1"/>
              <a:t>appropriate</a:t>
            </a:r>
            <a:r>
              <a:rPr lang="de-DE" dirty="0"/>
              <a:t>“ </a:t>
            </a:r>
            <a:r>
              <a:rPr lang="de-DE" dirty="0" err="1"/>
              <a:t>punishment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nger</a:t>
            </a:r>
            <a:r>
              <a:rPr lang="de-DE" dirty="0"/>
              <a:t> </a:t>
            </a:r>
            <a:r>
              <a:rPr lang="de-DE" dirty="0" err="1"/>
              <a:t>fac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ublic</a:t>
            </a:r>
            <a:r>
              <a:rPr lang="de-DE" dirty="0"/>
              <a:t> will </a:t>
            </a:r>
            <a:r>
              <a:rPr lang="de-DE" dirty="0" err="1"/>
              <a:t>actually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worsened</a:t>
            </a:r>
            <a:r>
              <a:rPr lang="de-DE" dirty="0"/>
              <a:t>.</a:t>
            </a:r>
            <a:br>
              <a:rPr lang="de-DE" dirty="0"/>
            </a:br>
            <a:r>
              <a:rPr lang="de-DE" sz="1200" dirty="0"/>
              <a:t>19.09.2022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27F66214-C455-B611-C99E-D807A4E19181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5"/>
          <a:stretch>
            <a:fillRect/>
          </a:stretch>
        </p:blipFill>
        <p:spPr>
          <a:xfrm>
            <a:off x="442913" y="2132381"/>
            <a:ext cx="6732587" cy="36728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Textplatzhalter 1">
            <a:extLst>
              <a:ext uri="{FF2B5EF4-FFF2-40B4-BE49-F238E27FC236}">
                <a16:creationId xmlns:a16="http://schemas.microsoft.com/office/drawing/2014/main" id="{A466B893-EC20-E5F0-36AF-60F26FF409A9}"/>
              </a:ext>
            </a:extLst>
          </p:cNvPr>
          <p:cNvSpPr txBox="1">
            <a:spLocks/>
          </p:cNvSpPr>
          <p:nvPr/>
        </p:nvSpPr>
        <p:spPr>
          <a:xfrm>
            <a:off x="443371" y="1772816"/>
            <a:ext cx="6264697" cy="3600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as sind die Treiber?</a:t>
            </a:r>
          </a:p>
        </p:txBody>
      </p:sp>
    </p:spTree>
    <p:extLst>
      <p:ext uri="{BB962C8B-B14F-4D97-AF65-F5344CB8AC3E}">
        <p14:creationId xmlns:p14="http://schemas.microsoft.com/office/powerpoint/2010/main" val="14163849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013E399-CE21-7FFE-5E6B-D4A0B78764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637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06" imgH="608" progId="TCLayout.ActiveDocument.1">
                  <p:embed/>
                </p:oleObj>
              </mc:Choice>
              <mc:Fallback>
                <p:oleObj name="think-cell Folie" r:id="rId3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A5CCD4D-5086-3E45-B818-817A015F462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Beispiel (</a:t>
            </a:r>
            <a:r>
              <a:rPr lang="de-DE" dirty="0" err="1"/>
              <a:t>Thermo</a:t>
            </a:r>
            <a:r>
              <a:rPr lang="de-DE" dirty="0"/>
              <a:t>) </a:t>
            </a:r>
            <a:r>
              <a:rPr lang="de-DE" dirty="0" err="1"/>
              <a:t>Nuclear</a:t>
            </a:r>
            <a:r>
              <a:rPr lang="de-DE" dirty="0"/>
              <a:t> </a:t>
            </a:r>
            <a:r>
              <a:rPr lang="de-DE" dirty="0" err="1"/>
              <a:t>Verdicts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C55E893-37B7-790E-70E4-AAB3E9AB88A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9712AB7-73F7-9548-AE62-9510BB2EC887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7769C74-34CA-D53C-34D0-5B17BABBC0B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CA3126BF-F4D9-1913-6A78-E66521328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US </a:t>
            </a:r>
            <a:r>
              <a:rPr lang="de-DE" dirty="0" err="1"/>
              <a:t>Casualty</a:t>
            </a:r>
            <a:r>
              <a:rPr lang="de-DE" dirty="0"/>
              <a:t> – das </a:t>
            </a:r>
            <a:br>
              <a:rPr lang="de-DE" dirty="0"/>
            </a:br>
            <a:r>
              <a:rPr lang="de-DE" dirty="0"/>
              <a:t>kritische Thema</a:t>
            </a:r>
          </a:p>
        </p:txBody>
      </p:sp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5D30923D-A96A-9339-D1BE-A26F951174A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5"/>
          <a:srcRect l="3245" r="2951"/>
          <a:stretch/>
        </p:blipFill>
        <p:spPr>
          <a:xfrm>
            <a:off x="6059997" y="0"/>
            <a:ext cx="5203316" cy="685800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6692292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70F723-0285-3001-8764-D906D1300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3134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06" imgH="608" progId="TCLayout.ActiveDocument.1">
                  <p:embed/>
                </p:oleObj>
              </mc:Choice>
              <mc:Fallback>
                <p:oleObj name="think-cell Folie" r:id="rId3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platzhalter 6" descr="Ein Bild, das Text, Screenshot, Schrift, Zahl enthält.&#10;&#10;KI-generierte Inhalte können fehlerhaft sein.">
            <a:extLst>
              <a:ext uri="{FF2B5EF4-FFF2-40B4-BE49-F238E27FC236}">
                <a16:creationId xmlns:a16="http://schemas.microsoft.com/office/drawing/2014/main" id="{82049B48-74DE-6397-D9AC-0F27D583454C}"/>
              </a:ext>
            </a:extLst>
          </p:cNvPr>
          <p:cNvPicPr>
            <a:picLocks noGrp="1" noChangeAspect="1"/>
          </p:cNvPicPr>
          <p:nvPr>
            <p:ph idx="13"/>
          </p:nvPr>
        </p:nvPicPr>
        <p:blipFill>
          <a:blip r:embed="rId5"/>
          <a:stretch>
            <a:fillRect/>
          </a:stretch>
        </p:blipFill>
        <p:spPr>
          <a:xfrm>
            <a:off x="1258503" y="1677857"/>
            <a:ext cx="8629705" cy="448744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0052EAF-6D6C-52F2-0435-A71871679784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696400" y="6273316"/>
            <a:ext cx="1296144" cy="360040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BD2D5FEE-076A-AA41-89DB-AFE9D26ECAEF}" type="datetime1">
              <a:rPr lang="de-DE" smtClean="0"/>
              <a:pPr>
                <a:spcAft>
                  <a:spcPts val="600"/>
                </a:spcAft>
              </a:pPr>
              <a:t>03.03.2025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3E48D81-16E8-A686-3932-94CA752B743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172565" y="6273316"/>
            <a:ext cx="576064" cy="36004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CB58C3F2-3AE3-417E-B204-81AF71A01582}" type="slidenum">
              <a:rPr lang="de-DE" smtClean="0"/>
              <a:pPr>
                <a:spcAft>
                  <a:spcPts val="600"/>
                </a:spcAft>
              </a:pPr>
              <a:t>14</a:t>
            </a:fld>
            <a:endParaRPr lang="de-DE"/>
          </a:p>
        </p:txBody>
      </p:sp>
      <p:sp>
        <p:nvSpPr>
          <p:cNvPr id="10" name="Titel 5">
            <a:extLst>
              <a:ext uri="{FF2B5EF4-FFF2-40B4-BE49-F238E27FC236}">
                <a16:creationId xmlns:a16="http://schemas.microsoft.com/office/drawing/2014/main" id="{F542102B-F50F-C216-1B82-94DCD27EC035}"/>
              </a:ext>
            </a:extLst>
          </p:cNvPr>
          <p:cNvSpPr txBox="1">
            <a:spLocks/>
          </p:cNvSpPr>
          <p:nvPr/>
        </p:nvSpPr>
        <p:spPr>
          <a:xfrm>
            <a:off x="443371" y="404664"/>
            <a:ext cx="5472609" cy="936104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US Casualty – das </a:t>
            </a:r>
            <a:br>
              <a:rPr lang="de-DE"/>
            </a:br>
            <a:r>
              <a:rPr lang="de-DE"/>
              <a:t>kritische Them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07071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390B7B-53D9-CA4A-F2CB-AC59A394FC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195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06" imgH="608" progId="TCLayout.ActiveDocument.1">
                  <p:embed/>
                </p:oleObj>
              </mc:Choice>
              <mc:Fallback>
                <p:oleObj name="think-cell Folie" r:id="rId4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843D123-9B1D-C761-9B05-C265A63B15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3CF554D-3A4F-4F27-7BC6-6276D516E56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43371" y="1628800"/>
            <a:ext cx="2916325" cy="4356484"/>
          </a:xfrm>
        </p:spPr>
        <p:txBody>
          <a:bodyPr/>
          <a:lstStyle/>
          <a:p>
            <a:r>
              <a:rPr lang="de-DE" b="1" dirty="0"/>
              <a:t>Achtung: </a:t>
            </a:r>
            <a:br>
              <a:rPr lang="de-DE" b="1" dirty="0"/>
            </a:br>
            <a:br>
              <a:rPr lang="de-DE" b="1" dirty="0"/>
            </a:br>
            <a:r>
              <a:rPr lang="de-DE" dirty="0"/>
              <a:t>Insbesondere der Bereich „Auto </a:t>
            </a:r>
            <a:r>
              <a:rPr lang="de-DE" dirty="0" err="1"/>
              <a:t>Accident</a:t>
            </a:r>
            <a:r>
              <a:rPr lang="de-DE" dirty="0"/>
              <a:t>“ wird sehr kritisch gesehen und beeinflusst durch die Auto-XS-Deckung im Master die Prämienfindung!</a:t>
            </a:r>
          </a:p>
        </p:txBody>
      </p:sp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F19D4012-AC65-05CA-B0D2-41114CABC66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-225" r="-38"/>
          <a:stretch/>
        </p:blipFill>
        <p:spPr>
          <a:xfrm>
            <a:off x="3611727" y="1556792"/>
            <a:ext cx="8136902" cy="430529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9FF8602-88F3-3DDF-85C6-E8FFAEEC5BD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F8AE35F-2B6A-3440-BA2C-4E8B014F1844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4D8953DE-2F6F-5E23-2E74-BEA98DC23E57}"/>
              </a:ext>
            </a:extLst>
          </p:cNvPr>
          <p:cNvSpPr txBox="1">
            <a:spLocks/>
          </p:cNvSpPr>
          <p:nvPr/>
        </p:nvSpPr>
        <p:spPr>
          <a:xfrm>
            <a:off x="443371" y="404664"/>
            <a:ext cx="5472609" cy="936104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US </a:t>
            </a:r>
            <a:r>
              <a:rPr lang="de-DE" dirty="0" err="1"/>
              <a:t>Casualty</a:t>
            </a:r>
            <a:r>
              <a:rPr lang="de-DE" dirty="0"/>
              <a:t> – das </a:t>
            </a:r>
            <a:br>
              <a:rPr lang="de-DE" dirty="0"/>
            </a:br>
            <a:r>
              <a:rPr lang="de-DE" dirty="0"/>
              <a:t>kritische Thema</a:t>
            </a:r>
          </a:p>
        </p:txBody>
      </p:sp>
    </p:spTree>
    <p:extLst>
      <p:ext uri="{BB962C8B-B14F-4D97-AF65-F5344CB8AC3E}">
        <p14:creationId xmlns:p14="http://schemas.microsoft.com/office/powerpoint/2010/main" val="1011938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3F415027-62B0-516F-8D7B-E693393342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1058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06" imgH="608" progId="TCLayout.ActiveDocument.1">
                  <p:embed/>
                </p:oleObj>
              </mc:Choice>
              <mc:Fallback>
                <p:oleObj name="think-cell Folie" r:id="rId4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7DFCB76-8ED5-604B-1883-E7CDCECFE4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2" y="1556420"/>
            <a:ext cx="11305717" cy="936104"/>
          </a:xfrm>
        </p:spPr>
        <p:txBody>
          <a:bodyPr/>
          <a:lstStyle/>
          <a:p>
            <a:r>
              <a:rPr lang="de-DE" sz="1600" dirty="0"/>
              <a:t>Hier: Auto-Schäden (besonders „Large Truck </a:t>
            </a:r>
            <a:r>
              <a:rPr lang="de-DE" sz="1600" dirty="0" err="1"/>
              <a:t>Verdicts</a:t>
            </a:r>
            <a:r>
              <a:rPr lang="de-DE" sz="1600" dirty="0"/>
              <a:t>“)</a:t>
            </a:r>
            <a:br>
              <a:rPr lang="de-DE" sz="1600" dirty="0"/>
            </a:br>
            <a:r>
              <a:rPr lang="de-DE" sz="1400" b="0" dirty="0"/>
              <a:t>Insbesondere der Bereich „Auto </a:t>
            </a:r>
            <a:r>
              <a:rPr lang="de-DE" sz="1400" b="0" dirty="0" err="1"/>
              <a:t>Accident</a:t>
            </a:r>
            <a:r>
              <a:rPr lang="de-DE" sz="1400" b="0" dirty="0"/>
              <a:t>“ wird sehr kritisch gesehen und beeinflusst durch die Auto-XS-Deckung im Master die Prämienfindung!</a:t>
            </a:r>
            <a:endParaRPr lang="de-DE" sz="1600" b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948CA9-AF87-096A-9774-B0510CAE3FE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FE7F85F-8604-1E40-B263-35CF29B13DDD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21A08E1-5E0E-82C9-A3F5-A8632D3FD9C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16</a:t>
            </a:fld>
            <a:endParaRPr lang="de-DE" dirty="0"/>
          </a:p>
        </p:txBody>
      </p:sp>
      <p:pic>
        <p:nvPicPr>
          <p:cNvPr id="9" name="Picture 2" descr="J:\Dateien Linnert\Präsentationen\Brokerveranstaltung 2018\Daimler.PNG">
            <a:extLst>
              <a:ext uri="{FF2B5EF4-FFF2-40B4-BE49-F238E27FC236}">
                <a16:creationId xmlns:a16="http://schemas.microsoft.com/office/drawing/2014/main" id="{9300EC5F-788E-A89A-0A9C-0EA25F251675}"/>
              </a:ext>
            </a:extLst>
          </p:cNvPr>
          <p:cNvPicPr>
            <a:picLocks noGrp="1" noChangeAspect="1" noChangeArrowheads="1"/>
          </p:cNvPicPr>
          <p:nvPr>
            <p:ph sz="quarter" idx="2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4439" y="2492524"/>
            <a:ext cx="3597623" cy="3960812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J:\Dateien Linnert\Präsentationen\Brokerveranstaltung 2018\Paul Walker.PNG">
            <a:extLst>
              <a:ext uri="{FF2B5EF4-FFF2-40B4-BE49-F238E27FC236}">
                <a16:creationId xmlns:a16="http://schemas.microsoft.com/office/drawing/2014/main" id="{E3B74E91-5CAF-E637-2753-D63ED5AC5F32}"/>
              </a:ext>
            </a:extLst>
          </p:cNvPr>
          <p:cNvPicPr>
            <a:picLocks noGrp="1" noChangeAspect="1" noChangeArrowheads="1"/>
          </p:cNvPicPr>
          <p:nvPr>
            <p:ph sz="quarter" idx="2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8484" y="2348880"/>
            <a:ext cx="5180532" cy="3960812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el 5">
            <a:extLst>
              <a:ext uri="{FF2B5EF4-FFF2-40B4-BE49-F238E27FC236}">
                <a16:creationId xmlns:a16="http://schemas.microsoft.com/office/drawing/2014/main" id="{938204BA-6E17-542A-30AD-639D5BAB84E9}"/>
              </a:ext>
            </a:extLst>
          </p:cNvPr>
          <p:cNvSpPr txBox="1">
            <a:spLocks/>
          </p:cNvSpPr>
          <p:nvPr/>
        </p:nvSpPr>
        <p:spPr>
          <a:xfrm>
            <a:off x="443371" y="404664"/>
            <a:ext cx="5472609" cy="936104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US </a:t>
            </a:r>
            <a:r>
              <a:rPr lang="de-DE" dirty="0" err="1"/>
              <a:t>Casualty</a:t>
            </a:r>
            <a:r>
              <a:rPr lang="de-DE" dirty="0"/>
              <a:t> – das </a:t>
            </a:r>
            <a:br>
              <a:rPr lang="de-DE" dirty="0"/>
            </a:br>
            <a:r>
              <a:rPr lang="de-DE" dirty="0"/>
              <a:t>kritische Thema</a:t>
            </a:r>
          </a:p>
        </p:txBody>
      </p:sp>
      <p:grpSp>
        <p:nvGrpSpPr>
          <p:cNvPr id="3" name="Group 8">
            <a:extLst>
              <a:ext uri="{FF2B5EF4-FFF2-40B4-BE49-F238E27FC236}">
                <a16:creationId xmlns:a16="http://schemas.microsoft.com/office/drawing/2014/main" id="{AEC945B6-5191-AF86-4313-2C7D5C79D5D6}"/>
              </a:ext>
            </a:extLst>
          </p:cNvPr>
          <p:cNvGrpSpPr/>
          <p:nvPr/>
        </p:nvGrpSpPr>
        <p:grpSpPr>
          <a:xfrm>
            <a:off x="-5497288" y="1556420"/>
            <a:ext cx="5113637" cy="4188876"/>
            <a:chOff x="445135" y="1549065"/>
            <a:chExt cx="4331926" cy="3548531"/>
          </a:xfrm>
        </p:grpSpPr>
        <p:grpSp>
          <p:nvGrpSpPr>
            <p:cNvPr id="6" name="Group 7">
              <a:extLst>
                <a:ext uri="{FF2B5EF4-FFF2-40B4-BE49-F238E27FC236}">
                  <a16:creationId xmlns:a16="http://schemas.microsoft.com/office/drawing/2014/main" id="{89CCC637-99DF-23C2-E277-6193E75AA408}"/>
                </a:ext>
              </a:extLst>
            </p:cNvPr>
            <p:cNvGrpSpPr/>
            <p:nvPr/>
          </p:nvGrpSpPr>
          <p:grpSpPr>
            <a:xfrm>
              <a:off x="445135" y="1549065"/>
              <a:ext cx="3558677" cy="3191816"/>
              <a:chOff x="445135" y="1549065"/>
              <a:chExt cx="3558677" cy="3191816"/>
            </a:xfrm>
          </p:grpSpPr>
          <p:sp>
            <p:nvSpPr>
              <p:cNvPr id="98" name="Block Arc 1015">
                <a:extLst>
                  <a:ext uri="{FF2B5EF4-FFF2-40B4-BE49-F238E27FC236}">
                    <a16:creationId xmlns:a16="http://schemas.microsoft.com/office/drawing/2014/main" id="{B3D9D092-8ABD-0C0C-0963-1F6016CA95E8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20207308">
                <a:off x="725875" y="1982498"/>
                <a:ext cx="3010427" cy="2737514"/>
              </a:xfrm>
              <a:prstGeom prst="blockArc">
                <a:avLst>
                  <a:gd name="adj1" fmla="val 12006639"/>
                  <a:gd name="adj2" fmla="val 0"/>
                  <a:gd name="adj3" fmla="val 25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solidFill>
                    <a:schemeClr val="tx1"/>
                  </a:solidFill>
                </a:endParaRPr>
              </a:p>
            </p:txBody>
          </p:sp>
          <p:pic>
            <p:nvPicPr>
              <p:cNvPr id="99" name="Picture 8">
                <a:extLst>
                  <a:ext uri="{FF2B5EF4-FFF2-40B4-BE49-F238E27FC236}">
                    <a16:creationId xmlns:a16="http://schemas.microsoft.com/office/drawing/2014/main" id="{A89E12CB-51C1-5B31-CAFD-F0EC7D63644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34972" y="1928279"/>
                <a:ext cx="9882" cy="61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100" name="Group 1018">
                <a:extLst>
                  <a:ext uri="{FF2B5EF4-FFF2-40B4-BE49-F238E27FC236}">
                    <a16:creationId xmlns:a16="http://schemas.microsoft.com/office/drawing/2014/main" id="{1173445C-32A0-6F67-0A47-3B97CC420EC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45135" y="1549065"/>
                <a:ext cx="3106586" cy="2757018"/>
                <a:chOff x="528638" y="2306638"/>
                <a:chExt cx="3992563" cy="3543301"/>
              </a:xfrm>
            </p:grpSpPr>
            <p:sp>
              <p:nvSpPr>
                <p:cNvPr id="230" name="Freeform 38">
                  <a:extLst>
                    <a:ext uri="{FF2B5EF4-FFF2-40B4-BE49-F238E27FC236}">
                      <a16:creationId xmlns:a16="http://schemas.microsoft.com/office/drawing/2014/main" id="{D1DD1B52-36BB-F69D-C657-3D8459E7DB7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58800" y="4167188"/>
                  <a:ext cx="139700" cy="38100"/>
                </a:xfrm>
                <a:custGeom>
                  <a:avLst/>
                  <a:gdLst>
                    <a:gd name="T0" fmla="*/ 75 w 76"/>
                    <a:gd name="T1" fmla="*/ 21 h 21"/>
                    <a:gd name="T2" fmla="*/ 76 w 76"/>
                    <a:gd name="T3" fmla="*/ 13 h 21"/>
                    <a:gd name="T4" fmla="*/ 2 w 76"/>
                    <a:gd name="T5" fmla="*/ 0 h 21"/>
                    <a:gd name="T6" fmla="*/ 0 w 76"/>
                    <a:gd name="T7" fmla="*/ 8 h 21"/>
                    <a:gd name="T8" fmla="*/ 75 w 76"/>
                    <a:gd name="T9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6" h="21">
                      <a:moveTo>
                        <a:pt x="75" y="21"/>
                      </a:moveTo>
                      <a:cubicBezTo>
                        <a:pt x="75" y="18"/>
                        <a:pt x="76" y="15"/>
                        <a:pt x="76" y="13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2"/>
                        <a:pt x="1" y="5"/>
                        <a:pt x="0" y="8"/>
                      </a:cubicBezTo>
                      <a:lnTo>
                        <a:pt x="75" y="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1" name="Freeform 45">
                  <a:extLst>
                    <a:ext uri="{FF2B5EF4-FFF2-40B4-BE49-F238E27FC236}">
                      <a16:creationId xmlns:a16="http://schemas.microsoft.com/office/drawing/2014/main" id="{480C0FA2-8D55-2C9C-52EC-FE6FD7CEF9A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95313" y="3963988"/>
                  <a:ext cx="177800" cy="80963"/>
                </a:xfrm>
                <a:custGeom>
                  <a:avLst/>
                  <a:gdLst>
                    <a:gd name="T0" fmla="*/ 0 w 96"/>
                    <a:gd name="T1" fmla="*/ 19 h 44"/>
                    <a:gd name="T2" fmla="*/ 91 w 96"/>
                    <a:gd name="T3" fmla="*/ 44 h 44"/>
                    <a:gd name="T4" fmla="*/ 93 w 96"/>
                    <a:gd name="T5" fmla="*/ 35 h 44"/>
                    <a:gd name="T6" fmla="*/ 96 w 96"/>
                    <a:gd name="T7" fmla="*/ 25 h 44"/>
                    <a:gd name="T8" fmla="*/ 6 w 96"/>
                    <a:gd name="T9" fmla="*/ 0 h 44"/>
                    <a:gd name="T10" fmla="*/ 3 w 96"/>
                    <a:gd name="T11" fmla="*/ 10 h 44"/>
                    <a:gd name="T12" fmla="*/ 0 w 96"/>
                    <a:gd name="T13" fmla="*/ 19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6" h="44">
                      <a:moveTo>
                        <a:pt x="0" y="19"/>
                      </a:moveTo>
                      <a:cubicBezTo>
                        <a:pt x="91" y="44"/>
                        <a:pt x="91" y="44"/>
                        <a:pt x="91" y="44"/>
                      </a:cubicBezTo>
                      <a:cubicBezTo>
                        <a:pt x="91" y="43"/>
                        <a:pt x="93" y="36"/>
                        <a:pt x="93" y="35"/>
                      </a:cubicBezTo>
                      <a:cubicBezTo>
                        <a:pt x="94" y="33"/>
                        <a:pt x="96" y="26"/>
                        <a:pt x="96" y="25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5" y="1"/>
                        <a:pt x="3" y="8"/>
                        <a:pt x="3" y="10"/>
                      </a:cubicBezTo>
                      <a:cubicBezTo>
                        <a:pt x="3" y="11"/>
                        <a:pt x="1" y="18"/>
                        <a:pt x="0" y="1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232" name="Group 1238">
                  <a:extLst>
                    <a:ext uri="{FF2B5EF4-FFF2-40B4-BE49-F238E27FC236}">
                      <a16:creationId xmlns:a16="http://schemas.microsoft.com/office/drawing/2014/main" id="{96CE8384-D084-4FB2-5099-40A8F4EE6E00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528638" y="2306638"/>
                  <a:ext cx="3992563" cy="3543301"/>
                  <a:chOff x="528638" y="2306638"/>
                  <a:chExt cx="3992563" cy="3543301"/>
                </a:xfrm>
              </p:grpSpPr>
              <p:sp>
                <p:nvSpPr>
                  <p:cNvPr id="233" name="Oval 10">
                    <a:extLst>
                      <a:ext uri="{FF2B5EF4-FFF2-40B4-BE49-F238E27FC236}">
                        <a16:creationId xmlns:a16="http://schemas.microsoft.com/office/drawing/2014/main" id="{08824A57-C58C-0D8C-521F-1E0007CE0997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957263" y="5762626"/>
                    <a:ext cx="87313" cy="8731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4" name="Freeform 11">
                    <a:extLst>
                      <a:ext uri="{FF2B5EF4-FFF2-40B4-BE49-F238E27FC236}">
                        <a16:creationId xmlns:a16="http://schemas.microsoft.com/office/drawing/2014/main" id="{3C2951E7-B26C-C460-51A4-9A4A0E10D4B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008188" y="2438401"/>
                    <a:ext cx="63500" cy="136525"/>
                  </a:xfrm>
                  <a:custGeom>
                    <a:avLst/>
                    <a:gdLst>
                      <a:gd name="T0" fmla="*/ 26 w 34"/>
                      <a:gd name="T1" fmla="*/ 74 h 74"/>
                      <a:gd name="T2" fmla="*/ 34 w 34"/>
                      <a:gd name="T3" fmla="*/ 71 h 74"/>
                      <a:gd name="T4" fmla="*/ 8 w 34"/>
                      <a:gd name="T5" fmla="*/ 0 h 74"/>
                      <a:gd name="T6" fmla="*/ 0 w 34"/>
                      <a:gd name="T7" fmla="*/ 2 h 74"/>
                      <a:gd name="T8" fmla="*/ 26 w 34"/>
                      <a:gd name="T9" fmla="*/ 7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" h="74">
                        <a:moveTo>
                          <a:pt x="26" y="74"/>
                        </a:moveTo>
                        <a:cubicBezTo>
                          <a:pt x="28" y="73"/>
                          <a:pt x="31" y="72"/>
                          <a:pt x="34" y="71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3" y="1"/>
                          <a:pt x="0" y="2"/>
                        </a:cubicBezTo>
                        <a:lnTo>
                          <a:pt x="26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5" name="Freeform 12">
                    <a:extLst>
                      <a:ext uri="{FF2B5EF4-FFF2-40B4-BE49-F238E27FC236}">
                        <a16:creationId xmlns:a16="http://schemas.microsoft.com/office/drawing/2014/main" id="{A9904A9C-B3AB-FDEB-2B6C-E72D49EA809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389188" y="2338388"/>
                    <a:ext cx="39688" cy="139700"/>
                  </a:xfrm>
                  <a:custGeom>
                    <a:avLst/>
                    <a:gdLst>
                      <a:gd name="T0" fmla="*/ 13 w 21"/>
                      <a:gd name="T1" fmla="*/ 76 h 76"/>
                      <a:gd name="T2" fmla="*/ 21 w 21"/>
                      <a:gd name="T3" fmla="*/ 75 h 76"/>
                      <a:gd name="T4" fmla="*/ 8 w 21"/>
                      <a:gd name="T5" fmla="*/ 0 h 76"/>
                      <a:gd name="T6" fmla="*/ 0 w 21"/>
                      <a:gd name="T7" fmla="*/ 1 h 76"/>
                      <a:gd name="T8" fmla="*/ 13 w 21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6">
                        <a:moveTo>
                          <a:pt x="13" y="76"/>
                        </a:moveTo>
                        <a:cubicBezTo>
                          <a:pt x="15" y="75"/>
                          <a:pt x="18" y="75"/>
                          <a:pt x="21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2" y="1"/>
                          <a:pt x="0" y="1"/>
                        </a:cubicBezTo>
                        <a:lnTo>
                          <a:pt x="13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6" name="Freeform 13">
                    <a:extLst>
                      <a:ext uri="{FF2B5EF4-FFF2-40B4-BE49-F238E27FC236}">
                        <a16:creationId xmlns:a16="http://schemas.microsoft.com/office/drawing/2014/main" id="{DE389F74-1C86-8E0D-2196-7ED87E7F952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584450" y="2314576"/>
                    <a:ext cx="28575" cy="139700"/>
                  </a:xfrm>
                  <a:custGeom>
                    <a:avLst/>
                    <a:gdLst>
                      <a:gd name="T0" fmla="*/ 7 w 15"/>
                      <a:gd name="T1" fmla="*/ 76 h 76"/>
                      <a:gd name="T2" fmla="*/ 15 w 15"/>
                      <a:gd name="T3" fmla="*/ 75 h 76"/>
                      <a:gd name="T4" fmla="*/ 8 w 15"/>
                      <a:gd name="T5" fmla="*/ 0 h 76"/>
                      <a:gd name="T6" fmla="*/ 0 w 15"/>
                      <a:gd name="T7" fmla="*/ 1 h 76"/>
                      <a:gd name="T8" fmla="*/ 7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7" y="76"/>
                        </a:moveTo>
                        <a:cubicBezTo>
                          <a:pt x="9" y="76"/>
                          <a:pt x="12" y="75"/>
                          <a:pt x="15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6" y="0"/>
                          <a:pt x="3" y="0"/>
                          <a:pt x="0" y="1"/>
                        </a:cubicBezTo>
                        <a:lnTo>
                          <a:pt x="7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7" name="Freeform 14">
                    <a:extLst>
                      <a:ext uri="{FF2B5EF4-FFF2-40B4-BE49-F238E27FC236}">
                        <a16:creationId xmlns:a16="http://schemas.microsoft.com/office/drawing/2014/main" id="{D6AE81E0-D55B-09AE-77B9-73195762802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197100" y="2378076"/>
                    <a:ext cx="49213" cy="141288"/>
                  </a:xfrm>
                  <a:custGeom>
                    <a:avLst/>
                    <a:gdLst>
                      <a:gd name="T0" fmla="*/ 19 w 27"/>
                      <a:gd name="T1" fmla="*/ 76 h 76"/>
                      <a:gd name="T2" fmla="*/ 27 w 27"/>
                      <a:gd name="T3" fmla="*/ 73 h 76"/>
                      <a:gd name="T4" fmla="*/ 7 w 27"/>
                      <a:gd name="T5" fmla="*/ 0 h 76"/>
                      <a:gd name="T6" fmla="*/ 0 w 27"/>
                      <a:gd name="T7" fmla="*/ 2 h 76"/>
                      <a:gd name="T8" fmla="*/ 19 w 27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6">
                        <a:moveTo>
                          <a:pt x="19" y="76"/>
                        </a:moveTo>
                        <a:cubicBezTo>
                          <a:pt x="22" y="75"/>
                          <a:pt x="24" y="74"/>
                          <a:pt x="27" y="73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2" y="2"/>
                          <a:pt x="0" y="2"/>
                        </a:cubicBezTo>
                        <a:lnTo>
                          <a:pt x="19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8" name="Freeform 15">
                    <a:extLst>
                      <a:ext uri="{FF2B5EF4-FFF2-40B4-BE49-F238E27FC236}">
                        <a16:creationId xmlns:a16="http://schemas.microsoft.com/office/drawing/2014/main" id="{2097BC0F-F604-0C9D-DE51-4655BBC7711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322638" y="2381251"/>
                    <a:ext cx="49213" cy="138113"/>
                  </a:xfrm>
                  <a:custGeom>
                    <a:avLst/>
                    <a:gdLst>
                      <a:gd name="T0" fmla="*/ 0 w 27"/>
                      <a:gd name="T1" fmla="*/ 73 h 75"/>
                      <a:gd name="T2" fmla="*/ 8 w 27"/>
                      <a:gd name="T3" fmla="*/ 75 h 75"/>
                      <a:gd name="T4" fmla="*/ 27 w 27"/>
                      <a:gd name="T5" fmla="*/ 2 h 75"/>
                      <a:gd name="T6" fmla="*/ 20 w 27"/>
                      <a:gd name="T7" fmla="*/ 0 h 75"/>
                      <a:gd name="T8" fmla="*/ 0 w 27"/>
                      <a:gd name="T9" fmla="*/ 73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5">
                        <a:moveTo>
                          <a:pt x="0" y="73"/>
                        </a:moveTo>
                        <a:cubicBezTo>
                          <a:pt x="3" y="74"/>
                          <a:pt x="5" y="75"/>
                          <a:pt x="8" y="75"/>
                        </a:cubicBezTo>
                        <a:cubicBezTo>
                          <a:pt x="27" y="2"/>
                          <a:pt x="27" y="2"/>
                          <a:pt x="27" y="2"/>
                        </a:cubicBezTo>
                        <a:cubicBezTo>
                          <a:pt x="25" y="1"/>
                          <a:pt x="22" y="1"/>
                          <a:pt x="20" y="0"/>
                        </a:cubicBezTo>
                        <a:lnTo>
                          <a:pt x="0" y="7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9" name="Freeform 16">
                    <a:extLst>
                      <a:ext uri="{FF2B5EF4-FFF2-40B4-BE49-F238E27FC236}">
                        <a16:creationId xmlns:a16="http://schemas.microsoft.com/office/drawing/2014/main" id="{3D007A8F-D275-93DA-2646-D6BF9AB6152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763838" y="2306638"/>
                    <a:ext cx="38100" cy="174625"/>
                  </a:xfrm>
                  <a:custGeom>
                    <a:avLst/>
                    <a:gdLst>
                      <a:gd name="T0" fmla="*/ 0 w 20"/>
                      <a:gd name="T1" fmla="*/ 0 h 94"/>
                      <a:gd name="T2" fmla="*/ 0 w 20"/>
                      <a:gd name="T3" fmla="*/ 94 h 94"/>
                      <a:gd name="T4" fmla="*/ 10 w 20"/>
                      <a:gd name="T5" fmla="*/ 94 h 94"/>
                      <a:gd name="T6" fmla="*/ 20 w 20"/>
                      <a:gd name="T7" fmla="*/ 94 h 94"/>
                      <a:gd name="T8" fmla="*/ 20 w 20"/>
                      <a:gd name="T9" fmla="*/ 0 h 94"/>
                      <a:gd name="T10" fmla="*/ 10 w 20"/>
                      <a:gd name="T11" fmla="*/ 0 h 94"/>
                      <a:gd name="T12" fmla="*/ 0 w 20"/>
                      <a:gd name="T13" fmla="*/ 0 h 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" h="94">
                        <a:moveTo>
                          <a:pt x="0" y="0"/>
                        </a:moveTo>
                        <a:cubicBezTo>
                          <a:pt x="0" y="94"/>
                          <a:pt x="0" y="94"/>
                          <a:pt x="0" y="94"/>
                        </a:cubicBezTo>
                        <a:cubicBezTo>
                          <a:pt x="1" y="94"/>
                          <a:pt x="8" y="94"/>
                          <a:pt x="10" y="94"/>
                        </a:cubicBezTo>
                        <a:cubicBezTo>
                          <a:pt x="11" y="94"/>
                          <a:pt x="18" y="94"/>
                          <a:pt x="20" y="94"/>
                        </a:cubicBezTo>
                        <a:cubicBezTo>
                          <a:pt x="20" y="0"/>
                          <a:pt x="20" y="0"/>
                          <a:pt x="20" y="0"/>
                        </a:cubicBezTo>
                        <a:cubicBezTo>
                          <a:pt x="18" y="0"/>
                          <a:pt x="11" y="0"/>
                          <a:pt x="10" y="0"/>
                        </a:cubicBezTo>
                        <a:cubicBezTo>
                          <a:pt x="8" y="0"/>
                          <a:pt x="1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0" name="Freeform 17">
                    <a:extLst>
                      <a:ext uri="{FF2B5EF4-FFF2-40B4-BE49-F238E27FC236}">
                        <a16:creationId xmlns:a16="http://schemas.microsoft.com/office/drawing/2014/main" id="{9CAC52CB-7F36-33E9-74CC-D247F118B65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143250" y="2339976"/>
                    <a:ext cx="38100" cy="138113"/>
                  </a:xfrm>
                  <a:custGeom>
                    <a:avLst/>
                    <a:gdLst>
                      <a:gd name="T0" fmla="*/ 0 w 21"/>
                      <a:gd name="T1" fmla="*/ 74 h 75"/>
                      <a:gd name="T2" fmla="*/ 8 w 21"/>
                      <a:gd name="T3" fmla="*/ 75 h 75"/>
                      <a:gd name="T4" fmla="*/ 21 w 21"/>
                      <a:gd name="T5" fmla="*/ 1 h 75"/>
                      <a:gd name="T6" fmla="*/ 13 w 21"/>
                      <a:gd name="T7" fmla="*/ 0 h 75"/>
                      <a:gd name="T8" fmla="*/ 0 w 21"/>
                      <a:gd name="T9" fmla="*/ 74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5">
                        <a:moveTo>
                          <a:pt x="0" y="74"/>
                        </a:moveTo>
                        <a:cubicBezTo>
                          <a:pt x="2" y="75"/>
                          <a:pt x="5" y="75"/>
                          <a:pt x="8" y="75"/>
                        </a:cubicBezTo>
                        <a:cubicBezTo>
                          <a:pt x="21" y="1"/>
                          <a:pt x="21" y="1"/>
                          <a:pt x="21" y="1"/>
                        </a:cubicBezTo>
                        <a:cubicBezTo>
                          <a:pt x="18" y="0"/>
                          <a:pt x="15" y="0"/>
                          <a:pt x="13" y="0"/>
                        </a:cubicBezTo>
                        <a:lnTo>
                          <a:pt x="0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1" name="Freeform 18">
                    <a:extLst>
                      <a:ext uri="{FF2B5EF4-FFF2-40B4-BE49-F238E27FC236}">
                        <a16:creationId xmlns:a16="http://schemas.microsoft.com/office/drawing/2014/main" id="{395946B7-3776-F6CE-F5C0-351B61F8095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959100" y="2314576"/>
                    <a:ext cx="26988" cy="139700"/>
                  </a:xfrm>
                  <a:custGeom>
                    <a:avLst/>
                    <a:gdLst>
                      <a:gd name="T0" fmla="*/ 0 w 15"/>
                      <a:gd name="T1" fmla="*/ 76 h 76"/>
                      <a:gd name="T2" fmla="*/ 8 w 15"/>
                      <a:gd name="T3" fmla="*/ 76 h 76"/>
                      <a:gd name="T4" fmla="*/ 15 w 15"/>
                      <a:gd name="T5" fmla="*/ 1 h 76"/>
                      <a:gd name="T6" fmla="*/ 7 w 15"/>
                      <a:gd name="T7" fmla="*/ 0 h 76"/>
                      <a:gd name="T8" fmla="*/ 0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0" y="76"/>
                        </a:moveTo>
                        <a:cubicBezTo>
                          <a:pt x="3" y="76"/>
                          <a:pt x="5" y="76"/>
                          <a:pt x="8" y="76"/>
                        </a:cubicBezTo>
                        <a:cubicBezTo>
                          <a:pt x="15" y="1"/>
                          <a:pt x="15" y="1"/>
                          <a:pt x="15" y="1"/>
                        </a:cubicBezTo>
                        <a:cubicBezTo>
                          <a:pt x="12" y="1"/>
                          <a:pt x="9" y="0"/>
                          <a:pt x="7" y="0"/>
                        </a:cubicBezTo>
                        <a:lnTo>
                          <a:pt x="0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2" name="Freeform 19">
                    <a:extLst>
                      <a:ext uri="{FF2B5EF4-FFF2-40B4-BE49-F238E27FC236}">
                        <a16:creationId xmlns:a16="http://schemas.microsoft.com/office/drawing/2014/main" id="{D4457E19-A06C-5D84-D3EC-301C1C23CE8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27100" y="3265488"/>
                    <a:ext cx="123825" cy="92075"/>
                  </a:xfrm>
                  <a:custGeom>
                    <a:avLst/>
                    <a:gdLst>
                      <a:gd name="T0" fmla="*/ 63 w 67"/>
                      <a:gd name="T1" fmla="*/ 50 h 50"/>
                      <a:gd name="T2" fmla="*/ 67 w 67"/>
                      <a:gd name="T3" fmla="*/ 43 h 50"/>
                      <a:gd name="T4" fmla="*/ 5 w 67"/>
                      <a:gd name="T5" fmla="*/ 0 h 50"/>
                      <a:gd name="T6" fmla="*/ 0 w 67"/>
                      <a:gd name="T7" fmla="*/ 6 h 50"/>
                      <a:gd name="T8" fmla="*/ 63 w 67"/>
                      <a:gd name="T9" fmla="*/ 5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7" h="50">
                        <a:moveTo>
                          <a:pt x="63" y="50"/>
                        </a:moveTo>
                        <a:cubicBezTo>
                          <a:pt x="64" y="48"/>
                          <a:pt x="66" y="46"/>
                          <a:pt x="67" y="43"/>
                        </a:cubicBezTo>
                        <a:cubicBezTo>
                          <a:pt x="5" y="0"/>
                          <a:pt x="5" y="0"/>
                          <a:pt x="5" y="0"/>
                        </a:cubicBezTo>
                        <a:cubicBezTo>
                          <a:pt x="3" y="2"/>
                          <a:pt x="2" y="4"/>
                          <a:pt x="0" y="6"/>
                        </a:cubicBezTo>
                        <a:lnTo>
                          <a:pt x="63" y="5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3" name="Freeform 20">
                    <a:extLst>
                      <a:ext uri="{FF2B5EF4-FFF2-40B4-BE49-F238E27FC236}">
                        <a16:creationId xmlns:a16="http://schemas.microsoft.com/office/drawing/2014/main" id="{648AE7A7-C604-82F0-E98F-E493A305F61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0738" y="3430588"/>
                    <a:ext cx="130175" cy="82550"/>
                  </a:xfrm>
                  <a:custGeom>
                    <a:avLst/>
                    <a:gdLst>
                      <a:gd name="T0" fmla="*/ 66 w 70"/>
                      <a:gd name="T1" fmla="*/ 45 h 45"/>
                      <a:gd name="T2" fmla="*/ 70 w 70"/>
                      <a:gd name="T3" fmla="*/ 38 h 45"/>
                      <a:gd name="T4" fmla="*/ 4 w 70"/>
                      <a:gd name="T5" fmla="*/ 0 h 45"/>
                      <a:gd name="T6" fmla="*/ 0 w 70"/>
                      <a:gd name="T7" fmla="*/ 7 h 45"/>
                      <a:gd name="T8" fmla="*/ 66 w 70"/>
                      <a:gd name="T9" fmla="*/ 45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66" y="45"/>
                        </a:moveTo>
                        <a:cubicBezTo>
                          <a:pt x="68" y="43"/>
                          <a:pt x="69" y="41"/>
                          <a:pt x="70" y="38"/>
                        </a:cubicBez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3" y="3"/>
                          <a:pt x="2" y="5"/>
                          <a:pt x="0" y="7"/>
                        </a:cubicBezTo>
                        <a:lnTo>
                          <a:pt x="66" y="4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4" name="Freeform 21">
                    <a:extLst>
                      <a:ext uri="{FF2B5EF4-FFF2-40B4-BE49-F238E27FC236}">
                        <a16:creationId xmlns:a16="http://schemas.microsoft.com/office/drawing/2014/main" id="{ABC935DE-6FEF-57C0-3F55-D9111B94385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1838" y="3606801"/>
                    <a:ext cx="133350" cy="71438"/>
                  </a:xfrm>
                  <a:custGeom>
                    <a:avLst/>
                    <a:gdLst>
                      <a:gd name="T0" fmla="*/ 69 w 72"/>
                      <a:gd name="T1" fmla="*/ 39 h 39"/>
                      <a:gd name="T2" fmla="*/ 72 w 72"/>
                      <a:gd name="T3" fmla="*/ 32 h 39"/>
                      <a:gd name="T4" fmla="*/ 3 w 72"/>
                      <a:gd name="T5" fmla="*/ 0 h 39"/>
                      <a:gd name="T6" fmla="*/ 0 w 72"/>
                      <a:gd name="T7" fmla="*/ 7 h 39"/>
                      <a:gd name="T8" fmla="*/ 69 w 72"/>
                      <a:gd name="T9" fmla="*/ 39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69" y="39"/>
                        </a:moveTo>
                        <a:cubicBezTo>
                          <a:pt x="70" y="37"/>
                          <a:pt x="71" y="34"/>
                          <a:pt x="72" y="32"/>
                        </a:cubicBezTo>
                        <a:cubicBezTo>
                          <a:pt x="3" y="0"/>
                          <a:pt x="3" y="0"/>
                          <a:pt x="3" y="0"/>
                        </a:cubicBezTo>
                        <a:cubicBezTo>
                          <a:pt x="2" y="2"/>
                          <a:pt x="1" y="4"/>
                          <a:pt x="0" y="7"/>
                        </a:cubicBezTo>
                        <a:lnTo>
                          <a:pt x="69" y="3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5" name="Freeform 22">
                    <a:extLst>
                      <a:ext uri="{FF2B5EF4-FFF2-40B4-BE49-F238E27FC236}">
                        <a16:creationId xmlns:a16="http://schemas.microsoft.com/office/drawing/2014/main" id="{8A0D58B8-6868-5B25-2E4D-BFA21E61364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498850" y="2438401"/>
                    <a:ext cx="60325" cy="138113"/>
                  </a:xfrm>
                  <a:custGeom>
                    <a:avLst/>
                    <a:gdLst>
                      <a:gd name="T0" fmla="*/ 0 w 33"/>
                      <a:gd name="T1" fmla="*/ 72 h 75"/>
                      <a:gd name="T2" fmla="*/ 7 w 33"/>
                      <a:gd name="T3" fmla="*/ 75 h 75"/>
                      <a:gd name="T4" fmla="*/ 33 w 33"/>
                      <a:gd name="T5" fmla="*/ 3 h 75"/>
                      <a:gd name="T6" fmla="*/ 26 w 33"/>
                      <a:gd name="T7" fmla="*/ 0 h 75"/>
                      <a:gd name="T8" fmla="*/ 0 w 33"/>
                      <a:gd name="T9" fmla="*/ 72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3" h="75">
                        <a:moveTo>
                          <a:pt x="0" y="72"/>
                        </a:moveTo>
                        <a:cubicBezTo>
                          <a:pt x="2" y="73"/>
                          <a:pt x="5" y="74"/>
                          <a:pt x="7" y="75"/>
                        </a:cubicBezTo>
                        <a:cubicBezTo>
                          <a:pt x="33" y="3"/>
                          <a:pt x="33" y="3"/>
                          <a:pt x="33" y="3"/>
                        </a:cubicBezTo>
                        <a:cubicBezTo>
                          <a:pt x="31" y="2"/>
                          <a:pt x="28" y="1"/>
                          <a:pt x="26" y="0"/>
                        </a:cubicBezTo>
                        <a:lnTo>
                          <a:pt x="0" y="7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6" name="Freeform 23">
                    <a:extLst>
                      <a:ext uri="{FF2B5EF4-FFF2-40B4-BE49-F238E27FC236}">
                        <a16:creationId xmlns:a16="http://schemas.microsoft.com/office/drawing/2014/main" id="{388DCDC3-6C21-8E9C-9725-A17EF07403C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649413" y="2601913"/>
                    <a:ext cx="84138" cy="130175"/>
                  </a:xfrm>
                  <a:custGeom>
                    <a:avLst/>
                    <a:gdLst>
                      <a:gd name="T0" fmla="*/ 38 w 45"/>
                      <a:gd name="T1" fmla="*/ 70 h 70"/>
                      <a:gd name="T2" fmla="*/ 45 w 45"/>
                      <a:gd name="T3" fmla="*/ 66 h 70"/>
                      <a:gd name="T4" fmla="*/ 7 w 45"/>
                      <a:gd name="T5" fmla="*/ 0 h 70"/>
                      <a:gd name="T6" fmla="*/ 0 w 45"/>
                      <a:gd name="T7" fmla="*/ 4 h 70"/>
                      <a:gd name="T8" fmla="*/ 38 w 45"/>
                      <a:gd name="T9" fmla="*/ 70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38" y="70"/>
                        </a:moveTo>
                        <a:cubicBezTo>
                          <a:pt x="41" y="68"/>
                          <a:pt x="43" y="67"/>
                          <a:pt x="45" y="66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3" y="2"/>
                          <a:pt x="0" y="4"/>
                        </a:cubicBezTo>
                        <a:lnTo>
                          <a:pt x="38" y="7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7" name="Freeform 24">
                    <a:extLst>
                      <a:ext uri="{FF2B5EF4-FFF2-40B4-BE49-F238E27FC236}">
                        <a16:creationId xmlns:a16="http://schemas.microsoft.com/office/drawing/2014/main" id="{33CA646C-A77E-C198-4D98-4F63BC25CB5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323975" y="2832101"/>
                    <a:ext cx="101600" cy="117475"/>
                  </a:xfrm>
                  <a:custGeom>
                    <a:avLst/>
                    <a:gdLst>
                      <a:gd name="T0" fmla="*/ 49 w 55"/>
                      <a:gd name="T1" fmla="*/ 63 h 63"/>
                      <a:gd name="T2" fmla="*/ 55 w 55"/>
                      <a:gd name="T3" fmla="*/ 58 h 63"/>
                      <a:gd name="T4" fmla="*/ 6 w 55"/>
                      <a:gd name="T5" fmla="*/ 0 h 63"/>
                      <a:gd name="T6" fmla="*/ 0 w 55"/>
                      <a:gd name="T7" fmla="*/ 5 h 63"/>
                      <a:gd name="T8" fmla="*/ 49 w 55"/>
                      <a:gd name="T9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49" y="63"/>
                        </a:moveTo>
                        <a:cubicBezTo>
                          <a:pt x="51" y="61"/>
                          <a:pt x="53" y="60"/>
                          <a:pt x="55" y="58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5"/>
                        </a:cubicBezTo>
                        <a:lnTo>
                          <a:pt x="49" y="6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8" name="Freeform 25">
                    <a:extLst>
                      <a:ext uri="{FF2B5EF4-FFF2-40B4-BE49-F238E27FC236}">
                        <a16:creationId xmlns:a16="http://schemas.microsoft.com/office/drawing/2014/main" id="{4AAB1BC7-69DB-34BA-71A4-B28C21182AC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479550" y="2711451"/>
                    <a:ext cx="92075" cy="123825"/>
                  </a:xfrm>
                  <a:custGeom>
                    <a:avLst/>
                    <a:gdLst>
                      <a:gd name="T0" fmla="*/ 44 w 50"/>
                      <a:gd name="T1" fmla="*/ 67 h 67"/>
                      <a:gd name="T2" fmla="*/ 50 w 50"/>
                      <a:gd name="T3" fmla="*/ 62 h 67"/>
                      <a:gd name="T4" fmla="*/ 6 w 50"/>
                      <a:gd name="T5" fmla="*/ 0 h 67"/>
                      <a:gd name="T6" fmla="*/ 0 w 50"/>
                      <a:gd name="T7" fmla="*/ 4 h 67"/>
                      <a:gd name="T8" fmla="*/ 44 w 50"/>
                      <a:gd name="T9" fmla="*/ 67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0" h="67">
                        <a:moveTo>
                          <a:pt x="44" y="67"/>
                        </a:moveTo>
                        <a:cubicBezTo>
                          <a:pt x="46" y="65"/>
                          <a:pt x="48" y="64"/>
                          <a:pt x="50" y="62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4"/>
                        </a:cubicBezTo>
                        <a:lnTo>
                          <a:pt x="44" y="6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9" name="Freeform 26">
                    <a:extLst>
                      <a:ext uri="{FF2B5EF4-FFF2-40B4-BE49-F238E27FC236}">
                        <a16:creationId xmlns:a16="http://schemas.microsoft.com/office/drawing/2014/main" id="{4E533C1A-B9B9-5629-0C93-92A354CA976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271963" y="2960688"/>
                    <a:ext cx="109538" cy="111125"/>
                  </a:xfrm>
                  <a:custGeom>
                    <a:avLst/>
                    <a:gdLst>
                      <a:gd name="T0" fmla="*/ 5 w 59"/>
                      <a:gd name="T1" fmla="*/ 60 h 60"/>
                      <a:gd name="T2" fmla="*/ 59 w 59"/>
                      <a:gd name="T3" fmla="*/ 6 h 60"/>
                      <a:gd name="T4" fmla="*/ 56 w 59"/>
                      <a:gd name="T5" fmla="*/ 3 h 60"/>
                      <a:gd name="T6" fmla="*/ 54 w 59"/>
                      <a:gd name="T7" fmla="*/ 0 h 60"/>
                      <a:gd name="T8" fmla="*/ 0 w 59"/>
                      <a:gd name="T9" fmla="*/ 54 h 60"/>
                      <a:gd name="T10" fmla="*/ 5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" y="60"/>
                        </a:moveTo>
                        <a:cubicBezTo>
                          <a:pt x="59" y="6"/>
                          <a:pt x="59" y="6"/>
                          <a:pt x="59" y="6"/>
                        </a:cubicBezTo>
                        <a:cubicBezTo>
                          <a:pt x="58" y="5"/>
                          <a:pt x="57" y="4"/>
                          <a:pt x="56" y="3"/>
                        </a:cubicBezTo>
                        <a:cubicBezTo>
                          <a:pt x="55" y="2"/>
                          <a:pt x="55" y="1"/>
                          <a:pt x="54" y="0"/>
                        </a:cubicBezTo>
                        <a:cubicBezTo>
                          <a:pt x="0" y="54"/>
                          <a:pt x="0" y="54"/>
                          <a:pt x="0" y="54"/>
                        </a:cubicBezTo>
                        <a:cubicBezTo>
                          <a:pt x="2" y="56"/>
                          <a:pt x="4" y="58"/>
                          <a:pt x="5" y="6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0" name="Freeform 27">
                    <a:extLst>
                      <a:ext uri="{FF2B5EF4-FFF2-40B4-BE49-F238E27FC236}">
                        <a16:creationId xmlns:a16="http://schemas.microsoft.com/office/drawing/2014/main" id="{EF992C20-86A4-ED88-DE1A-C38E5B861BE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79513" y="2963863"/>
                    <a:ext cx="109538" cy="111125"/>
                  </a:xfrm>
                  <a:custGeom>
                    <a:avLst/>
                    <a:gdLst>
                      <a:gd name="T0" fmla="*/ 54 w 59"/>
                      <a:gd name="T1" fmla="*/ 60 h 60"/>
                      <a:gd name="T2" fmla="*/ 59 w 59"/>
                      <a:gd name="T3" fmla="*/ 54 h 60"/>
                      <a:gd name="T4" fmla="*/ 6 w 59"/>
                      <a:gd name="T5" fmla="*/ 0 h 60"/>
                      <a:gd name="T6" fmla="*/ 5 w 59"/>
                      <a:gd name="T7" fmla="*/ 1 h 60"/>
                      <a:gd name="T8" fmla="*/ 0 w 59"/>
                      <a:gd name="T9" fmla="*/ 6 h 60"/>
                      <a:gd name="T10" fmla="*/ 54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4" y="60"/>
                        </a:moveTo>
                        <a:cubicBezTo>
                          <a:pt x="56" y="58"/>
                          <a:pt x="57" y="56"/>
                          <a:pt x="59" y="54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5" y="1"/>
                          <a:pt x="5" y="1"/>
                          <a:pt x="5" y="1"/>
                        </a:cubicBezTo>
                        <a:cubicBezTo>
                          <a:pt x="3" y="3"/>
                          <a:pt x="2" y="4"/>
                          <a:pt x="0" y="6"/>
                        </a:cubicBezTo>
                        <a:lnTo>
                          <a:pt x="54" y="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1" name="Freeform 28">
                    <a:extLst>
                      <a:ext uri="{FF2B5EF4-FFF2-40B4-BE49-F238E27FC236}">
                        <a16:creationId xmlns:a16="http://schemas.microsoft.com/office/drawing/2014/main" id="{45CF082E-5D8D-F732-DC4C-5768965DBBA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28638" y="4557713"/>
                    <a:ext cx="138113" cy="14288"/>
                  </a:xfrm>
                  <a:custGeom>
                    <a:avLst/>
                    <a:gdLst>
                      <a:gd name="T0" fmla="*/ 75 w 75"/>
                      <a:gd name="T1" fmla="*/ 0 h 8"/>
                      <a:gd name="T2" fmla="*/ 0 w 75"/>
                      <a:gd name="T3" fmla="*/ 0 h 8"/>
                      <a:gd name="T4" fmla="*/ 0 w 75"/>
                      <a:gd name="T5" fmla="*/ 8 h 8"/>
                      <a:gd name="T6" fmla="*/ 75 w 75"/>
                      <a:gd name="T7" fmla="*/ 8 h 8"/>
                      <a:gd name="T8" fmla="*/ 75 w 75"/>
                      <a:gd name="T9" fmla="*/ 0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8">
                        <a:moveTo>
                          <a:pt x="75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cubicBezTo>
                          <a:pt x="75" y="8"/>
                          <a:pt x="75" y="8"/>
                          <a:pt x="75" y="8"/>
                        </a:cubicBezTo>
                        <a:cubicBezTo>
                          <a:pt x="75" y="5"/>
                          <a:pt x="75" y="3"/>
                          <a:pt x="75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2" name="Freeform 29">
                    <a:extLst>
                      <a:ext uri="{FF2B5EF4-FFF2-40B4-BE49-F238E27FC236}">
                        <a16:creationId xmlns:a16="http://schemas.microsoft.com/office/drawing/2014/main" id="{159CEC23-5EC4-36E2-BD97-3C811E3C521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133850" y="2828926"/>
                    <a:ext cx="103188" cy="115888"/>
                  </a:xfrm>
                  <a:custGeom>
                    <a:avLst/>
                    <a:gdLst>
                      <a:gd name="T0" fmla="*/ 0 w 55"/>
                      <a:gd name="T1" fmla="*/ 58 h 63"/>
                      <a:gd name="T2" fmla="*/ 6 w 55"/>
                      <a:gd name="T3" fmla="*/ 63 h 63"/>
                      <a:gd name="T4" fmla="*/ 55 w 55"/>
                      <a:gd name="T5" fmla="*/ 5 h 63"/>
                      <a:gd name="T6" fmla="*/ 49 w 55"/>
                      <a:gd name="T7" fmla="*/ 0 h 63"/>
                      <a:gd name="T8" fmla="*/ 0 w 55"/>
                      <a:gd name="T9" fmla="*/ 58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0" y="58"/>
                        </a:moveTo>
                        <a:cubicBezTo>
                          <a:pt x="2" y="60"/>
                          <a:pt x="4" y="62"/>
                          <a:pt x="6" y="63"/>
                        </a:cubicBezTo>
                        <a:cubicBezTo>
                          <a:pt x="55" y="5"/>
                          <a:pt x="55" y="5"/>
                          <a:pt x="55" y="5"/>
                        </a:cubicBezTo>
                        <a:cubicBezTo>
                          <a:pt x="53" y="3"/>
                          <a:pt x="51" y="2"/>
                          <a:pt x="49" y="0"/>
                        </a:cubicBezTo>
                        <a:lnTo>
                          <a:pt x="0" y="58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3" name="Freeform 30">
                    <a:extLst>
                      <a:ext uri="{FF2B5EF4-FFF2-40B4-BE49-F238E27FC236}">
                        <a16:creationId xmlns:a16="http://schemas.microsoft.com/office/drawing/2014/main" id="{24EF9492-9E2A-91EF-968D-15A6EBD96C5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58813" y="3787776"/>
                    <a:ext cx="136525" cy="60325"/>
                  </a:xfrm>
                  <a:custGeom>
                    <a:avLst/>
                    <a:gdLst>
                      <a:gd name="T0" fmla="*/ 71 w 74"/>
                      <a:gd name="T1" fmla="*/ 33 h 33"/>
                      <a:gd name="T2" fmla="*/ 74 w 74"/>
                      <a:gd name="T3" fmla="*/ 26 h 33"/>
                      <a:gd name="T4" fmla="*/ 2 w 74"/>
                      <a:gd name="T5" fmla="*/ 0 h 33"/>
                      <a:gd name="T6" fmla="*/ 0 w 74"/>
                      <a:gd name="T7" fmla="*/ 7 h 33"/>
                      <a:gd name="T8" fmla="*/ 71 w 74"/>
                      <a:gd name="T9" fmla="*/ 33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4" h="33">
                        <a:moveTo>
                          <a:pt x="71" y="33"/>
                        </a:moveTo>
                        <a:cubicBezTo>
                          <a:pt x="72" y="31"/>
                          <a:pt x="73" y="28"/>
                          <a:pt x="74" y="26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2" y="2"/>
                          <a:pt x="1" y="5"/>
                          <a:pt x="0" y="7"/>
                        </a:cubicBezTo>
                        <a:lnTo>
                          <a:pt x="71" y="3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4" name="Freeform 31">
                    <a:extLst>
                      <a:ext uri="{FF2B5EF4-FFF2-40B4-BE49-F238E27FC236}">
                        <a16:creationId xmlns:a16="http://schemas.microsoft.com/office/drawing/2014/main" id="{D7E7333E-C432-C2C2-5D95-836464E2293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832225" y="2605088"/>
                    <a:ext cx="84138" cy="128588"/>
                  </a:xfrm>
                  <a:custGeom>
                    <a:avLst/>
                    <a:gdLst>
                      <a:gd name="T0" fmla="*/ 0 w 45"/>
                      <a:gd name="T1" fmla="*/ 65 h 70"/>
                      <a:gd name="T2" fmla="*/ 7 w 45"/>
                      <a:gd name="T3" fmla="*/ 70 h 70"/>
                      <a:gd name="T4" fmla="*/ 45 w 45"/>
                      <a:gd name="T5" fmla="*/ 4 h 70"/>
                      <a:gd name="T6" fmla="*/ 38 w 45"/>
                      <a:gd name="T7" fmla="*/ 0 h 70"/>
                      <a:gd name="T8" fmla="*/ 0 w 45"/>
                      <a:gd name="T9" fmla="*/ 65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0" y="65"/>
                        </a:moveTo>
                        <a:cubicBezTo>
                          <a:pt x="3" y="67"/>
                          <a:pt x="5" y="68"/>
                          <a:pt x="7" y="70"/>
                        </a:cubicBezTo>
                        <a:cubicBezTo>
                          <a:pt x="45" y="4"/>
                          <a:pt x="45" y="4"/>
                          <a:pt x="45" y="4"/>
                        </a:cubicBezTo>
                        <a:cubicBezTo>
                          <a:pt x="43" y="2"/>
                          <a:pt x="41" y="1"/>
                          <a:pt x="38" y="0"/>
                        </a:cubicBezTo>
                        <a:lnTo>
                          <a:pt x="0" y="65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5" name="Freeform 32">
                    <a:extLst>
                      <a:ext uri="{FF2B5EF4-FFF2-40B4-BE49-F238E27FC236}">
                        <a16:creationId xmlns:a16="http://schemas.microsoft.com/office/drawing/2014/main" id="{2147AE7D-C3DD-4A92-AD37-76418DC3A22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987800" y="2708276"/>
                    <a:ext cx="95250" cy="123825"/>
                  </a:xfrm>
                  <a:custGeom>
                    <a:avLst/>
                    <a:gdLst>
                      <a:gd name="T0" fmla="*/ 0 w 51"/>
                      <a:gd name="T1" fmla="*/ 63 h 67"/>
                      <a:gd name="T2" fmla="*/ 7 w 51"/>
                      <a:gd name="T3" fmla="*/ 67 h 67"/>
                      <a:gd name="T4" fmla="*/ 51 w 51"/>
                      <a:gd name="T5" fmla="*/ 5 h 67"/>
                      <a:gd name="T6" fmla="*/ 44 w 51"/>
                      <a:gd name="T7" fmla="*/ 0 h 67"/>
                      <a:gd name="T8" fmla="*/ 0 w 51"/>
                      <a:gd name="T9" fmla="*/ 63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1" h="67">
                        <a:moveTo>
                          <a:pt x="0" y="63"/>
                        </a:moveTo>
                        <a:cubicBezTo>
                          <a:pt x="2" y="64"/>
                          <a:pt x="5" y="66"/>
                          <a:pt x="7" y="67"/>
                        </a:cubicBezTo>
                        <a:cubicBezTo>
                          <a:pt x="51" y="5"/>
                          <a:pt x="51" y="5"/>
                          <a:pt x="51" y="5"/>
                        </a:cubicBezTo>
                        <a:cubicBezTo>
                          <a:pt x="48" y="3"/>
                          <a:pt x="46" y="2"/>
                          <a:pt x="44" y="0"/>
                        </a:cubicBezTo>
                        <a:lnTo>
                          <a:pt x="0" y="63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6" name="Freeform 33">
                    <a:extLst>
                      <a:ext uri="{FF2B5EF4-FFF2-40B4-BE49-F238E27FC236}">
                        <a16:creationId xmlns:a16="http://schemas.microsoft.com/office/drawing/2014/main" id="{4AC3C677-D76E-8785-65D9-A0FB23411B4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61988" y="5280026"/>
                    <a:ext cx="139700" cy="60325"/>
                  </a:xfrm>
                  <a:custGeom>
                    <a:avLst/>
                    <a:gdLst>
                      <a:gd name="T0" fmla="*/ 75 w 75"/>
                      <a:gd name="T1" fmla="*/ 7 h 33"/>
                      <a:gd name="T2" fmla="*/ 72 w 75"/>
                      <a:gd name="T3" fmla="*/ 0 h 33"/>
                      <a:gd name="T4" fmla="*/ 0 w 75"/>
                      <a:gd name="T5" fmla="*/ 26 h 33"/>
                      <a:gd name="T6" fmla="*/ 3 w 75"/>
                      <a:gd name="T7" fmla="*/ 33 h 33"/>
                      <a:gd name="T8" fmla="*/ 75 w 75"/>
                      <a:gd name="T9" fmla="*/ 7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33">
                        <a:moveTo>
                          <a:pt x="75" y="7"/>
                        </a:moveTo>
                        <a:cubicBezTo>
                          <a:pt x="74" y="5"/>
                          <a:pt x="73" y="2"/>
                          <a:pt x="72" y="0"/>
                        </a:cubicBezTo>
                        <a:cubicBezTo>
                          <a:pt x="0" y="26"/>
                          <a:pt x="0" y="26"/>
                          <a:pt x="0" y="26"/>
                        </a:cubicBezTo>
                        <a:cubicBezTo>
                          <a:pt x="1" y="28"/>
                          <a:pt x="2" y="31"/>
                          <a:pt x="3" y="33"/>
                        </a:cubicBezTo>
                        <a:lnTo>
                          <a:pt x="75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7" name="Freeform 34">
                    <a:extLst>
                      <a:ext uri="{FF2B5EF4-FFF2-40B4-BE49-F238E27FC236}">
                        <a16:creationId xmlns:a16="http://schemas.microsoft.com/office/drawing/2014/main" id="{44F47FB3-64C8-4154-ED5E-FF1BB4EF734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04838" y="5103813"/>
                    <a:ext cx="138113" cy="50800"/>
                  </a:xfrm>
                  <a:custGeom>
                    <a:avLst/>
                    <a:gdLst>
                      <a:gd name="T0" fmla="*/ 75 w 75"/>
                      <a:gd name="T1" fmla="*/ 8 h 27"/>
                      <a:gd name="T2" fmla="*/ 73 w 75"/>
                      <a:gd name="T3" fmla="*/ 0 h 27"/>
                      <a:gd name="T4" fmla="*/ 0 w 75"/>
                      <a:gd name="T5" fmla="*/ 20 h 27"/>
                      <a:gd name="T6" fmla="*/ 2 w 75"/>
                      <a:gd name="T7" fmla="*/ 27 h 27"/>
                      <a:gd name="T8" fmla="*/ 75 w 75"/>
                      <a:gd name="T9" fmla="*/ 8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27">
                        <a:moveTo>
                          <a:pt x="75" y="8"/>
                        </a:moveTo>
                        <a:cubicBezTo>
                          <a:pt x="74" y="5"/>
                          <a:pt x="74" y="3"/>
                          <a:pt x="73" y="0"/>
                        </a:cubicBezTo>
                        <a:cubicBezTo>
                          <a:pt x="0" y="20"/>
                          <a:pt x="0" y="20"/>
                          <a:pt x="0" y="20"/>
                        </a:cubicBezTo>
                        <a:cubicBezTo>
                          <a:pt x="0" y="22"/>
                          <a:pt x="1" y="25"/>
                          <a:pt x="2" y="27"/>
                        </a:cubicBezTo>
                        <a:lnTo>
                          <a:pt x="75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8" name="Freeform 35">
                    <a:extLst>
                      <a:ext uri="{FF2B5EF4-FFF2-40B4-BE49-F238E27FC236}">
                        <a16:creationId xmlns:a16="http://schemas.microsoft.com/office/drawing/2014/main" id="{8ACE30C7-A27C-645E-B0F0-736CEEFAC27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8675" y="5613401"/>
                    <a:ext cx="130175" cy="82550"/>
                  </a:xfrm>
                  <a:custGeom>
                    <a:avLst/>
                    <a:gdLst>
                      <a:gd name="T0" fmla="*/ 70 w 70"/>
                      <a:gd name="T1" fmla="*/ 7 h 45"/>
                      <a:gd name="T2" fmla="*/ 66 w 70"/>
                      <a:gd name="T3" fmla="*/ 0 h 45"/>
                      <a:gd name="T4" fmla="*/ 0 w 70"/>
                      <a:gd name="T5" fmla="*/ 38 h 45"/>
                      <a:gd name="T6" fmla="*/ 4 w 70"/>
                      <a:gd name="T7" fmla="*/ 45 h 45"/>
                      <a:gd name="T8" fmla="*/ 70 w 70"/>
                      <a:gd name="T9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70" y="7"/>
                        </a:moveTo>
                        <a:cubicBezTo>
                          <a:pt x="69" y="4"/>
                          <a:pt x="67" y="2"/>
                          <a:pt x="66" y="0"/>
                        </a:cubicBezTo>
                        <a:cubicBezTo>
                          <a:pt x="0" y="38"/>
                          <a:pt x="0" y="38"/>
                          <a:pt x="0" y="38"/>
                        </a:cubicBezTo>
                        <a:cubicBezTo>
                          <a:pt x="1" y="40"/>
                          <a:pt x="3" y="42"/>
                          <a:pt x="4" y="45"/>
                        </a:cubicBezTo>
                        <a:lnTo>
                          <a:pt x="70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9" name="Freeform 36">
                    <a:extLst>
                      <a:ext uri="{FF2B5EF4-FFF2-40B4-BE49-F238E27FC236}">
                        <a16:creationId xmlns:a16="http://schemas.microsoft.com/office/drawing/2014/main" id="{A67D0F3A-A28A-A0DB-BED4-E5C2141C7FC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61975" y="4924426"/>
                    <a:ext cx="141288" cy="38100"/>
                  </a:xfrm>
                  <a:custGeom>
                    <a:avLst/>
                    <a:gdLst>
                      <a:gd name="T0" fmla="*/ 76 w 76"/>
                      <a:gd name="T1" fmla="*/ 8 h 21"/>
                      <a:gd name="T2" fmla="*/ 74 w 76"/>
                      <a:gd name="T3" fmla="*/ 0 h 21"/>
                      <a:gd name="T4" fmla="*/ 0 w 76"/>
                      <a:gd name="T5" fmla="*/ 13 h 21"/>
                      <a:gd name="T6" fmla="*/ 1 w 76"/>
                      <a:gd name="T7" fmla="*/ 21 h 21"/>
                      <a:gd name="T8" fmla="*/ 76 w 76"/>
                      <a:gd name="T9" fmla="*/ 8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21">
                        <a:moveTo>
                          <a:pt x="76" y="8"/>
                        </a:moveTo>
                        <a:cubicBezTo>
                          <a:pt x="75" y="5"/>
                          <a:pt x="75" y="3"/>
                          <a:pt x="74" y="0"/>
                        </a:cubicBez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0" y="16"/>
                          <a:pt x="1" y="18"/>
                          <a:pt x="1" y="21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0" name="Freeform 37">
                    <a:extLst>
                      <a:ext uri="{FF2B5EF4-FFF2-40B4-BE49-F238E27FC236}">
                        <a16:creationId xmlns:a16="http://schemas.microsoft.com/office/drawing/2014/main" id="{F07ED8ED-EEC5-BF16-97E2-40764E0B12F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8188" y="5449888"/>
                    <a:ext cx="133350" cy="73025"/>
                  </a:xfrm>
                  <a:custGeom>
                    <a:avLst/>
                    <a:gdLst>
                      <a:gd name="T0" fmla="*/ 72 w 72"/>
                      <a:gd name="T1" fmla="*/ 7 h 39"/>
                      <a:gd name="T2" fmla="*/ 69 w 72"/>
                      <a:gd name="T3" fmla="*/ 0 h 39"/>
                      <a:gd name="T4" fmla="*/ 0 w 72"/>
                      <a:gd name="T5" fmla="*/ 32 h 39"/>
                      <a:gd name="T6" fmla="*/ 3 w 72"/>
                      <a:gd name="T7" fmla="*/ 39 h 39"/>
                      <a:gd name="T8" fmla="*/ 72 w 72"/>
                      <a:gd name="T9" fmla="*/ 7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72" y="7"/>
                        </a:moveTo>
                        <a:cubicBezTo>
                          <a:pt x="71" y="4"/>
                          <a:pt x="70" y="2"/>
                          <a:pt x="69" y="0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1" y="34"/>
                          <a:pt x="2" y="37"/>
                          <a:pt x="3" y="39"/>
                        </a:cubicBezTo>
                        <a:lnTo>
                          <a:pt x="72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1" name="Freeform 39">
                    <a:extLst>
                      <a:ext uri="{FF2B5EF4-FFF2-40B4-BE49-F238E27FC236}">
                        <a16:creationId xmlns:a16="http://schemas.microsoft.com/office/drawing/2014/main" id="{5C666BDC-884B-F4E7-5F73-87BAB1EBC80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740276"/>
                    <a:ext cx="139700" cy="28575"/>
                  </a:xfrm>
                  <a:custGeom>
                    <a:avLst/>
                    <a:gdLst>
                      <a:gd name="T0" fmla="*/ 76 w 76"/>
                      <a:gd name="T1" fmla="*/ 8 h 15"/>
                      <a:gd name="T2" fmla="*/ 75 w 76"/>
                      <a:gd name="T3" fmla="*/ 0 h 15"/>
                      <a:gd name="T4" fmla="*/ 0 w 76"/>
                      <a:gd name="T5" fmla="*/ 7 h 15"/>
                      <a:gd name="T6" fmla="*/ 1 w 76"/>
                      <a:gd name="T7" fmla="*/ 15 h 15"/>
                      <a:gd name="T8" fmla="*/ 76 w 76"/>
                      <a:gd name="T9" fmla="*/ 8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15">
                        <a:moveTo>
                          <a:pt x="76" y="8"/>
                        </a:moveTo>
                        <a:cubicBezTo>
                          <a:pt x="76" y="6"/>
                          <a:pt x="76" y="3"/>
                          <a:pt x="75" y="0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10"/>
                          <a:pt x="1" y="12"/>
                          <a:pt x="1" y="15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2" name="Freeform 40">
                    <a:extLst>
                      <a:ext uri="{FF2B5EF4-FFF2-40B4-BE49-F238E27FC236}">
                        <a16:creationId xmlns:a16="http://schemas.microsoft.com/office/drawing/2014/main" id="{989A79AE-8456-6C9E-B75D-DD3DB02560C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360863"/>
                    <a:ext cx="138113" cy="28575"/>
                  </a:xfrm>
                  <a:custGeom>
                    <a:avLst/>
                    <a:gdLst>
                      <a:gd name="T0" fmla="*/ 75 w 75"/>
                      <a:gd name="T1" fmla="*/ 15 h 15"/>
                      <a:gd name="T2" fmla="*/ 75 w 75"/>
                      <a:gd name="T3" fmla="*/ 7 h 15"/>
                      <a:gd name="T4" fmla="*/ 0 w 75"/>
                      <a:gd name="T5" fmla="*/ 0 h 15"/>
                      <a:gd name="T6" fmla="*/ 0 w 75"/>
                      <a:gd name="T7" fmla="*/ 8 h 15"/>
                      <a:gd name="T8" fmla="*/ 75 w 75"/>
                      <a:gd name="T9" fmla="*/ 15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5">
                        <a:moveTo>
                          <a:pt x="75" y="15"/>
                        </a:moveTo>
                        <a:cubicBezTo>
                          <a:pt x="75" y="12"/>
                          <a:pt x="75" y="9"/>
                          <a:pt x="75" y="7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lnTo>
                          <a:pt x="75" y="1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3" name="Freeform 41">
                    <a:extLst>
                      <a:ext uri="{FF2B5EF4-FFF2-40B4-BE49-F238E27FC236}">
                        <a16:creationId xmlns:a16="http://schemas.microsoft.com/office/drawing/2014/main" id="{F915045F-F2A2-13D3-E512-DB4A9E0A301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644900" y="2508251"/>
                    <a:ext cx="107950" cy="171450"/>
                  </a:xfrm>
                  <a:custGeom>
                    <a:avLst/>
                    <a:gdLst>
                      <a:gd name="T0" fmla="*/ 39 w 58"/>
                      <a:gd name="T1" fmla="*/ 0 h 93"/>
                      <a:gd name="T2" fmla="*/ 0 w 58"/>
                      <a:gd name="T3" fmla="*/ 85 h 93"/>
                      <a:gd name="T4" fmla="*/ 10 w 58"/>
                      <a:gd name="T5" fmla="*/ 89 h 93"/>
                      <a:gd name="T6" fmla="*/ 19 w 58"/>
                      <a:gd name="T7" fmla="*/ 93 h 93"/>
                      <a:gd name="T8" fmla="*/ 58 w 58"/>
                      <a:gd name="T9" fmla="*/ 8 h 93"/>
                      <a:gd name="T10" fmla="*/ 49 w 58"/>
                      <a:gd name="T11" fmla="*/ 4 h 93"/>
                      <a:gd name="T12" fmla="*/ 39 w 58"/>
                      <a:gd name="T13" fmla="*/ 0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39" y="0"/>
                        </a:moveTo>
                        <a:cubicBezTo>
                          <a:pt x="0" y="85"/>
                          <a:pt x="0" y="85"/>
                          <a:pt x="0" y="85"/>
                        </a:cubicBezTo>
                        <a:cubicBezTo>
                          <a:pt x="2" y="85"/>
                          <a:pt x="8" y="88"/>
                          <a:pt x="10" y="89"/>
                        </a:cubicBezTo>
                        <a:cubicBezTo>
                          <a:pt x="11" y="90"/>
                          <a:pt x="17" y="93"/>
                          <a:pt x="19" y="93"/>
                        </a:cubicBezTo>
                        <a:cubicBezTo>
                          <a:pt x="58" y="8"/>
                          <a:pt x="58" y="8"/>
                          <a:pt x="58" y="8"/>
                        </a:cubicBezTo>
                        <a:cubicBezTo>
                          <a:pt x="56" y="8"/>
                          <a:pt x="50" y="4"/>
                          <a:pt x="49" y="4"/>
                        </a:cubicBezTo>
                        <a:cubicBezTo>
                          <a:pt x="47" y="3"/>
                          <a:pt x="41" y="0"/>
                          <a:pt x="39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4" name="Freeform 42">
                    <a:extLst>
                      <a:ext uri="{FF2B5EF4-FFF2-40B4-BE49-F238E27FC236}">
                        <a16:creationId xmlns:a16="http://schemas.microsoft.com/office/drawing/2014/main" id="{4D652839-0E85-EA42-4813-72F8E993E43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364038" y="3095626"/>
                    <a:ext cx="157163" cy="139700"/>
                  </a:xfrm>
                  <a:custGeom>
                    <a:avLst/>
                    <a:gdLst>
                      <a:gd name="T0" fmla="*/ 72 w 85"/>
                      <a:gd name="T1" fmla="*/ 0 h 76"/>
                      <a:gd name="T2" fmla="*/ 0 w 85"/>
                      <a:gd name="T3" fmla="*/ 60 h 76"/>
                      <a:gd name="T4" fmla="*/ 6 w 85"/>
                      <a:gd name="T5" fmla="*/ 68 h 76"/>
                      <a:gd name="T6" fmla="*/ 13 w 85"/>
                      <a:gd name="T7" fmla="*/ 76 h 76"/>
                      <a:gd name="T8" fmla="*/ 85 w 85"/>
                      <a:gd name="T9" fmla="*/ 16 h 76"/>
                      <a:gd name="T10" fmla="*/ 78 w 85"/>
                      <a:gd name="T11" fmla="*/ 8 h 76"/>
                      <a:gd name="T12" fmla="*/ 72 w 85"/>
                      <a:gd name="T13" fmla="*/ 0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6">
                        <a:moveTo>
                          <a:pt x="72" y="0"/>
                        </a:move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1" y="61"/>
                          <a:pt x="6" y="67"/>
                          <a:pt x="6" y="68"/>
                        </a:cubicBezTo>
                        <a:cubicBezTo>
                          <a:pt x="7" y="69"/>
                          <a:pt x="12" y="75"/>
                          <a:pt x="13" y="76"/>
                        </a:cubicBezTo>
                        <a:cubicBezTo>
                          <a:pt x="85" y="16"/>
                          <a:pt x="85" y="16"/>
                          <a:pt x="85" y="16"/>
                        </a:cubicBezTo>
                        <a:cubicBezTo>
                          <a:pt x="84" y="15"/>
                          <a:pt x="79" y="9"/>
                          <a:pt x="78" y="8"/>
                        </a:cubicBezTo>
                        <a:cubicBezTo>
                          <a:pt x="78" y="7"/>
                          <a:pt x="73" y="1"/>
                          <a:pt x="72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5" name="Freeform 43">
                    <a:extLst>
                      <a:ext uri="{FF2B5EF4-FFF2-40B4-BE49-F238E27FC236}">
                        <a16:creationId xmlns:a16="http://schemas.microsoft.com/office/drawing/2014/main" id="{85AE9791-2BDF-25C7-EAA1-7AF1C3AC96F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814513" y="2506663"/>
                    <a:ext cx="107950" cy="171450"/>
                  </a:xfrm>
                  <a:custGeom>
                    <a:avLst/>
                    <a:gdLst>
                      <a:gd name="T0" fmla="*/ 0 w 58"/>
                      <a:gd name="T1" fmla="*/ 9 h 93"/>
                      <a:gd name="T2" fmla="*/ 40 w 58"/>
                      <a:gd name="T3" fmla="*/ 93 h 93"/>
                      <a:gd name="T4" fmla="*/ 49 w 58"/>
                      <a:gd name="T5" fmla="*/ 89 h 93"/>
                      <a:gd name="T6" fmla="*/ 58 w 58"/>
                      <a:gd name="T7" fmla="*/ 85 h 93"/>
                      <a:gd name="T8" fmla="*/ 18 w 58"/>
                      <a:gd name="T9" fmla="*/ 0 h 93"/>
                      <a:gd name="T10" fmla="*/ 9 w 58"/>
                      <a:gd name="T11" fmla="*/ 4 h 93"/>
                      <a:gd name="T12" fmla="*/ 0 w 58"/>
                      <a:gd name="T13" fmla="*/ 9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0" y="9"/>
                        </a:moveTo>
                        <a:cubicBezTo>
                          <a:pt x="40" y="93"/>
                          <a:pt x="40" y="93"/>
                          <a:pt x="40" y="93"/>
                        </a:cubicBezTo>
                        <a:cubicBezTo>
                          <a:pt x="41" y="93"/>
                          <a:pt x="47" y="90"/>
                          <a:pt x="49" y="89"/>
                        </a:cubicBezTo>
                        <a:cubicBezTo>
                          <a:pt x="50" y="88"/>
                          <a:pt x="57" y="85"/>
                          <a:pt x="58" y="85"/>
                        </a:cubicBezTo>
                        <a:cubicBezTo>
                          <a:pt x="18" y="0"/>
                          <a:pt x="18" y="0"/>
                          <a:pt x="18" y="0"/>
                        </a:cubicBezTo>
                        <a:cubicBezTo>
                          <a:pt x="17" y="1"/>
                          <a:pt x="10" y="4"/>
                          <a:pt x="9" y="4"/>
                        </a:cubicBezTo>
                        <a:cubicBezTo>
                          <a:pt x="7" y="5"/>
                          <a:pt x="1" y="8"/>
                          <a:pt x="0" y="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6" name="Freeform 44">
                    <a:extLst>
                      <a:ext uri="{FF2B5EF4-FFF2-40B4-BE49-F238E27FC236}">
                        <a16:creationId xmlns:a16="http://schemas.microsoft.com/office/drawing/2014/main" id="{194DE3A4-DDA4-131D-F6D3-15F1A0892A4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225" y="3100388"/>
                    <a:ext cx="157163" cy="139700"/>
                  </a:xfrm>
                  <a:custGeom>
                    <a:avLst/>
                    <a:gdLst>
                      <a:gd name="T0" fmla="*/ 0 w 85"/>
                      <a:gd name="T1" fmla="*/ 16 h 75"/>
                      <a:gd name="T2" fmla="*/ 72 w 85"/>
                      <a:gd name="T3" fmla="*/ 75 h 75"/>
                      <a:gd name="T4" fmla="*/ 78 w 85"/>
                      <a:gd name="T5" fmla="*/ 67 h 75"/>
                      <a:gd name="T6" fmla="*/ 85 w 85"/>
                      <a:gd name="T7" fmla="*/ 59 h 75"/>
                      <a:gd name="T8" fmla="*/ 12 w 85"/>
                      <a:gd name="T9" fmla="*/ 0 h 75"/>
                      <a:gd name="T10" fmla="*/ 6 w 85"/>
                      <a:gd name="T11" fmla="*/ 8 h 75"/>
                      <a:gd name="T12" fmla="*/ 0 w 85"/>
                      <a:gd name="T13" fmla="*/ 16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5">
                        <a:moveTo>
                          <a:pt x="0" y="16"/>
                        </a:moveTo>
                        <a:cubicBezTo>
                          <a:pt x="72" y="75"/>
                          <a:pt x="72" y="75"/>
                          <a:pt x="72" y="75"/>
                        </a:cubicBezTo>
                        <a:cubicBezTo>
                          <a:pt x="73" y="74"/>
                          <a:pt x="78" y="68"/>
                          <a:pt x="78" y="67"/>
                        </a:cubicBezTo>
                        <a:cubicBezTo>
                          <a:pt x="79" y="66"/>
                          <a:pt x="84" y="60"/>
                          <a:pt x="85" y="59"/>
                        </a:cubicBezTo>
                        <a:cubicBezTo>
                          <a:pt x="12" y="0"/>
                          <a:pt x="12" y="0"/>
                          <a:pt x="12" y="0"/>
                        </a:cubicBezTo>
                        <a:cubicBezTo>
                          <a:pt x="11" y="1"/>
                          <a:pt x="7" y="7"/>
                          <a:pt x="6" y="8"/>
                        </a:cubicBezTo>
                        <a:cubicBezTo>
                          <a:pt x="5" y="9"/>
                          <a:pt x="0" y="14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7" name="Freeform 46">
                    <a:extLst>
                      <a:ext uri="{FF2B5EF4-FFF2-40B4-BE49-F238E27FC236}">
                        <a16:creationId xmlns:a16="http://schemas.microsoft.com/office/drawing/2014/main" id="{DCE7D742-14C5-ED75-D7BE-D3E2227B78A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58800" y="4906963"/>
                    <a:ext cx="177800" cy="69850"/>
                  </a:xfrm>
                  <a:custGeom>
                    <a:avLst/>
                    <a:gdLst>
                      <a:gd name="T0" fmla="*/ 4 w 96"/>
                      <a:gd name="T1" fmla="*/ 37 h 37"/>
                      <a:gd name="T2" fmla="*/ 96 w 96"/>
                      <a:gd name="T3" fmla="*/ 20 h 37"/>
                      <a:gd name="T4" fmla="*/ 94 w 96"/>
                      <a:gd name="T5" fmla="*/ 10 h 37"/>
                      <a:gd name="T6" fmla="*/ 92 w 96"/>
                      <a:gd name="T7" fmla="*/ 0 h 37"/>
                      <a:gd name="T8" fmla="*/ 0 w 96"/>
                      <a:gd name="T9" fmla="*/ 17 h 37"/>
                      <a:gd name="T10" fmla="*/ 2 w 96"/>
                      <a:gd name="T11" fmla="*/ 27 h 37"/>
                      <a:gd name="T12" fmla="*/ 4 w 96"/>
                      <a:gd name="T13" fmla="*/ 37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6" h="37">
                        <a:moveTo>
                          <a:pt x="4" y="37"/>
                        </a:moveTo>
                        <a:cubicBezTo>
                          <a:pt x="96" y="20"/>
                          <a:pt x="96" y="20"/>
                          <a:pt x="96" y="20"/>
                        </a:cubicBezTo>
                        <a:cubicBezTo>
                          <a:pt x="96" y="19"/>
                          <a:pt x="94" y="12"/>
                          <a:pt x="94" y="10"/>
                        </a:cubicBezTo>
                        <a:cubicBezTo>
                          <a:pt x="94" y="9"/>
                          <a:pt x="93" y="2"/>
                          <a:pt x="92" y="0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1" y="18"/>
                          <a:pt x="2" y="25"/>
                          <a:pt x="2" y="27"/>
                        </a:cubicBezTo>
                        <a:cubicBezTo>
                          <a:pt x="2" y="28"/>
                          <a:pt x="4" y="35"/>
                          <a:pt x="4" y="3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01" name="Group 1019">
                <a:extLst>
                  <a:ext uri="{FF2B5EF4-FFF2-40B4-BE49-F238E27FC236}">
                    <a16:creationId xmlns:a16="http://schemas.microsoft.com/office/drawing/2014/main" id="{8CB67CE1-62B7-281F-DD82-D5AD92F64BF5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486427" y="2263024"/>
                <a:ext cx="1699667" cy="2477857"/>
                <a:chOff x="1866900" y="3224213"/>
                <a:chExt cx="2184400" cy="3184525"/>
              </a:xfrm>
            </p:grpSpPr>
            <p:sp>
              <p:nvSpPr>
                <p:cNvPr id="226" name="Freeform 47">
                  <a:extLst>
                    <a:ext uri="{FF2B5EF4-FFF2-40B4-BE49-F238E27FC236}">
                      <a16:creationId xmlns:a16="http://schemas.microsoft.com/office/drawing/2014/main" id="{47B5FF75-694C-3ABE-A3AD-7208702E9CC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933575" y="3373438"/>
                  <a:ext cx="2117725" cy="3035300"/>
                </a:xfrm>
                <a:custGeom>
                  <a:avLst/>
                  <a:gdLst>
                    <a:gd name="T0" fmla="*/ 1142 w 1142"/>
                    <a:gd name="T1" fmla="*/ 0 h 1640"/>
                    <a:gd name="T2" fmla="*/ 883 w 1142"/>
                    <a:gd name="T3" fmla="*/ 142 h 1640"/>
                    <a:gd name="T4" fmla="*/ 947 w 1142"/>
                    <a:gd name="T5" fmla="*/ 186 h 1640"/>
                    <a:gd name="T6" fmla="*/ 619 w 1142"/>
                    <a:gd name="T7" fmla="*/ 667 h 1640"/>
                    <a:gd name="T8" fmla="*/ 588 w 1142"/>
                    <a:gd name="T9" fmla="*/ 663 h 1640"/>
                    <a:gd name="T10" fmla="*/ 465 w 1142"/>
                    <a:gd name="T11" fmla="*/ 729 h 1640"/>
                    <a:gd name="T12" fmla="*/ 463 w 1142"/>
                    <a:gd name="T13" fmla="*/ 895 h 1640"/>
                    <a:gd name="T14" fmla="*/ 0 w 1142"/>
                    <a:gd name="T15" fmla="*/ 1576 h 1640"/>
                    <a:gd name="T16" fmla="*/ 93 w 1142"/>
                    <a:gd name="T17" fmla="*/ 1640 h 1640"/>
                    <a:gd name="T18" fmla="*/ 558 w 1142"/>
                    <a:gd name="T19" fmla="*/ 959 h 1640"/>
                    <a:gd name="T20" fmla="*/ 588 w 1142"/>
                    <a:gd name="T21" fmla="*/ 963 h 1640"/>
                    <a:gd name="T22" fmla="*/ 712 w 1142"/>
                    <a:gd name="T23" fmla="*/ 897 h 1640"/>
                    <a:gd name="T24" fmla="*/ 713 w 1142"/>
                    <a:gd name="T25" fmla="*/ 731 h 1640"/>
                    <a:gd name="T26" fmla="*/ 1041 w 1142"/>
                    <a:gd name="T27" fmla="*/ 250 h 1640"/>
                    <a:gd name="T28" fmla="*/ 1105 w 1142"/>
                    <a:gd name="T29" fmla="*/ 293 h 1640"/>
                    <a:gd name="T30" fmla="*/ 1142 w 1142"/>
                    <a:gd name="T31" fmla="*/ 0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142" h="1640">
                      <a:moveTo>
                        <a:pt x="1142" y="0"/>
                      </a:move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619" y="667"/>
                        <a:pt x="619" y="667"/>
                        <a:pt x="619" y="667"/>
                      </a:cubicBezTo>
                      <a:cubicBezTo>
                        <a:pt x="609" y="665"/>
                        <a:pt x="599" y="663"/>
                        <a:pt x="588" y="663"/>
                      </a:cubicBezTo>
                      <a:cubicBezTo>
                        <a:pt x="541" y="663"/>
                        <a:pt x="494" y="686"/>
                        <a:pt x="465" y="729"/>
                      </a:cubicBezTo>
                      <a:cubicBezTo>
                        <a:pt x="430" y="780"/>
                        <a:pt x="431" y="846"/>
                        <a:pt x="463" y="895"/>
                      </a:cubicBezTo>
                      <a:cubicBezTo>
                        <a:pt x="463" y="895"/>
                        <a:pt x="56" y="1493"/>
                        <a:pt x="0" y="1576"/>
                      </a:cubicBezTo>
                      <a:cubicBezTo>
                        <a:pt x="93" y="1640"/>
                        <a:pt x="93" y="1640"/>
                        <a:pt x="93" y="1640"/>
                      </a:cubicBezTo>
                      <a:cubicBezTo>
                        <a:pt x="153" y="1551"/>
                        <a:pt x="558" y="959"/>
                        <a:pt x="558" y="959"/>
                      </a:cubicBezTo>
                      <a:cubicBezTo>
                        <a:pt x="568" y="961"/>
                        <a:pt x="578" y="963"/>
                        <a:pt x="588" y="963"/>
                      </a:cubicBezTo>
                      <a:cubicBezTo>
                        <a:pt x="636" y="963"/>
                        <a:pt x="683" y="940"/>
                        <a:pt x="712" y="897"/>
                      </a:cubicBezTo>
                      <a:cubicBezTo>
                        <a:pt x="747" y="846"/>
                        <a:pt x="745" y="780"/>
                        <a:pt x="713" y="731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142" y="0"/>
                        <a:pt x="1142" y="0"/>
                        <a:pt x="1142" y="0"/>
                      </a:cubicBezTo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Freeform 48">
                  <a:extLst>
                    <a:ext uri="{FF2B5EF4-FFF2-40B4-BE49-F238E27FC236}">
                      <a16:creationId xmlns:a16="http://schemas.microsoft.com/office/drawing/2014/main" id="{295DAAF7-6E66-51C1-8D2D-B48CBBF0727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866900" y="3224213"/>
                  <a:ext cx="2117725" cy="3036888"/>
                </a:xfrm>
                <a:custGeom>
                  <a:avLst/>
                  <a:gdLst>
                    <a:gd name="T0" fmla="*/ 0 w 1142"/>
                    <a:gd name="T1" fmla="*/ 1576 h 1640"/>
                    <a:gd name="T2" fmla="*/ 463 w 1142"/>
                    <a:gd name="T3" fmla="*/ 895 h 1640"/>
                    <a:gd name="T4" fmla="*/ 465 w 1142"/>
                    <a:gd name="T5" fmla="*/ 729 h 1640"/>
                    <a:gd name="T6" fmla="*/ 619 w 1142"/>
                    <a:gd name="T7" fmla="*/ 667 h 1640"/>
                    <a:gd name="T8" fmla="*/ 947 w 1142"/>
                    <a:gd name="T9" fmla="*/ 186 h 1640"/>
                    <a:gd name="T10" fmla="*/ 883 w 1142"/>
                    <a:gd name="T11" fmla="*/ 142 h 1640"/>
                    <a:gd name="T12" fmla="*/ 1142 w 1142"/>
                    <a:gd name="T13" fmla="*/ 0 h 1640"/>
                    <a:gd name="T14" fmla="*/ 1105 w 1142"/>
                    <a:gd name="T15" fmla="*/ 293 h 1640"/>
                    <a:gd name="T16" fmla="*/ 1041 w 1142"/>
                    <a:gd name="T17" fmla="*/ 250 h 1640"/>
                    <a:gd name="T18" fmla="*/ 713 w 1142"/>
                    <a:gd name="T19" fmla="*/ 731 h 1640"/>
                    <a:gd name="T20" fmla="*/ 712 w 1142"/>
                    <a:gd name="T21" fmla="*/ 897 h 1640"/>
                    <a:gd name="T22" fmla="*/ 558 w 1142"/>
                    <a:gd name="T23" fmla="*/ 959 h 1640"/>
                    <a:gd name="T24" fmla="*/ 93 w 1142"/>
                    <a:gd name="T25" fmla="*/ 1640 h 1640"/>
                    <a:gd name="T26" fmla="*/ 0 w 1142"/>
                    <a:gd name="T27" fmla="*/ 1576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42" h="1640">
                      <a:moveTo>
                        <a:pt x="0" y="1576"/>
                      </a:moveTo>
                      <a:cubicBezTo>
                        <a:pt x="56" y="1493"/>
                        <a:pt x="463" y="895"/>
                        <a:pt x="463" y="895"/>
                      </a:cubicBezTo>
                      <a:cubicBezTo>
                        <a:pt x="431" y="846"/>
                        <a:pt x="430" y="780"/>
                        <a:pt x="465" y="729"/>
                      </a:cubicBezTo>
                      <a:cubicBezTo>
                        <a:pt x="500" y="677"/>
                        <a:pt x="562" y="655"/>
                        <a:pt x="619" y="667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1142" y="0"/>
                        <a:pt x="1142" y="0"/>
                        <a:pt x="1142" y="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713" y="731"/>
                        <a:pt x="713" y="731"/>
                        <a:pt x="713" y="731"/>
                      </a:cubicBezTo>
                      <a:cubicBezTo>
                        <a:pt x="745" y="780"/>
                        <a:pt x="747" y="846"/>
                        <a:pt x="712" y="897"/>
                      </a:cubicBezTo>
                      <a:cubicBezTo>
                        <a:pt x="677" y="949"/>
                        <a:pt x="615" y="971"/>
                        <a:pt x="558" y="959"/>
                      </a:cubicBezTo>
                      <a:cubicBezTo>
                        <a:pt x="558" y="959"/>
                        <a:pt x="153" y="1551"/>
                        <a:pt x="93" y="1640"/>
                      </a:cubicBezTo>
                      <a:lnTo>
                        <a:pt x="0" y="157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 49">
                  <a:extLst>
                    <a:ext uri="{FF2B5EF4-FFF2-40B4-BE49-F238E27FC236}">
                      <a16:creationId xmlns:a16="http://schemas.microsoft.com/office/drawing/2014/main" id="{1FD56E72-71E1-39ED-2A6F-9C011B39EB4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849563" y="4622801"/>
                  <a:ext cx="215900" cy="214313"/>
                </a:xfrm>
                <a:custGeom>
                  <a:avLst/>
                  <a:gdLst>
                    <a:gd name="T0" fmla="*/ 100 w 116"/>
                    <a:gd name="T1" fmla="*/ 87 h 116"/>
                    <a:gd name="T2" fmla="*/ 30 w 116"/>
                    <a:gd name="T3" fmla="*/ 100 h 116"/>
                    <a:gd name="T4" fmla="*/ 16 w 116"/>
                    <a:gd name="T5" fmla="*/ 29 h 116"/>
                    <a:gd name="T6" fmla="*/ 87 w 116"/>
                    <a:gd name="T7" fmla="*/ 16 h 116"/>
                    <a:gd name="T8" fmla="*/ 100 w 116"/>
                    <a:gd name="T9" fmla="*/ 87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" h="116">
                      <a:moveTo>
                        <a:pt x="100" y="87"/>
                      </a:moveTo>
                      <a:cubicBezTo>
                        <a:pt x="85" y="110"/>
                        <a:pt x="53" y="116"/>
                        <a:pt x="30" y="100"/>
                      </a:cubicBezTo>
                      <a:cubicBezTo>
                        <a:pt x="6" y="84"/>
                        <a:pt x="0" y="53"/>
                        <a:pt x="16" y="29"/>
                      </a:cubicBezTo>
                      <a:cubicBezTo>
                        <a:pt x="32" y="6"/>
                        <a:pt x="64" y="0"/>
                        <a:pt x="87" y="16"/>
                      </a:cubicBezTo>
                      <a:cubicBezTo>
                        <a:pt x="110" y="32"/>
                        <a:pt x="116" y="63"/>
                        <a:pt x="100" y="87"/>
                      </a:cubicBezTo>
                      <a:close/>
                    </a:path>
                  </a:pathLst>
                </a:custGeom>
                <a:solidFill>
                  <a:srgbClr val="002B6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Oval 50">
                  <a:extLst>
                    <a:ext uri="{FF2B5EF4-FFF2-40B4-BE49-F238E27FC236}">
                      <a16:creationId xmlns:a16="http://schemas.microsoft.com/office/drawing/2014/main" id="{6F12C951-7A8D-0FCB-7EBB-0C48305682E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2919413" y="4694238"/>
                  <a:ext cx="73025" cy="73025"/>
                </a:xfrm>
                <a:prstGeom prst="ellipse">
                  <a:avLst/>
                </a:prstGeom>
                <a:solidFill>
                  <a:srgbClr val="56B9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2" name="Group 1020">
                <a:extLst>
                  <a:ext uri="{FF2B5EF4-FFF2-40B4-BE49-F238E27FC236}">
                    <a16:creationId xmlns:a16="http://schemas.microsoft.com/office/drawing/2014/main" id="{AB13D287-D968-E5D9-6CB3-40D9E66F73C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163860" y="3516775"/>
                <a:ext cx="839952" cy="104994"/>
                <a:chOff x="4022725" y="4835526"/>
                <a:chExt cx="1079500" cy="134938"/>
              </a:xfrm>
            </p:grpSpPr>
            <p:sp>
              <p:nvSpPr>
                <p:cNvPr id="103" name="Rectangle 53">
                  <a:extLst>
                    <a:ext uri="{FF2B5EF4-FFF2-40B4-BE49-F238E27FC236}">
                      <a16:creationId xmlns:a16="http://schemas.microsoft.com/office/drawing/2014/main" id="{E32052A8-B707-B9C9-9AE1-B1C47FF3F5C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Rectangle 54">
                  <a:extLst>
                    <a:ext uri="{FF2B5EF4-FFF2-40B4-BE49-F238E27FC236}">
                      <a16:creationId xmlns:a16="http://schemas.microsoft.com/office/drawing/2014/main" id="{59E5F87E-876A-7FEA-929E-434B24DA91D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Rectangle 55">
                  <a:extLst>
                    <a:ext uri="{FF2B5EF4-FFF2-40B4-BE49-F238E27FC236}">
                      <a16:creationId xmlns:a16="http://schemas.microsoft.com/office/drawing/2014/main" id="{65880559-4CE9-7ECA-64C8-8F7805AD270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Rectangle 56">
                  <a:extLst>
                    <a:ext uri="{FF2B5EF4-FFF2-40B4-BE49-F238E27FC236}">
                      <a16:creationId xmlns:a16="http://schemas.microsoft.com/office/drawing/2014/main" id="{B80C155D-806D-EF70-3DB1-E74B16758E6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Rectangle 57">
                  <a:extLst>
                    <a:ext uri="{FF2B5EF4-FFF2-40B4-BE49-F238E27FC236}">
                      <a16:creationId xmlns:a16="http://schemas.microsoft.com/office/drawing/2014/main" id="{B4A67734-C8CF-F47A-52B2-B0169990FAC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Rectangle 58">
                  <a:extLst>
                    <a:ext uri="{FF2B5EF4-FFF2-40B4-BE49-F238E27FC236}">
                      <a16:creationId xmlns:a16="http://schemas.microsoft.com/office/drawing/2014/main" id="{8B8B9E5C-5762-99F6-B198-43E703491CB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 59">
                  <a:extLst>
                    <a:ext uri="{FF2B5EF4-FFF2-40B4-BE49-F238E27FC236}">
                      <a16:creationId xmlns:a16="http://schemas.microsoft.com/office/drawing/2014/main" id="{CAA501D5-C616-1507-8860-8AF400B72DD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Freeform 60">
                  <a:extLst>
                    <a:ext uri="{FF2B5EF4-FFF2-40B4-BE49-F238E27FC236}">
                      <a16:creationId xmlns:a16="http://schemas.microsoft.com/office/drawing/2014/main" id="{E248AD80-F862-2133-801B-80B6EAD4B00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Freeform 61">
                  <a:extLst>
                    <a:ext uri="{FF2B5EF4-FFF2-40B4-BE49-F238E27FC236}">
                      <a16:creationId xmlns:a16="http://schemas.microsoft.com/office/drawing/2014/main" id="{D2A01E4A-DA9F-5FB8-4B6B-89416CE288E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Freeform 62">
                  <a:extLst>
                    <a:ext uri="{FF2B5EF4-FFF2-40B4-BE49-F238E27FC236}">
                      <a16:creationId xmlns:a16="http://schemas.microsoft.com/office/drawing/2014/main" id="{6F8AF31E-3450-9FD8-98B4-C4AD611BD52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Rectangle 63">
                  <a:extLst>
                    <a:ext uri="{FF2B5EF4-FFF2-40B4-BE49-F238E27FC236}">
                      <a16:creationId xmlns:a16="http://schemas.microsoft.com/office/drawing/2014/main" id="{1195D70F-01AA-AC50-EED6-403741C1027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4" name="Rectangle 64">
                  <a:extLst>
                    <a:ext uri="{FF2B5EF4-FFF2-40B4-BE49-F238E27FC236}">
                      <a16:creationId xmlns:a16="http://schemas.microsoft.com/office/drawing/2014/main" id="{F8FEA402-06B1-BB74-8CC6-9A2631C8AA6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Rectangle 65">
                  <a:extLst>
                    <a:ext uri="{FF2B5EF4-FFF2-40B4-BE49-F238E27FC236}">
                      <a16:creationId xmlns:a16="http://schemas.microsoft.com/office/drawing/2014/main" id="{EAB93281-19B4-78E4-6472-49B59B46382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Rectangle 66">
                  <a:extLst>
                    <a:ext uri="{FF2B5EF4-FFF2-40B4-BE49-F238E27FC236}">
                      <a16:creationId xmlns:a16="http://schemas.microsoft.com/office/drawing/2014/main" id="{22170D33-B78E-3BE2-47B1-A62C0DD740A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Rectangle 67">
                  <a:extLst>
                    <a:ext uri="{FF2B5EF4-FFF2-40B4-BE49-F238E27FC236}">
                      <a16:creationId xmlns:a16="http://schemas.microsoft.com/office/drawing/2014/main" id="{1846CAC6-9A0C-84A2-FA24-B5A50939408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Rectangle 68">
                  <a:extLst>
                    <a:ext uri="{FF2B5EF4-FFF2-40B4-BE49-F238E27FC236}">
                      <a16:creationId xmlns:a16="http://schemas.microsoft.com/office/drawing/2014/main" id="{61647835-B7AF-1E13-610B-144BCCAE07D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Rectangle 69">
                  <a:extLst>
                    <a:ext uri="{FF2B5EF4-FFF2-40B4-BE49-F238E27FC236}">
                      <a16:creationId xmlns:a16="http://schemas.microsoft.com/office/drawing/2014/main" id="{BB0ADA2E-5DA7-74C2-89D0-9C62DF155A3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Rectangle 70">
                  <a:extLst>
                    <a:ext uri="{FF2B5EF4-FFF2-40B4-BE49-F238E27FC236}">
                      <a16:creationId xmlns:a16="http://schemas.microsoft.com/office/drawing/2014/main" id="{917B5B75-CA00-1CED-40A0-7528EEA5ECE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Rectangle 71">
                  <a:extLst>
                    <a:ext uri="{FF2B5EF4-FFF2-40B4-BE49-F238E27FC236}">
                      <a16:creationId xmlns:a16="http://schemas.microsoft.com/office/drawing/2014/main" id="{FCBE841D-A2B1-E5DA-92E9-72A585EC535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Rectangle 72">
                  <a:extLst>
                    <a:ext uri="{FF2B5EF4-FFF2-40B4-BE49-F238E27FC236}">
                      <a16:creationId xmlns:a16="http://schemas.microsoft.com/office/drawing/2014/main" id="{B387F384-870F-E6E8-E79E-8251C6C8D72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Rectangle 73">
                  <a:extLst>
                    <a:ext uri="{FF2B5EF4-FFF2-40B4-BE49-F238E27FC236}">
                      <a16:creationId xmlns:a16="http://schemas.microsoft.com/office/drawing/2014/main" id="{7A7439C8-3F9A-B786-7507-8FE76963983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Rectangle 74">
                  <a:extLst>
                    <a:ext uri="{FF2B5EF4-FFF2-40B4-BE49-F238E27FC236}">
                      <a16:creationId xmlns:a16="http://schemas.microsoft.com/office/drawing/2014/main" id="{DD041C86-B182-F6F9-1005-5041B0A8E06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Rectangle 75">
                  <a:extLst>
                    <a:ext uri="{FF2B5EF4-FFF2-40B4-BE49-F238E27FC236}">
                      <a16:creationId xmlns:a16="http://schemas.microsoft.com/office/drawing/2014/main" id="{7A73D782-41A7-EC07-951B-1F2F9935D10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Rectangle 76">
                  <a:extLst>
                    <a:ext uri="{FF2B5EF4-FFF2-40B4-BE49-F238E27FC236}">
                      <a16:creationId xmlns:a16="http://schemas.microsoft.com/office/drawing/2014/main" id="{2617824D-AB9D-0062-EC67-8D7C51D2D48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Rectangle 77">
                  <a:extLst>
                    <a:ext uri="{FF2B5EF4-FFF2-40B4-BE49-F238E27FC236}">
                      <a16:creationId xmlns:a16="http://schemas.microsoft.com/office/drawing/2014/main" id="{B50DC745-1698-E3B4-FA67-50DF2121F7A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Rectangle 78">
                  <a:extLst>
                    <a:ext uri="{FF2B5EF4-FFF2-40B4-BE49-F238E27FC236}">
                      <a16:creationId xmlns:a16="http://schemas.microsoft.com/office/drawing/2014/main" id="{BB5B324D-FE58-C4D7-424A-5317D083D95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Rectangle 79">
                  <a:extLst>
                    <a:ext uri="{FF2B5EF4-FFF2-40B4-BE49-F238E27FC236}">
                      <a16:creationId xmlns:a16="http://schemas.microsoft.com/office/drawing/2014/main" id="{DA9E99E8-5307-029F-C2D5-624D2343C65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Rectangle 80">
                  <a:extLst>
                    <a:ext uri="{FF2B5EF4-FFF2-40B4-BE49-F238E27FC236}">
                      <a16:creationId xmlns:a16="http://schemas.microsoft.com/office/drawing/2014/main" id="{8B40467A-AD60-AC98-46FD-6F306292F9C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Rectangle 81">
                  <a:extLst>
                    <a:ext uri="{FF2B5EF4-FFF2-40B4-BE49-F238E27FC236}">
                      <a16:creationId xmlns:a16="http://schemas.microsoft.com/office/drawing/2014/main" id="{A32B4ADC-FA6D-30A1-DC18-94178DD321D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Rectangle 82">
                  <a:extLst>
                    <a:ext uri="{FF2B5EF4-FFF2-40B4-BE49-F238E27FC236}">
                      <a16:creationId xmlns:a16="http://schemas.microsoft.com/office/drawing/2014/main" id="{97566A53-17F2-51B6-B68F-FCB77869AAC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Rectangle 83">
                  <a:extLst>
                    <a:ext uri="{FF2B5EF4-FFF2-40B4-BE49-F238E27FC236}">
                      <a16:creationId xmlns:a16="http://schemas.microsoft.com/office/drawing/2014/main" id="{7022106C-7CFE-AC21-E53F-4B9F4A88ADD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Rectangle 84">
                  <a:extLst>
                    <a:ext uri="{FF2B5EF4-FFF2-40B4-BE49-F238E27FC236}">
                      <a16:creationId xmlns:a16="http://schemas.microsoft.com/office/drawing/2014/main" id="{92D296C7-184F-64BB-B2B8-357E580F618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Rectangle 85">
                  <a:extLst>
                    <a:ext uri="{FF2B5EF4-FFF2-40B4-BE49-F238E27FC236}">
                      <a16:creationId xmlns:a16="http://schemas.microsoft.com/office/drawing/2014/main" id="{2D6C87C6-086F-5A6A-AA23-789F4063E43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Rectangle 86">
                  <a:extLst>
                    <a:ext uri="{FF2B5EF4-FFF2-40B4-BE49-F238E27FC236}">
                      <a16:creationId xmlns:a16="http://schemas.microsoft.com/office/drawing/2014/main" id="{B3EA1CD4-C725-0673-02C3-08180B3FEA9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Rectangle 87">
                  <a:extLst>
                    <a:ext uri="{FF2B5EF4-FFF2-40B4-BE49-F238E27FC236}">
                      <a16:creationId xmlns:a16="http://schemas.microsoft.com/office/drawing/2014/main" id="{D75F952C-E228-CE6D-EBC1-18CDA7E2FEE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Rectangle 88">
                  <a:extLst>
                    <a:ext uri="{FF2B5EF4-FFF2-40B4-BE49-F238E27FC236}">
                      <a16:creationId xmlns:a16="http://schemas.microsoft.com/office/drawing/2014/main" id="{426A79E0-77F8-DD94-E6ED-04CFD15648C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Freeform 89">
                  <a:extLst>
                    <a:ext uri="{FF2B5EF4-FFF2-40B4-BE49-F238E27FC236}">
                      <a16:creationId xmlns:a16="http://schemas.microsoft.com/office/drawing/2014/main" id="{16D2D7BD-FA5B-15BA-95D7-8346CD698D1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Freeform 90">
                  <a:extLst>
                    <a:ext uri="{FF2B5EF4-FFF2-40B4-BE49-F238E27FC236}">
                      <a16:creationId xmlns:a16="http://schemas.microsoft.com/office/drawing/2014/main" id="{2C3F263A-AA04-67E5-79AD-888CDF32F52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Freeform 91">
                  <a:extLst>
                    <a:ext uri="{FF2B5EF4-FFF2-40B4-BE49-F238E27FC236}">
                      <a16:creationId xmlns:a16="http://schemas.microsoft.com/office/drawing/2014/main" id="{02D3224D-EA19-9C35-FEF3-BC1EDEDB426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951413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Rectangle 92">
                  <a:extLst>
                    <a:ext uri="{FF2B5EF4-FFF2-40B4-BE49-F238E27FC236}">
                      <a16:creationId xmlns:a16="http://schemas.microsoft.com/office/drawing/2014/main" id="{6768D0AA-81B9-AEB9-78FE-F61E3F68A56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3" name="Rectangle 93">
                  <a:extLst>
                    <a:ext uri="{FF2B5EF4-FFF2-40B4-BE49-F238E27FC236}">
                      <a16:creationId xmlns:a16="http://schemas.microsoft.com/office/drawing/2014/main" id="{4D3993AB-AB26-FB00-E811-9A11234D016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Rectangle 94">
                  <a:extLst>
                    <a:ext uri="{FF2B5EF4-FFF2-40B4-BE49-F238E27FC236}">
                      <a16:creationId xmlns:a16="http://schemas.microsoft.com/office/drawing/2014/main" id="{A50EEBD8-74D2-34F8-F7D3-0C262C18AAC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Rectangle 95">
                  <a:extLst>
                    <a:ext uri="{FF2B5EF4-FFF2-40B4-BE49-F238E27FC236}">
                      <a16:creationId xmlns:a16="http://schemas.microsoft.com/office/drawing/2014/main" id="{7305B17B-D406-EF4C-7ED5-EA83788C783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Freeform 96">
                  <a:extLst>
                    <a:ext uri="{FF2B5EF4-FFF2-40B4-BE49-F238E27FC236}">
                      <a16:creationId xmlns:a16="http://schemas.microsoft.com/office/drawing/2014/main" id="{9F600E16-BA6B-E5CD-C164-43DC593F93E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eform 97">
                  <a:extLst>
                    <a:ext uri="{FF2B5EF4-FFF2-40B4-BE49-F238E27FC236}">
                      <a16:creationId xmlns:a16="http://schemas.microsoft.com/office/drawing/2014/main" id="{85ABE605-399A-B613-D086-A65505C2080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Rectangle 98">
                  <a:extLst>
                    <a:ext uri="{FF2B5EF4-FFF2-40B4-BE49-F238E27FC236}">
                      <a16:creationId xmlns:a16="http://schemas.microsoft.com/office/drawing/2014/main" id="{25C2CC33-754D-C9B4-5C26-1FE4DB7534E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Rectangle 99">
                  <a:extLst>
                    <a:ext uri="{FF2B5EF4-FFF2-40B4-BE49-F238E27FC236}">
                      <a16:creationId xmlns:a16="http://schemas.microsoft.com/office/drawing/2014/main" id="{EFF7BBBF-25DD-0CB2-84C9-09573F76BD3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Freeform 100">
                  <a:extLst>
                    <a:ext uri="{FF2B5EF4-FFF2-40B4-BE49-F238E27FC236}">
                      <a16:creationId xmlns:a16="http://schemas.microsoft.com/office/drawing/2014/main" id="{55C15C17-7825-2201-1A9A-1972DC213E3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Freeform 101">
                  <a:extLst>
                    <a:ext uri="{FF2B5EF4-FFF2-40B4-BE49-F238E27FC236}">
                      <a16:creationId xmlns:a16="http://schemas.microsoft.com/office/drawing/2014/main" id="{BCB20D06-9D15-F744-72FB-9E65310E297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Freeform 102">
                  <a:extLst>
                    <a:ext uri="{FF2B5EF4-FFF2-40B4-BE49-F238E27FC236}">
                      <a16:creationId xmlns:a16="http://schemas.microsoft.com/office/drawing/2014/main" id="{80937BF0-4325-717E-B70B-30792D9C636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Freeform 103">
                  <a:extLst>
                    <a:ext uri="{FF2B5EF4-FFF2-40B4-BE49-F238E27FC236}">
                      <a16:creationId xmlns:a16="http://schemas.microsoft.com/office/drawing/2014/main" id="{7711449E-83CD-BF7B-03E8-43F371061D8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Rectangle 104">
                  <a:extLst>
                    <a:ext uri="{FF2B5EF4-FFF2-40B4-BE49-F238E27FC236}">
                      <a16:creationId xmlns:a16="http://schemas.microsoft.com/office/drawing/2014/main" id="{F48DA231-B1EC-CE40-31E1-FA2914E219E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Rectangle 105">
                  <a:extLst>
                    <a:ext uri="{FF2B5EF4-FFF2-40B4-BE49-F238E27FC236}">
                      <a16:creationId xmlns:a16="http://schemas.microsoft.com/office/drawing/2014/main" id="{3E56497F-EFF4-B7C8-9614-229659096FC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Rectangle 106">
                  <a:extLst>
                    <a:ext uri="{FF2B5EF4-FFF2-40B4-BE49-F238E27FC236}">
                      <a16:creationId xmlns:a16="http://schemas.microsoft.com/office/drawing/2014/main" id="{95C90A68-087B-76D0-E95F-B3464928665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Rectangle 107">
                  <a:extLst>
                    <a:ext uri="{FF2B5EF4-FFF2-40B4-BE49-F238E27FC236}">
                      <a16:creationId xmlns:a16="http://schemas.microsoft.com/office/drawing/2014/main" id="{675A0BAF-C83C-8919-306E-D603B5E5D48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Rectangle 108">
                  <a:extLst>
                    <a:ext uri="{FF2B5EF4-FFF2-40B4-BE49-F238E27FC236}">
                      <a16:creationId xmlns:a16="http://schemas.microsoft.com/office/drawing/2014/main" id="{7CE6CCAA-9AA9-0AFD-251F-6385472E553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Rectangle 109">
                  <a:extLst>
                    <a:ext uri="{FF2B5EF4-FFF2-40B4-BE49-F238E27FC236}">
                      <a16:creationId xmlns:a16="http://schemas.microsoft.com/office/drawing/2014/main" id="{767A9288-C1B0-2E11-6E0D-BD864D10204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Freeform 110">
                  <a:extLst>
                    <a:ext uri="{FF2B5EF4-FFF2-40B4-BE49-F238E27FC236}">
                      <a16:creationId xmlns:a16="http://schemas.microsoft.com/office/drawing/2014/main" id="{A4B99737-63C6-BAB1-D82E-AC1F1A41029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 111">
                  <a:extLst>
                    <a:ext uri="{FF2B5EF4-FFF2-40B4-BE49-F238E27FC236}">
                      <a16:creationId xmlns:a16="http://schemas.microsoft.com/office/drawing/2014/main" id="{522EB9E7-3BA1-3607-E5D3-8664C31F821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Rectangle 112">
                  <a:extLst>
                    <a:ext uri="{FF2B5EF4-FFF2-40B4-BE49-F238E27FC236}">
                      <a16:creationId xmlns:a16="http://schemas.microsoft.com/office/drawing/2014/main" id="{F3E43871-373C-88A1-C07D-F078C58002F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Rectangle 113">
                  <a:extLst>
                    <a:ext uri="{FF2B5EF4-FFF2-40B4-BE49-F238E27FC236}">
                      <a16:creationId xmlns:a16="http://schemas.microsoft.com/office/drawing/2014/main" id="{E4F6B917-0800-C0BC-47C5-6808669F78F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Rectangle 114">
                  <a:extLst>
                    <a:ext uri="{FF2B5EF4-FFF2-40B4-BE49-F238E27FC236}">
                      <a16:creationId xmlns:a16="http://schemas.microsoft.com/office/drawing/2014/main" id="{8C7EAF2D-31F2-716A-B3FA-B8B60C3A295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Rectangle 115">
                  <a:extLst>
                    <a:ext uri="{FF2B5EF4-FFF2-40B4-BE49-F238E27FC236}">
                      <a16:creationId xmlns:a16="http://schemas.microsoft.com/office/drawing/2014/main" id="{1EF7E48D-943B-39B7-5113-3529F92CBEE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Freeform 116">
                  <a:extLst>
                    <a:ext uri="{FF2B5EF4-FFF2-40B4-BE49-F238E27FC236}">
                      <a16:creationId xmlns:a16="http://schemas.microsoft.com/office/drawing/2014/main" id="{818B77B2-F695-AB67-25D6-B27AA0E53C8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reeform 117">
                  <a:extLst>
                    <a:ext uri="{FF2B5EF4-FFF2-40B4-BE49-F238E27FC236}">
                      <a16:creationId xmlns:a16="http://schemas.microsoft.com/office/drawing/2014/main" id="{A356848B-8B89-9063-55E8-4533BDFBAF8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Rectangle 118">
                  <a:extLst>
                    <a:ext uri="{FF2B5EF4-FFF2-40B4-BE49-F238E27FC236}">
                      <a16:creationId xmlns:a16="http://schemas.microsoft.com/office/drawing/2014/main" id="{E1C6D773-EEF8-863F-AA39-F4389D1D739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Rectangle 119">
                  <a:extLst>
                    <a:ext uri="{FF2B5EF4-FFF2-40B4-BE49-F238E27FC236}">
                      <a16:creationId xmlns:a16="http://schemas.microsoft.com/office/drawing/2014/main" id="{8255DBB1-8F67-B74F-7A6C-C0E5F09E156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Rectangle 120">
                  <a:extLst>
                    <a:ext uri="{FF2B5EF4-FFF2-40B4-BE49-F238E27FC236}">
                      <a16:creationId xmlns:a16="http://schemas.microsoft.com/office/drawing/2014/main" id="{EDBADFC1-72DB-E284-E73D-5E14435F7B0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Rectangle 121">
                  <a:extLst>
                    <a:ext uri="{FF2B5EF4-FFF2-40B4-BE49-F238E27FC236}">
                      <a16:creationId xmlns:a16="http://schemas.microsoft.com/office/drawing/2014/main" id="{0685E036-D813-0664-3B00-25F7DB0DC8C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Rectangle 122">
                  <a:extLst>
                    <a:ext uri="{FF2B5EF4-FFF2-40B4-BE49-F238E27FC236}">
                      <a16:creationId xmlns:a16="http://schemas.microsoft.com/office/drawing/2014/main" id="{9D085910-8B1C-C042-0205-2D385A114FE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Rectangle 123">
                  <a:extLst>
                    <a:ext uri="{FF2B5EF4-FFF2-40B4-BE49-F238E27FC236}">
                      <a16:creationId xmlns:a16="http://schemas.microsoft.com/office/drawing/2014/main" id="{4675C7BB-9B3E-17BE-3948-A06EBE7A474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Freeform 124">
                  <a:extLst>
                    <a:ext uri="{FF2B5EF4-FFF2-40B4-BE49-F238E27FC236}">
                      <a16:creationId xmlns:a16="http://schemas.microsoft.com/office/drawing/2014/main" id="{DD594041-3C0B-4822-0D13-B8A96F77FAA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Freeform 125">
                  <a:extLst>
                    <a:ext uri="{FF2B5EF4-FFF2-40B4-BE49-F238E27FC236}">
                      <a16:creationId xmlns:a16="http://schemas.microsoft.com/office/drawing/2014/main" id="{F9EAB328-BBE3-56CE-27F5-FE897A7C4A1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Rectangle 126">
                  <a:extLst>
                    <a:ext uri="{FF2B5EF4-FFF2-40B4-BE49-F238E27FC236}">
                      <a16:creationId xmlns:a16="http://schemas.microsoft.com/office/drawing/2014/main" id="{5D4182E7-5D6F-F402-B6F9-8D20C5399AE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Rectangle 127">
                  <a:extLst>
                    <a:ext uri="{FF2B5EF4-FFF2-40B4-BE49-F238E27FC236}">
                      <a16:creationId xmlns:a16="http://schemas.microsoft.com/office/drawing/2014/main" id="{01875A51-48A6-A174-91B9-C60FF733E2E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Rectangle 128">
                  <a:extLst>
                    <a:ext uri="{FF2B5EF4-FFF2-40B4-BE49-F238E27FC236}">
                      <a16:creationId xmlns:a16="http://schemas.microsoft.com/office/drawing/2014/main" id="{29DF7B97-9B3F-AAF6-1091-707690E7D43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Rectangle 129">
                  <a:extLst>
                    <a:ext uri="{FF2B5EF4-FFF2-40B4-BE49-F238E27FC236}">
                      <a16:creationId xmlns:a16="http://schemas.microsoft.com/office/drawing/2014/main" id="{0A84CE9C-C257-786F-1410-D58C897100A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Freeform 130">
                  <a:extLst>
                    <a:ext uri="{FF2B5EF4-FFF2-40B4-BE49-F238E27FC236}">
                      <a16:creationId xmlns:a16="http://schemas.microsoft.com/office/drawing/2014/main" id="{9075759C-FDB5-B7C5-2B61-237225B5413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Freeform 131">
                  <a:extLst>
                    <a:ext uri="{FF2B5EF4-FFF2-40B4-BE49-F238E27FC236}">
                      <a16:creationId xmlns:a16="http://schemas.microsoft.com/office/drawing/2014/main" id="{2EE08CEE-FAF6-CA61-8EB3-429BB41E5C7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Freeform 132">
                  <a:extLst>
                    <a:ext uri="{FF2B5EF4-FFF2-40B4-BE49-F238E27FC236}">
                      <a16:creationId xmlns:a16="http://schemas.microsoft.com/office/drawing/2014/main" id="{63DD117B-8E76-B6DD-D193-D8F94008CA2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40288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Rectangle 133">
                  <a:extLst>
                    <a:ext uri="{FF2B5EF4-FFF2-40B4-BE49-F238E27FC236}">
                      <a16:creationId xmlns:a16="http://schemas.microsoft.com/office/drawing/2014/main" id="{80E28E51-F2AC-D0A7-62E4-66B81A1E120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Rectangle 134">
                  <a:extLst>
                    <a:ext uri="{FF2B5EF4-FFF2-40B4-BE49-F238E27FC236}">
                      <a16:creationId xmlns:a16="http://schemas.microsoft.com/office/drawing/2014/main" id="{009B50FA-4C08-825B-3447-7833144B4C1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Rectangle 135">
                  <a:extLst>
                    <a:ext uri="{FF2B5EF4-FFF2-40B4-BE49-F238E27FC236}">
                      <a16:creationId xmlns:a16="http://schemas.microsoft.com/office/drawing/2014/main" id="{285127EB-9DB8-A80C-7E53-0EAE7A497B1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Rectangle 136">
                  <a:extLst>
                    <a:ext uri="{FF2B5EF4-FFF2-40B4-BE49-F238E27FC236}">
                      <a16:creationId xmlns:a16="http://schemas.microsoft.com/office/drawing/2014/main" id="{D4FED2A5-4441-296C-0F28-61ECA998079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Rectangle 137">
                  <a:extLst>
                    <a:ext uri="{FF2B5EF4-FFF2-40B4-BE49-F238E27FC236}">
                      <a16:creationId xmlns:a16="http://schemas.microsoft.com/office/drawing/2014/main" id="{7720B8C2-0382-78F6-4CFA-B7EEC0CE3C1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Rectangle 138">
                  <a:extLst>
                    <a:ext uri="{FF2B5EF4-FFF2-40B4-BE49-F238E27FC236}">
                      <a16:creationId xmlns:a16="http://schemas.microsoft.com/office/drawing/2014/main" id="{65DCE372-9545-6067-4D76-682F1F3FBD7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Rectangle 139">
                  <a:extLst>
                    <a:ext uri="{FF2B5EF4-FFF2-40B4-BE49-F238E27FC236}">
                      <a16:creationId xmlns:a16="http://schemas.microsoft.com/office/drawing/2014/main" id="{1D42AC80-C36C-2369-F7BA-B3F1D08A829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Rectangle 140">
                  <a:extLst>
                    <a:ext uri="{FF2B5EF4-FFF2-40B4-BE49-F238E27FC236}">
                      <a16:creationId xmlns:a16="http://schemas.microsoft.com/office/drawing/2014/main" id="{782E8860-5BB6-1663-8C80-0512DBF81B4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Rectangle 141">
                  <a:extLst>
                    <a:ext uri="{FF2B5EF4-FFF2-40B4-BE49-F238E27FC236}">
                      <a16:creationId xmlns:a16="http://schemas.microsoft.com/office/drawing/2014/main" id="{9E1B9B8E-B48F-5126-9E5F-46B117DABB7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Rectangle 142">
                  <a:extLst>
                    <a:ext uri="{FF2B5EF4-FFF2-40B4-BE49-F238E27FC236}">
                      <a16:creationId xmlns:a16="http://schemas.microsoft.com/office/drawing/2014/main" id="{87B8E47F-4266-E81B-4239-E4D66BB9248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Freeform 143">
                  <a:extLst>
                    <a:ext uri="{FF2B5EF4-FFF2-40B4-BE49-F238E27FC236}">
                      <a16:creationId xmlns:a16="http://schemas.microsoft.com/office/drawing/2014/main" id="{3B38F1A3-DB52-833F-35A0-FBA4B85C114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4" name="Freeform 144">
                  <a:extLst>
                    <a:ext uri="{FF2B5EF4-FFF2-40B4-BE49-F238E27FC236}">
                      <a16:creationId xmlns:a16="http://schemas.microsoft.com/office/drawing/2014/main" id="{58E26288-C528-3D36-28EA-06FA0E0BD7C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Rectangle 145">
                  <a:extLst>
                    <a:ext uri="{FF2B5EF4-FFF2-40B4-BE49-F238E27FC236}">
                      <a16:creationId xmlns:a16="http://schemas.microsoft.com/office/drawing/2014/main" id="{0F24CD09-F53A-B726-DA1E-F70169226CC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Rectangle 146">
                  <a:extLst>
                    <a:ext uri="{FF2B5EF4-FFF2-40B4-BE49-F238E27FC236}">
                      <a16:creationId xmlns:a16="http://schemas.microsoft.com/office/drawing/2014/main" id="{AC904298-DDB3-257F-FE14-BA4608FBD60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Freeform 147">
                  <a:extLst>
                    <a:ext uri="{FF2B5EF4-FFF2-40B4-BE49-F238E27FC236}">
                      <a16:creationId xmlns:a16="http://schemas.microsoft.com/office/drawing/2014/main" id="{A4288D30-22B5-D8BA-7A48-8D94116924E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Freeform 148">
                  <a:extLst>
                    <a:ext uri="{FF2B5EF4-FFF2-40B4-BE49-F238E27FC236}">
                      <a16:creationId xmlns:a16="http://schemas.microsoft.com/office/drawing/2014/main" id="{9A7F0A63-9D0E-581D-A4C8-23585256391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Freeform 149">
                  <a:extLst>
                    <a:ext uri="{FF2B5EF4-FFF2-40B4-BE49-F238E27FC236}">
                      <a16:creationId xmlns:a16="http://schemas.microsoft.com/office/drawing/2014/main" id="{FF71EE3B-F138-6732-FA58-08DEFE6969F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Freeform 150">
                  <a:extLst>
                    <a:ext uri="{FF2B5EF4-FFF2-40B4-BE49-F238E27FC236}">
                      <a16:creationId xmlns:a16="http://schemas.microsoft.com/office/drawing/2014/main" id="{6E0824B8-9813-87DC-537A-5930984D8F8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Rectangle 151">
                  <a:extLst>
                    <a:ext uri="{FF2B5EF4-FFF2-40B4-BE49-F238E27FC236}">
                      <a16:creationId xmlns:a16="http://schemas.microsoft.com/office/drawing/2014/main" id="{3D1FF29D-B380-AF3A-A94F-EC7BDBF060D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Rectangle 152">
                  <a:extLst>
                    <a:ext uri="{FF2B5EF4-FFF2-40B4-BE49-F238E27FC236}">
                      <a16:creationId xmlns:a16="http://schemas.microsoft.com/office/drawing/2014/main" id="{DE2ADCA2-CA36-44C6-32B5-4E9F0DDF5D2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Rectangle 153">
                  <a:extLst>
                    <a:ext uri="{FF2B5EF4-FFF2-40B4-BE49-F238E27FC236}">
                      <a16:creationId xmlns:a16="http://schemas.microsoft.com/office/drawing/2014/main" id="{980AB869-1A7D-F92C-B81B-2E59C73800E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Rectangle 154">
                  <a:extLst>
                    <a:ext uri="{FF2B5EF4-FFF2-40B4-BE49-F238E27FC236}">
                      <a16:creationId xmlns:a16="http://schemas.microsoft.com/office/drawing/2014/main" id="{DDB2F144-6FE9-FA70-9A2D-C6BB46A4EF0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Rectangle 155">
                  <a:extLst>
                    <a:ext uri="{FF2B5EF4-FFF2-40B4-BE49-F238E27FC236}">
                      <a16:creationId xmlns:a16="http://schemas.microsoft.com/office/drawing/2014/main" id="{F9BDF474-AFA8-DF12-C03A-7B13DB963AC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6" name="Rectangle 156">
                  <a:extLst>
                    <a:ext uri="{FF2B5EF4-FFF2-40B4-BE49-F238E27FC236}">
                      <a16:creationId xmlns:a16="http://schemas.microsoft.com/office/drawing/2014/main" id="{1CEEA925-3E31-7693-A5D7-782A9010AB1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7" name="Freeform 157">
                  <a:extLst>
                    <a:ext uri="{FF2B5EF4-FFF2-40B4-BE49-F238E27FC236}">
                      <a16:creationId xmlns:a16="http://schemas.microsoft.com/office/drawing/2014/main" id="{F1FBA035-5333-5994-9209-EA89470ED9D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Freeform 158">
                  <a:extLst>
                    <a:ext uri="{FF2B5EF4-FFF2-40B4-BE49-F238E27FC236}">
                      <a16:creationId xmlns:a16="http://schemas.microsoft.com/office/drawing/2014/main" id="{9A08A4DF-07EE-6785-1BCD-4818AAEE760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Rectangle 159">
                  <a:extLst>
                    <a:ext uri="{FF2B5EF4-FFF2-40B4-BE49-F238E27FC236}">
                      <a16:creationId xmlns:a16="http://schemas.microsoft.com/office/drawing/2014/main" id="{43D294AC-178C-C311-D5BD-102763290F3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Rectangle 160">
                  <a:extLst>
                    <a:ext uri="{FF2B5EF4-FFF2-40B4-BE49-F238E27FC236}">
                      <a16:creationId xmlns:a16="http://schemas.microsoft.com/office/drawing/2014/main" id="{EEBBA2F8-2A04-37C2-96B1-DF9F2C0C671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Rectangle 161">
                  <a:extLst>
                    <a:ext uri="{FF2B5EF4-FFF2-40B4-BE49-F238E27FC236}">
                      <a16:creationId xmlns:a16="http://schemas.microsoft.com/office/drawing/2014/main" id="{251552FE-F783-B605-2B68-FD1FA3C6689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Rectangle 162">
                  <a:extLst>
                    <a:ext uri="{FF2B5EF4-FFF2-40B4-BE49-F238E27FC236}">
                      <a16:creationId xmlns:a16="http://schemas.microsoft.com/office/drawing/2014/main" id="{40A779BA-43A3-2778-FCE9-7584D995D1D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Rectangle 163">
                  <a:extLst>
                    <a:ext uri="{FF2B5EF4-FFF2-40B4-BE49-F238E27FC236}">
                      <a16:creationId xmlns:a16="http://schemas.microsoft.com/office/drawing/2014/main" id="{AA00E53B-BF1A-4515-ECA3-8BF4C39604F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Rectangle 164">
                  <a:extLst>
                    <a:ext uri="{FF2B5EF4-FFF2-40B4-BE49-F238E27FC236}">
                      <a16:creationId xmlns:a16="http://schemas.microsoft.com/office/drawing/2014/main" id="{B508015C-2510-7986-EBC7-0A5AEAA2452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Rectangle 165">
                  <a:extLst>
                    <a:ext uri="{FF2B5EF4-FFF2-40B4-BE49-F238E27FC236}">
                      <a16:creationId xmlns:a16="http://schemas.microsoft.com/office/drawing/2014/main" id="{D29C0408-2223-7B4A-2DDC-64E6D74E983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Rectangle 166">
                  <a:extLst>
                    <a:ext uri="{FF2B5EF4-FFF2-40B4-BE49-F238E27FC236}">
                      <a16:creationId xmlns:a16="http://schemas.microsoft.com/office/drawing/2014/main" id="{3483D53A-0C03-088C-0685-CB50D982630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7" name="Rectangle 167">
                  <a:extLst>
                    <a:ext uri="{FF2B5EF4-FFF2-40B4-BE49-F238E27FC236}">
                      <a16:creationId xmlns:a16="http://schemas.microsoft.com/office/drawing/2014/main" id="{88389B31-F0C5-8C9F-F937-B975C63CFE4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8" name="Rectangle 168">
                  <a:extLst>
                    <a:ext uri="{FF2B5EF4-FFF2-40B4-BE49-F238E27FC236}">
                      <a16:creationId xmlns:a16="http://schemas.microsoft.com/office/drawing/2014/main" id="{51B622A7-66BF-89F6-AE40-B7AB58AC0C9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9" name="Rectangle 169">
                  <a:extLst>
                    <a:ext uri="{FF2B5EF4-FFF2-40B4-BE49-F238E27FC236}">
                      <a16:creationId xmlns:a16="http://schemas.microsoft.com/office/drawing/2014/main" id="{1959472D-F740-17F0-9A4D-CF80AC7E8B2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Rectangle 170">
                  <a:extLst>
                    <a:ext uri="{FF2B5EF4-FFF2-40B4-BE49-F238E27FC236}">
                      <a16:creationId xmlns:a16="http://schemas.microsoft.com/office/drawing/2014/main" id="{8F361515-E553-37C0-0078-DC4B0F65E39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Freeform 171">
                  <a:extLst>
                    <a:ext uri="{FF2B5EF4-FFF2-40B4-BE49-F238E27FC236}">
                      <a16:creationId xmlns:a16="http://schemas.microsoft.com/office/drawing/2014/main" id="{29543EDF-37D7-147B-47D1-8F46F310765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 172">
                  <a:extLst>
                    <a:ext uri="{FF2B5EF4-FFF2-40B4-BE49-F238E27FC236}">
                      <a16:creationId xmlns:a16="http://schemas.microsoft.com/office/drawing/2014/main" id="{0A402092-CB81-72F3-2B49-1C63426C5AE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Rectangle 173">
                  <a:extLst>
                    <a:ext uri="{FF2B5EF4-FFF2-40B4-BE49-F238E27FC236}">
                      <a16:creationId xmlns:a16="http://schemas.microsoft.com/office/drawing/2014/main" id="{565F1F6E-7E5D-D359-5F24-B004AF00972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19563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Rectangle 174">
                  <a:extLst>
                    <a:ext uri="{FF2B5EF4-FFF2-40B4-BE49-F238E27FC236}">
                      <a16:creationId xmlns:a16="http://schemas.microsoft.com/office/drawing/2014/main" id="{C508051F-1F2D-6AE1-DE4E-2F6722385C1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1938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 175">
                  <a:extLst>
                    <a:ext uri="{FF2B5EF4-FFF2-40B4-BE49-F238E27FC236}">
                      <a16:creationId xmlns:a16="http://schemas.microsoft.com/office/drawing/2014/main" id="{802C6BD9-863F-DBB4-A663-2C64F045D58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022725" y="4899026"/>
                  <a:ext cx="20638" cy="17463"/>
                </a:xfrm>
                <a:custGeom>
                  <a:avLst/>
                  <a:gdLst>
                    <a:gd name="T0" fmla="*/ 1 w 13"/>
                    <a:gd name="T1" fmla="*/ 11 h 11"/>
                    <a:gd name="T2" fmla="*/ 13 w 13"/>
                    <a:gd name="T3" fmla="*/ 11 h 11"/>
                    <a:gd name="T4" fmla="*/ 13 w 13"/>
                    <a:gd name="T5" fmla="*/ 0 h 11"/>
                    <a:gd name="T6" fmla="*/ 0 w 13"/>
                    <a:gd name="T7" fmla="*/ 0 h 11"/>
                    <a:gd name="T8" fmla="*/ 1 w 13"/>
                    <a:gd name="T9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1">
                      <a:moveTo>
                        <a:pt x="1" y="11"/>
                      </a:moveTo>
                      <a:lnTo>
                        <a:pt x="13" y="11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1" y="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E736CCD-7A13-DEA5-B021-017C21CB4DD7}"/>
                </a:ext>
              </a:extLst>
            </p:cNvPr>
            <p:cNvGrpSpPr/>
            <p:nvPr/>
          </p:nvGrpSpPr>
          <p:grpSpPr>
            <a:xfrm>
              <a:off x="1868421" y="3874372"/>
              <a:ext cx="2908640" cy="1223224"/>
              <a:chOff x="1868421" y="3874372"/>
              <a:chExt cx="2908640" cy="1223224"/>
            </a:xfrm>
          </p:grpSpPr>
          <p:grpSp>
            <p:nvGrpSpPr>
              <p:cNvPr id="8" name="Group 2">
                <a:extLst>
                  <a:ext uri="{FF2B5EF4-FFF2-40B4-BE49-F238E27FC236}">
                    <a16:creationId xmlns:a16="http://schemas.microsoft.com/office/drawing/2014/main" id="{FAACAB1B-4D26-B76A-76D2-2520D13607A4}"/>
                  </a:ext>
                </a:extLst>
              </p:cNvPr>
              <p:cNvGrpSpPr/>
              <p:nvPr/>
            </p:nvGrpSpPr>
            <p:grpSpPr>
              <a:xfrm>
                <a:off x="1868421" y="3874372"/>
                <a:ext cx="1112318" cy="1215895"/>
                <a:chOff x="1868421" y="3874372"/>
                <a:chExt cx="1112318" cy="1215895"/>
              </a:xfrm>
            </p:grpSpPr>
            <p:sp>
              <p:nvSpPr>
                <p:cNvPr id="75" name="Freeform 177">
                  <a:extLst>
                    <a:ext uri="{FF2B5EF4-FFF2-40B4-BE49-F238E27FC236}">
                      <a16:creationId xmlns:a16="http://schemas.microsoft.com/office/drawing/2014/main" id="{C4C33A69-0454-816E-04CB-0810D485C7E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163948" y="4817283"/>
                  <a:ext cx="124002" cy="272984"/>
                </a:xfrm>
                <a:custGeom>
                  <a:avLst/>
                  <a:gdLst>
                    <a:gd name="T0" fmla="*/ 20 w 119"/>
                    <a:gd name="T1" fmla="*/ 0 h 262"/>
                    <a:gd name="T2" fmla="*/ 3 w 119"/>
                    <a:gd name="T3" fmla="*/ 0 h 262"/>
                    <a:gd name="T4" fmla="*/ 4 w 119"/>
                    <a:gd name="T5" fmla="*/ 6 h 262"/>
                    <a:gd name="T6" fmla="*/ 22 w 119"/>
                    <a:gd name="T7" fmla="*/ 13 h 262"/>
                    <a:gd name="T8" fmla="*/ 42 w 119"/>
                    <a:gd name="T9" fmla="*/ 23 h 262"/>
                    <a:gd name="T10" fmla="*/ 46 w 119"/>
                    <a:gd name="T11" fmla="*/ 26 h 262"/>
                    <a:gd name="T12" fmla="*/ 35 w 119"/>
                    <a:gd name="T13" fmla="*/ 28 h 262"/>
                    <a:gd name="T14" fmla="*/ 37 w 119"/>
                    <a:gd name="T15" fmla="*/ 262 h 262"/>
                    <a:gd name="T16" fmla="*/ 119 w 119"/>
                    <a:gd name="T17" fmla="*/ 262 h 262"/>
                    <a:gd name="T18" fmla="*/ 69 w 119"/>
                    <a:gd name="T19" fmla="*/ 23 h 262"/>
                    <a:gd name="T20" fmla="*/ 68 w 119"/>
                    <a:gd name="T21" fmla="*/ 23 h 262"/>
                    <a:gd name="T22" fmla="*/ 69 w 119"/>
                    <a:gd name="T23" fmla="*/ 1 h 262"/>
                    <a:gd name="T24" fmla="*/ 49 w 119"/>
                    <a:gd name="T25" fmla="*/ 1 h 262"/>
                    <a:gd name="T26" fmla="*/ 48 w 119"/>
                    <a:gd name="T27" fmla="*/ 9 h 262"/>
                    <a:gd name="T28" fmla="*/ 20 w 119"/>
                    <a:gd name="T29" fmla="*/ 0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9" h="262">
                      <a:moveTo>
                        <a:pt x="20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0" y="5"/>
                        <a:pt x="4" y="6"/>
                      </a:cubicBezTo>
                      <a:cubicBezTo>
                        <a:pt x="6" y="7"/>
                        <a:pt x="22" y="13"/>
                        <a:pt x="22" y="13"/>
                      </a:cubicBezTo>
                      <a:cubicBezTo>
                        <a:pt x="42" y="23"/>
                        <a:pt x="42" y="23"/>
                        <a:pt x="42" y="23"/>
                      </a:cubicBezTo>
                      <a:cubicBezTo>
                        <a:pt x="46" y="26"/>
                        <a:pt x="46" y="26"/>
                        <a:pt x="46" y="26"/>
                      </a:cubicBezTo>
                      <a:cubicBezTo>
                        <a:pt x="35" y="28"/>
                        <a:pt x="35" y="28"/>
                        <a:pt x="35" y="28"/>
                      </a:cubicBezTo>
                      <a:cubicBezTo>
                        <a:pt x="37" y="262"/>
                        <a:pt x="37" y="262"/>
                        <a:pt x="37" y="262"/>
                      </a:cubicBezTo>
                      <a:cubicBezTo>
                        <a:pt x="119" y="262"/>
                        <a:pt x="119" y="262"/>
                        <a:pt x="119" y="262"/>
                      </a:cubicBezTo>
                      <a:cubicBezTo>
                        <a:pt x="105" y="159"/>
                        <a:pt x="69" y="23"/>
                        <a:pt x="69" y="23"/>
                      </a:cubicBezTo>
                      <a:cubicBezTo>
                        <a:pt x="68" y="23"/>
                        <a:pt x="68" y="23"/>
                        <a:pt x="68" y="23"/>
                      </a:cubicBezTo>
                      <a:cubicBezTo>
                        <a:pt x="69" y="1"/>
                        <a:pt x="69" y="1"/>
                        <a:pt x="69" y="1"/>
                      </a:cubicBezTo>
                      <a:cubicBezTo>
                        <a:pt x="49" y="1"/>
                        <a:pt x="49" y="1"/>
                        <a:pt x="49" y="1"/>
                      </a:cubicBezTo>
                      <a:cubicBezTo>
                        <a:pt x="48" y="9"/>
                        <a:pt x="48" y="9"/>
                        <a:pt x="48" y="9"/>
                      </a:cubicBezTo>
                      <a:cubicBezTo>
                        <a:pt x="20" y="0"/>
                        <a:pt x="20" y="0"/>
                        <a:pt x="20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grpSp>
              <p:nvGrpSpPr>
                <p:cNvPr id="76" name="Group 1087">
                  <a:extLst>
                    <a:ext uri="{FF2B5EF4-FFF2-40B4-BE49-F238E27FC236}">
                      <a16:creationId xmlns:a16="http://schemas.microsoft.com/office/drawing/2014/main" id="{9AE7463B-441E-9949-C56C-10CF54DB1588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1868421" y="3874372"/>
                  <a:ext cx="1112318" cy="907889"/>
                  <a:chOff x="10205244" y="514350"/>
                  <a:chExt cx="1429544" cy="1166813"/>
                </a:xfrm>
              </p:grpSpPr>
              <p:sp>
                <p:nvSpPr>
                  <p:cNvPr id="77" name="Freeform 254">
                    <a:extLst>
                      <a:ext uri="{FF2B5EF4-FFF2-40B4-BE49-F238E27FC236}">
                        <a16:creationId xmlns:a16="http://schemas.microsoft.com/office/drawing/2014/main" id="{28008DBA-40F3-6230-DA3A-4E3F97F29AA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05244" y="950913"/>
                    <a:ext cx="88900" cy="63500"/>
                  </a:xfrm>
                  <a:custGeom>
                    <a:avLst/>
                    <a:gdLst>
                      <a:gd name="T0" fmla="*/ 47 w 48"/>
                      <a:gd name="T1" fmla="*/ 8 h 35"/>
                      <a:gd name="T2" fmla="*/ 47 w 48"/>
                      <a:gd name="T3" fmla="*/ 0 h 35"/>
                      <a:gd name="T4" fmla="*/ 16 w 48"/>
                      <a:gd name="T5" fmla="*/ 3 h 35"/>
                      <a:gd name="T6" fmla="*/ 21 w 48"/>
                      <a:gd name="T7" fmla="*/ 6 h 35"/>
                      <a:gd name="T8" fmla="*/ 29 w 48"/>
                      <a:gd name="T9" fmla="*/ 7 h 35"/>
                      <a:gd name="T10" fmla="*/ 14 w 48"/>
                      <a:gd name="T11" fmla="*/ 24 h 35"/>
                      <a:gd name="T12" fmla="*/ 2 w 48"/>
                      <a:gd name="T13" fmla="*/ 24 h 35"/>
                      <a:gd name="T14" fmla="*/ 0 w 48"/>
                      <a:gd name="T15" fmla="*/ 28 h 35"/>
                      <a:gd name="T16" fmla="*/ 15 w 48"/>
                      <a:gd name="T17" fmla="*/ 29 h 35"/>
                      <a:gd name="T18" fmla="*/ 5 w 48"/>
                      <a:gd name="T19" fmla="*/ 33 h 35"/>
                      <a:gd name="T20" fmla="*/ 6 w 48"/>
                      <a:gd name="T21" fmla="*/ 35 h 35"/>
                      <a:gd name="T22" fmla="*/ 27 w 48"/>
                      <a:gd name="T23" fmla="*/ 31 h 35"/>
                      <a:gd name="T24" fmla="*/ 31 w 48"/>
                      <a:gd name="T25" fmla="*/ 27 h 35"/>
                      <a:gd name="T26" fmla="*/ 39 w 48"/>
                      <a:gd name="T27" fmla="*/ 19 h 35"/>
                      <a:gd name="T28" fmla="*/ 44 w 48"/>
                      <a:gd name="T29" fmla="*/ 14 h 35"/>
                      <a:gd name="T30" fmla="*/ 48 w 48"/>
                      <a:gd name="T31" fmla="*/ 14 h 35"/>
                      <a:gd name="T32" fmla="*/ 47 w 48"/>
                      <a:gd name="T33" fmla="*/ 8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48" h="35">
                        <a:moveTo>
                          <a:pt x="47" y="8"/>
                        </a:moveTo>
                        <a:cubicBezTo>
                          <a:pt x="47" y="4"/>
                          <a:pt x="47" y="2"/>
                          <a:pt x="47" y="0"/>
                        </a:cubicBezTo>
                        <a:cubicBezTo>
                          <a:pt x="36" y="0"/>
                          <a:pt x="16" y="3"/>
                          <a:pt x="16" y="3"/>
                        </a:cubicBezTo>
                        <a:cubicBezTo>
                          <a:pt x="16" y="3"/>
                          <a:pt x="16" y="6"/>
                          <a:pt x="21" y="6"/>
                        </a:cubicBezTo>
                        <a:cubicBezTo>
                          <a:pt x="26" y="6"/>
                          <a:pt x="29" y="7"/>
                          <a:pt x="29" y="7"/>
                        </a:cubicBezTo>
                        <a:cubicBezTo>
                          <a:pt x="14" y="24"/>
                          <a:pt x="14" y="24"/>
                          <a:pt x="14" y="24"/>
                        </a:cubicBezTo>
                        <a:cubicBezTo>
                          <a:pt x="14" y="24"/>
                          <a:pt x="4" y="24"/>
                          <a:pt x="2" y="24"/>
                        </a:cubicBezTo>
                        <a:cubicBezTo>
                          <a:pt x="1" y="25"/>
                          <a:pt x="0" y="27"/>
                          <a:pt x="0" y="28"/>
                        </a:cubicBezTo>
                        <a:cubicBezTo>
                          <a:pt x="4" y="28"/>
                          <a:pt x="15" y="29"/>
                          <a:pt x="15" y="29"/>
                        </a:cubicBezTo>
                        <a:cubicBezTo>
                          <a:pt x="15" y="29"/>
                          <a:pt x="7" y="31"/>
                          <a:pt x="5" y="33"/>
                        </a:cubicBezTo>
                        <a:cubicBezTo>
                          <a:pt x="5" y="33"/>
                          <a:pt x="4" y="35"/>
                          <a:pt x="6" y="35"/>
                        </a:cubicBezTo>
                        <a:cubicBezTo>
                          <a:pt x="15" y="34"/>
                          <a:pt x="26" y="32"/>
                          <a:pt x="27" y="31"/>
                        </a:cubicBezTo>
                        <a:cubicBezTo>
                          <a:pt x="29" y="29"/>
                          <a:pt x="31" y="27"/>
                          <a:pt x="31" y="27"/>
                        </a:cubicBezTo>
                        <a:cubicBezTo>
                          <a:pt x="31" y="27"/>
                          <a:pt x="35" y="23"/>
                          <a:pt x="39" y="19"/>
                        </a:cubicBezTo>
                        <a:cubicBezTo>
                          <a:pt x="43" y="16"/>
                          <a:pt x="44" y="14"/>
                          <a:pt x="44" y="14"/>
                        </a:cubicBezTo>
                        <a:cubicBezTo>
                          <a:pt x="48" y="14"/>
                          <a:pt x="48" y="14"/>
                          <a:pt x="48" y="14"/>
                        </a:cubicBezTo>
                        <a:cubicBezTo>
                          <a:pt x="48" y="14"/>
                          <a:pt x="47" y="11"/>
                          <a:pt x="47" y="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" name="Freeform 235">
                    <a:extLst>
                      <a:ext uri="{FF2B5EF4-FFF2-40B4-BE49-F238E27FC236}">
                        <a16:creationId xmlns:a16="http://schemas.microsoft.com/office/drawing/2014/main" id="{487FE551-D767-21E1-5E20-3A067B01B48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20438" y="976313"/>
                    <a:ext cx="206375" cy="155575"/>
                  </a:xfrm>
                  <a:custGeom>
                    <a:avLst/>
                    <a:gdLst>
                      <a:gd name="T0" fmla="*/ 112 w 112"/>
                      <a:gd name="T1" fmla="*/ 84 h 84"/>
                      <a:gd name="T2" fmla="*/ 30 w 112"/>
                      <a:gd name="T3" fmla="*/ 73 h 84"/>
                      <a:gd name="T4" fmla="*/ 0 w 112"/>
                      <a:gd name="T5" fmla="*/ 0 h 84"/>
                      <a:gd name="T6" fmla="*/ 68 w 112"/>
                      <a:gd name="T7" fmla="*/ 23 h 84"/>
                      <a:gd name="T8" fmla="*/ 112 w 112"/>
                      <a:gd name="T9" fmla="*/ 84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2" h="84">
                        <a:moveTo>
                          <a:pt x="112" y="84"/>
                        </a:moveTo>
                        <a:cubicBezTo>
                          <a:pt x="112" y="84"/>
                          <a:pt x="80" y="48"/>
                          <a:pt x="30" y="73"/>
                        </a:cubicBezTo>
                        <a:cubicBezTo>
                          <a:pt x="9" y="83"/>
                          <a:pt x="0" y="0"/>
                          <a:pt x="0" y="0"/>
                        </a:cubicBezTo>
                        <a:cubicBezTo>
                          <a:pt x="0" y="0"/>
                          <a:pt x="11" y="5"/>
                          <a:pt x="68" y="23"/>
                        </a:cubicBezTo>
                        <a:cubicBezTo>
                          <a:pt x="83" y="28"/>
                          <a:pt x="112" y="84"/>
                          <a:pt x="112" y="84"/>
                        </a:cubicBezTo>
                        <a:close/>
                      </a:path>
                    </a:pathLst>
                  </a:custGeom>
                  <a:solidFill>
                    <a:srgbClr val="5D819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" name="Freeform 236">
                    <a:extLst>
                      <a:ext uri="{FF2B5EF4-FFF2-40B4-BE49-F238E27FC236}">
                        <a16:creationId xmlns:a16="http://schemas.microsoft.com/office/drawing/2014/main" id="{A838D1EC-CF8D-7296-983A-BE20B20A10B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555413" y="1190625"/>
                    <a:ext cx="79375" cy="52388"/>
                  </a:xfrm>
                  <a:custGeom>
                    <a:avLst/>
                    <a:gdLst>
                      <a:gd name="T0" fmla="*/ 0 w 43"/>
                      <a:gd name="T1" fmla="*/ 12 h 28"/>
                      <a:gd name="T2" fmla="*/ 7 w 43"/>
                      <a:gd name="T3" fmla="*/ 0 h 28"/>
                      <a:gd name="T4" fmla="*/ 19 w 43"/>
                      <a:gd name="T5" fmla="*/ 7 h 28"/>
                      <a:gd name="T6" fmla="*/ 16 w 43"/>
                      <a:gd name="T7" fmla="*/ 12 h 28"/>
                      <a:gd name="T8" fmla="*/ 35 w 43"/>
                      <a:gd name="T9" fmla="*/ 18 h 28"/>
                      <a:gd name="T10" fmla="*/ 43 w 43"/>
                      <a:gd name="T11" fmla="*/ 24 h 28"/>
                      <a:gd name="T12" fmla="*/ 40 w 43"/>
                      <a:gd name="T13" fmla="*/ 27 h 28"/>
                      <a:gd name="T14" fmla="*/ 29 w 43"/>
                      <a:gd name="T15" fmla="*/ 25 h 28"/>
                      <a:gd name="T16" fmla="*/ 12 w 43"/>
                      <a:gd name="T17" fmla="*/ 24 h 28"/>
                      <a:gd name="T18" fmla="*/ 0 w 43"/>
                      <a:gd name="T19" fmla="*/ 12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3" h="28">
                        <a:moveTo>
                          <a:pt x="0" y="12"/>
                        </a:move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19" y="7"/>
                          <a:pt x="19" y="7"/>
                          <a:pt x="19" y="7"/>
                        </a:cubicBezTo>
                        <a:cubicBezTo>
                          <a:pt x="16" y="12"/>
                          <a:pt x="16" y="12"/>
                          <a:pt x="16" y="12"/>
                        </a:cubicBezTo>
                        <a:cubicBezTo>
                          <a:pt x="35" y="18"/>
                          <a:pt x="35" y="18"/>
                          <a:pt x="35" y="18"/>
                        </a:cubicBezTo>
                        <a:cubicBezTo>
                          <a:pt x="43" y="24"/>
                          <a:pt x="43" y="24"/>
                          <a:pt x="43" y="24"/>
                        </a:cubicBezTo>
                        <a:cubicBezTo>
                          <a:pt x="43" y="24"/>
                          <a:pt x="43" y="28"/>
                          <a:pt x="40" y="27"/>
                        </a:cubicBezTo>
                        <a:cubicBezTo>
                          <a:pt x="39" y="27"/>
                          <a:pt x="29" y="25"/>
                          <a:pt x="29" y="25"/>
                        </a:cubicBezTo>
                        <a:cubicBezTo>
                          <a:pt x="12" y="24"/>
                          <a:pt x="12" y="24"/>
                          <a:pt x="12" y="24"/>
                        </a:cubicBez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" name="Freeform 237">
                    <a:extLst>
                      <a:ext uri="{FF2B5EF4-FFF2-40B4-BE49-F238E27FC236}">
                        <a16:creationId xmlns:a16="http://schemas.microsoft.com/office/drawing/2014/main" id="{57A2154A-E694-2314-3D60-352CD59F57B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049000" y="1157288"/>
                    <a:ext cx="534988" cy="444500"/>
                  </a:xfrm>
                  <a:custGeom>
                    <a:avLst/>
                    <a:gdLst>
                      <a:gd name="T0" fmla="*/ 13 w 288"/>
                      <a:gd name="T1" fmla="*/ 30 h 240"/>
                      <a:gd name="T2" fmla="*/ 97 w 288"/>
                      <a:gd name="T3" fmla="*/ 29 h 240"/>
                      <a:gd name="T4" fmla="*/ 121 w 288"/>
                      <a:gd name="T5" fmla="*/ 154 h 240"/>
                      <a:gd name="T6" fmla="*/ 269 w 288"/>
                      <a:gd name="T7" fmla="*/ 26 h 240"/>
                      <a:gd name="T8" fmla="*/ 288 w 288"/>
                      <a:gd name="T9" fmla="*/ 44 h 240"/>
                      <a:gd name="T10" fmla="*/ 145 w 288"/>
                      <a:gd name="T11" fmla="*/ 206 h 240"/>
                      <a:gd name="T12" fmla="*/ 78 w 288"/>
                      <a:gd name="T13" fmla="*/ 202 h 240"/>
                      <a:gd name="T14" fmla="*/ 0 w 288"/>
                      <a:gd name="T15" fmla="*/ 68 h 240"/>
                      <a:gd name="T16" fmla="*/ 13 w 288"/>
                      <a:gd name="T17" fmla="*/ 30 h 2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88" h="240">
                        <a:moveTo>
                          <a:pt x="13" y="30"/>
                        </a:moveTo>
                        <a:cubicBezTo>
                          <a:pt x="13" y="30"/>
                          <a:pt x="86" y="0"/>
                          <a:pt x="97" y="29"/>
                        </a:cubicBezTo>
                        <a:cubicBezTo>
                          <a:pt x="114" y="69"/>
                          <a:pt x="119" y="127"/>
                          <a:pt x="121" y="154"/>
                        </a:cubicBezTo>
                        <a:cubicBezTo>
                          <a:pt x="269" y="26"/>
                          <a:pt x="269" y="26"/>
                          <a:pt x="269" y="26"/>
                        </a:cubicBezTo>
                        <a:cubicBezTo>
                          <a:pt x="288" y="44"/>
                          <a:pt x="288" y="44"/>
                          <a:pt x="288" y="44"/>
                        </a:cubicBezTo>
                        <a:cubicBezTo>
                          <a:pt x="288" y="44"/>
                          <a:pt x="154" y="192"/>
                          <a:pt x="145" y="206"/>
                        </a:cubicBezTo>
                        <a:cubicBezTo>
                          <a:pt x="135" y="220"/>
                          <a:pt x="102" y="240"/>
                          <a:pt x="78" y="202"/>
                        </a:cubicBezTo>
                        <a:cubicBezTo>
                          <a:pt x="55" y="163"/>
                          <a:pt x="14" y="93"/>
                          <a:pt x="0" y="68"/>
                        </a:cubicBezTo>
                        <a:cubicBezTo>
                          <a:pt x="107" y="63"/>
                          <a:pt x="13" y="30"/>
                          <a:pt x="13" y="3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" name="Freeform 238">
                    <a:extLst>
                      <a:ext uri="{FF2B5EF4-FFF2-40B4-BE49-F238E27FC236}">
                        <a16:creationId xmlns:a16="http://schemas.microsoft.com/office/drawing/2014/main" id="{23107CD9-A5BC-69BA-BC53-A386CB1CFFD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50513" y="677863"/>
                    <a:ext cx="373063" cy="328613"/>
                  </a:xfrm>
                  <a:custGeom>
                    <a:avLst/>
                    <a:gdLst>
                      <a:gd name="T0" fmla="*/ 179 w 201"/>
                      <a:gd name="T1" fmla="*/ 0 h 177"/>
                      <a:gd name="T2" fmla="*/ 134 w 201"/>
                      <a:gd name="T3" fmla="*/ 67 h 177"/>
                      <a:gd name="T4" fmla="*/ 99 w 201"/>
                      <a:gd name="T5" fmla="*/ 122 h 177"/>
                      <a:gd name="T6" fmla="*/ 9 w 201"/>
                      <a:gd name="T7" fmla="*/ 39 h 177"/>
                      <a:gd name="T8" fmla="*/ 0 w 201"/>
                      <a:gd name="T9" fmla="*/ 48 h 177"/>
                      <a:gd name="T10" fmla="*/ 65 w 201"/>
                      <a:gd name="T11" fmla="*/ 141 h 177"/>
                      <a:gd name="T12" fmla="*/ 116 w 201"/>
                      <a:gd name="T13" fmla="*/ 177 h 177"/>
                      <a:gd name="T14" fmla="*/ 201 w 201"/>
                      <a:gd name="T15" fmla="*/ 87 h 177"/>
                      <a:gd name="T16" fmla="*/ 179 w 201"/>
                      <a:gd name="T17" fmla="*/ 0 h 1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1" h="177">
                        <a:moveTo>
                          <a:pt x="179" y="0"/>
                        </a:moveTo>
                        <a:cubicBezTo>
                          <a:pt x="179" y="0"/>
                          <a:pt x="155" y="11"/>
                          <a:pt x="134" y="67"/>
                        </a:cubicBezTo>
                        <a:cubicBezTo>
                          <a:pt x="121" y="98"/>
                          <a:pt x="99" y="122"/>
                          <a:pt x="99" y="122"/>
                        </a:cubicBezTo>
                        <a:cubicBezTo>
                          <a:pt x="9" y="39"/>
                          <a:pt x="9" y="39"/>
                          <a:pt x="9" y="39"/>
                        </a:cubicBezTo>
                        <a:cubicBezTo>
                          <a:pt x="0" y="48"/>
                          <a:pt x="0" y="48"/>
                          <a:pt x="0" y="48"/>
                        </a:cubicBezTo>
                        <a:cubicBezTo>
                          <a:pt x="0" y="48"/>
                          <a:pt x="41" y="108"/>
                          <a:pt x="65" y="141"/>
                        </a:cubicBezTo>
                        <a:cubicBezTo>
                          <a:pt x="86" y="172"/>
                          <a:pt x="116" y="177"/>
                          <a:pt x="116" y="177"/>
                        </a:cubicBezTo>
                        <a:cubicBezTo>
                          <a:pt x="201" y="87"/>
                          <a:pt x="201" y="87"/>
                          <a:pt x="201" y="87"/>
                        </a:cubicBezTo>
                        <a:lnTo>
                          <a:pt x="179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" name="Freeform 239">
                    <a:extLst>
                      <a:ext uri="{FF2B5EF4-FFF2-40B4-BE49-F238E27FC236}">
                        <a16:creationId xmlns:a16="http://schemas.microsoft.com/office/drawing/2014/main" id="{1995DF43-DC64-40C8-ED88-D803A5152A2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7525" y="700088"/>
                    <a:ext cx="284163" cy="404813"/>
                  </a:xfrm>
                  <a:custGeom>
                    <a:avLst/>
                    <a:gdLst>
                      <a:gd name="T0" fmla="*/ 154 w 154"/>
                      <a:gd name="T1" fmla="*/ 219 h 219"/>
                      <a:gd name="T2" fmla="*/ 32 w 154"/>
                      <a:gd name="T3" fmla="*/ 117 h 219"/>
                      <a:gd name="T4" fmla="*/ 43 w 154"/>
                      <a:gd name="T5" fmla="*/ 0 h 219"/>
                      <a:gd name="T6" fmla="*/ 154 w 154"/>
                      <a:gd name="T7" fmla="*/ 219 h 2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54" h="219">
                        <a:moveTo>
                          <a:pt x="154" y="219"/>
                        </a:moveTo>
                        <a:cubicBezTo>
                          <a:pt x="154" y="219"/>
                          <a:pt x="59" y="173"/>
                          <a:pt x="32" y="117"/>
                        </a:cubicBezTo>
                        <a:cubicBezTo>
                          <a:pt x="0" y="47"/>
                          <a:pt x="43" y="0"/>
                          <a:pt x="43" y="0"/>
                        </a:cubicBezTo>
                        <a:cubicBezTo>
                          <a:pt x="154" y="219"/>
                          <a:pt x="154" y="219"/>
                          <a:pt x="154" y="219"/>
                        </a:cubicBezTo>
                      </a:path>
                    </a:pathLst>
                  </a:custGeom>
                  <a:solidFill>
                    <a:srgbClr val="9FCDD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" name="Freeform 240">
                    <a:extLst>
                      <a:ext uri="{FF2B5EF4-FFF2-40B4-BE49-F238E27FC236}">
                        <a16:creationId xmlns:a16="http://schemas.microsoft.com/office/drawing/2014/main" id="{513E4800-3A6E-813D-F758-F15E64DFE30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18800" y="666750"/>
                    <a:ext cx="525463" cy="481013"/>
                  </a:xfrm>
                  <a:custGeom>
                    <a:avLst/>
                    <a:gdLst>
                      <a:gd name="T0" fmla="*/ 135 w 283"/>
                      <a:gd name="T1" fmla="*/ 260 h 260"/>
                      <a:gd name="T2" fmla="*/ 32 w 283"/>
                      <a:gd name="T3" fmla="*/ 116 h 260"/>
                      <a:gd name="T4" fmla="*/ 13 w 283"/>
                      <a:gd name="T5" fmla="*/ 25 h 260"/>
                      <a:gd name="T6" fmla="*/ 45 w 283"/>
                      <a:gd name="T7" fmla="*/ 0 h 260"/>
                      <a:gd name="T8" fmla="*/ 174 w 283"/>
                      <a:gd name="T9" fmla="*/ 74 h 260"/>
                      <a:gd name="T10" fmla="*/ 283 w 283"/>
                      <a:gd name="T11" fmla="*/ 245 h 260"/>
                      <a:gd name="T12" fmla="*/ 135 w 283"/>
                      <a:gd name="T13" fmla="*/ 26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3" h="260">
                        <a:moveTo>
                          <a:pt x="135" y="260"/>
                        </a:moveTo>
                        <a:cubicBezTo>
                          <a:pt x="135" y="260"/>
                          <a:pt x="85" y="180"/>
                          <a:pt x="32" y="116"/>
                        </a:cubicBezTo>
                        <a:cubicBezTo>
                          <a:pt x="0" y="76"/>
                          <a:pt x="13" y="25"/>
                          <a:pt x="13" y="25"/>
                        </a:cubicBezTo>
                        <a:cubicBezTo>
                          <a:pt x="13" y="25"/>
                          <a:pt x="30" y="1"/>
                          <a:pt x="45" y="0"/>
                        </a:cubicBezTo>
                        <a:cubicBezTo>
                          <a:pt x="71" y="7"/>
                          <a:pt x="133" y="22"/>
                          <a:pt x="174" y="74"/>
                        </a:cubicBezTo>
                        <a:cubicBezTo>
                          <a:pt x="232" y="148"/>
                          <a:pt x="283" y="245"/>
                          <a:pt x="283" y="245"/>
                        </a:cubicBezTo>
                        <a:cubicBezTo>
                          <a:pt x="135" y="260"/>
                          <a:pt x="135" y="260"/>
                          <a:pt x="135" y="260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" name="Freeform 241">
                    <a:extLst>
                      <a:ext uri="{FF2B5EF4-FFF2-40B4-BE49-F238E27FC236}">
                        <a16:creationId xmlns:a16="http://schemas.microsoft.com/office/drawing/2014/main" id="{6597151F-42C8-8437-B7F9-924F7B52764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01350" y="911225"/>
                    <a:ext cx="23813" cy="30163"/>
                  </a:xfrm>
                  <a:custGeom>
                    <a:avLst/>
                    <a:gdLst>
                      <a:gd name="T0" fmla="*/ 0 w 13"/>
                      <a:gd name="T1" fmla="*/ 0 h 16"/>
                      <a:gd name="T2" fmla="*/ 13 w 13"/>
                      <a:gd name="T3" fmla="*/ 16 h 16"/>
                      <a:gd name="T4" fmla="*/ 6 w 13"/>
                      <a:gd name="T5" fmla="*/ 5 h 16"/>
                      <a:gd name="T6" fmla="*/ 0 w 13"/>
                      <a:gd name="T7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3" h="16">
                        <a:moveTo>
                          <a:pt x="0" y="0"/>
                        </a:moveTo>
                        <a:cubicBezTo>
                          <a:pt x="0" y="0"/>
                          <a:pt x="5" y="7"/>
                          <a:pt x="13" y="16"/>
                        </a:cubicBezTo>
                        <a:cubicBezTo>
                          <a:pt x="11" y="12"/>
                          <a:pt x="8" y="9"/>
                          <a:pt x="6" y="5"/>
                        </a:cubicBezTo>
                        <a:cubicBezTo>
                          <a:pt x="2" y="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5" name="Freeform 242">
                    <a:extLst>
                      <a:ext uri="{FF2B5EF4-FFF2-40B4-BE49-F238E27FC236}">
                        <a16:creationId xmlns:a16="http://schemas.microsoft.com/office/drawing/2014/main" id="{E336FD95-3F7A-14F8-964F-821FC36C16B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2463" y="920750"/>
                    <a:ext cx="252413" cy="200025"/>
                  </a:xfrm>
                  <a:custGeom>
                    <a:avLst/>
                    <a:gdLst>
                      <a:gd name="T0" fmla="*/ 0 w 136"/>
                      <a:gd name="T1" fmla="*/ 0 h 108"/>
                      <a:gd name="T2" fmla="*/ 7 w 136"/>
                      <a:gd name="T3" fmla="*/ 11 h 108"/>
                      <a:gd name="T4" fmla="*/ 63 w 136"/>
                      <a:gd name="T5" fmla="*/ 48 h 108"/>
                      <a:gd name="T6" fmla="*/ 124 w 136"/>
                      <a:gd name="T7" fmla="*/ 107 h 108"/>
                      <a:gd name="T8" fmla="*/ 136 w 136"/>
                      <a:gd name="T9" fmla="*/ 108 h 108"/>
                      <a:gd name="T10" fmla="*/ 62 w 136"/>
                      <a:gd name="T11" fmla="*/ 43 h 108"/>
                      <a:gd name="T12" fmla="*/ 0 w 136"/>
                      <a:gd name="T13" fmla="*/ 0 h 1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36" h="108">
                        <a:moveTo>
                          <a:pt x="0" y="0"/>
                        </a:moveTo>
                        <a:cubicBezTo>
                          <a:pt x="2" y="4"/>
                          <a:pt x="5" y="7"/>
                          <a:pt x="7" y="11"/>
                        </a:cubicBezTo>
                        <a:cubicBezTo>
                          <a:pt x="20" y="24"/>
                          <a:pt x="40" y="41"/>
                          <a:pt x="63" y="48"/>
                        </a:cubicBezTo>
                        <a:cubicBezTo>
                          <a:pt x="97" y="58"/>
                          <a:pt x="124" y="107"/>
                          <a:pt x="124" y="107"/>
                        </a:cubicBezTo>
                        <a:cubicBezTo>
                          <a:pt x="136" y="108"/>
                          <a:pt x="136" y="108"/>
                          <a:pt x="136" y="108"/>
                        </a:cubicBezTo>
                        <a:cubicBezTo>
                          <a:pt x="136" y="108"/>
                          <a:pt x="100" y="63"/>
                          <a:pt x="62" y="43"/>
                        </a:cubicBezTo>
                        <a:cubicBezTo>
                          <a:pt x="33" y="29"/>
                          <a:pt x="10" y="1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" name="Freeform 243">
                    <a:extLst>
                      <a:ext uri="{FF2B5EF4-FFF2-40B4-BE49-F238E27FC236}">
                        <a16:creationId xmlns:a16="http://schemas.microsoft.com/office/drawing/2014/main" id="{25AC02C8-7170-3112-E100-9F1FBD5E612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9438" y="730250"/>
                    <a:ext cx="211138" cy="368300"/>
                  </a:xfrm>
                  <a:custGeom>
                    <a:avLst/>
                    <a:gdLst>
                      <a:gd name="T0" fmla="*/ 5 w 114"/>
                      <a:gd name="T1" fmla="*/ 0 h 199"/>
                      <a:gd name="T2" fmla="*/ 2 w 114"/>
                      <a:gd name="T3" fmla="*/ 9 h 199"/>
                      <a:gd name="T4" fmla="*/ 8 w 114"/>
                      <a:gd name="T5" fmla="*/ 18 h 199"/>
                      <a:gd name="T6" fmla="*/ 17 w 114"/>
                      <a:gd name="T7" fmla="*/ 94 h 199"/>
                      <a:gd name="T8" fmla="*/ 83 w 114"/>
                      <a:gd name="T9" fmla="*/ 194 h 199"/>
                      <a:gd name="T10" fmla="*/ 114 w 114"/>
                      <a:gd name="T11" fmla="*/ 199 h 199"/>
                      <a:gd name="T12" fmla="*/ 111 w 114"/>
                      <a:gd name="T13" fmla="*/ 166 h 199"/>
                      <a:gd name="T14" fmla="*/ 33 w 114"/>
                      <a:gd name="T15" fmla="*/ 84 h 199"/>
                      <a:gd name="T16" fmla="*/ 14 w 114"/>
                      <a:gd name="T17" fmla="*/ 17 h 199"/>
                      <a:gd name="T18" fmla="*/ 17 w 114"/>
                      <a:gd name="T19" fmla="*/ 7 h 199"/>
                      <a:gd name="T20" fmla="*/ 5 w 114"/>
                      <a:gd name="T21" fmla="*/ 0 h 1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14" h="199">
                        <a:moveTo>
                          <a:pt x="5" y="0"/>
                        </a:moveTo>
                        <a:cubicBezTo>
                          <a:pt x="5" y="0"/>
                          <a:pt x="2" y="4"/>
                          <a:pt x="2" y="9"/>
                        </a:cubicBezTo>
                        <a:cubicBezTo>
                          <a:pt x="3" y="14"/>
                          <a:pt x="8" y="18"/>
                          <a:pt x="8" y="18"/>
                        </a:cubicBezTo>
                        <a:cubicBezTo>
                          <a:pt x="8" y="18"/>
                          <a:pt x="0" y="55"/>
                          <a:pt x="17" y="94"/>
                        </a:cubicBezTo>
                        <a:cubicBezTo>
                          <a:pt x="43" y="154"/>
                          <a:pt x="83" y="194"/>
                          <a:pt x="83" y="194"/>
                        </a:cubicBezTo>
                        <a:cubicBezTo>
                          <a:pt x="114" y="199"/>
                          <a:pt x="114" y="199"/>
                          <a:pt x="114" y="199"/>
                        </a:cubicBezTo>
                        <a:cubicBezTo>
                          <a:pt x="111" y="166"/>
                          <a:pt x="111" y="166"/>
                          <a:pt x="111" y="166"/>
                        </a:cubicBezTo>
                        <a:cubicBezTo>
                          <a:pt x="111" y="166"/>
                          <a:pt x="65" y="139"/>
                          <a:pt x="33" y="84"/>
                        </a:cubicBezTo>
                        <a:cubicBezTo>
                          <a:pt x="11" y="46"/>
                          <a:pt x="14" y="17"/>
                          <a:pt x="14" y="17"/>
                        </a:cubicBezTo>
                        <a:cubicBezTo>
                          <a:pt x="14" y="17"/>
                          <a:pt x="15" y="12"/>
                          <a:pt x="17" y="7"/>
                        </a:cubicBezTo>
                        <a:cubicBezTo>
                          <a:pt x="9" y="4"/>
                          <a:pt x="5" y="0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7" name="Freeform 244">
                    <a:extLst>
                      <a:ext uri="{FF2B5EF4-FFF2-40B4-BE49-F238E27FC236}">
                        <a16:creationId xmlns:a16="http://schemas.microsoft.com/office/drawing/2014/main" id="{70716BC5-7885-5652-3B00-26B819F0E1A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80700" y="617538"/>
                    <a:ext cx="131763" cy="107950"/>
                  </a:xfrm>
                  <a:custGeom>
                    <a:avLst/>
                    <a:gdLst>
                      <a:gd name="T0" fmla="*/ 70 w 71"/>
                      <a:gd name="T1" fmla="*/ 28 h 59"/>
                      <a:gd name="T2" fmla="*/ 71 w 71"/>
                      <a:gd name="T3" fmla="*/ 24 h 59"/>
                      <a:gd name="T4" fmla="*/ 62 w 71"/>
                      <a:gd name="T5" fmla="*/ 0 h 59"/>
                      <a:gd name="T6" fmla="*/ 42 w 71"/>
                      <a:gd name="T7" fmla="*/ 17 h 59"/>
                      <a:gd name="T8" fmla="*/ 21 w 71"/>
                      <a:gd name="T9" fmla="*/ 23 h 59"/>
                      <a:gd name="T10" fmla="*/ 0 w 71"/>
                      <a:gd name="T11" fmla="*/ 11 h 59"/>
                      <a:gd name="T12" fmla="*/ 36 w 71"/>
                      <a:gd name="T13" fmla="*/ 59 h 59"/>
                      <a:gd name="T14" fmla="*/ 70 w 71"/>
                      <a:gd name="T15" fmla="*/ 28 h 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1" h="59">
                        <a:moveTo>
                          <a:pt x="70" y="28"/>
                        </a:moveTo>
                        <a:cubicBezTo>
                          <a:pt x="69" y="26"/>
                          <a:pt x="71" y="24"/>
                          <a:pt x="71" y="24"/>
                        </a:cubicBezTo>
                        <a:cubicBezTo>
                          <a:pt x="62" y="0"/>
                          <a:pt x="62" y="0"/>
                          <a:pt x="62" y="0"/>
                        </a:cubicBezTo>
                        <a:cubicBezTo>
                          <a:pt x="62" y="0"/>
                          <a:pt x="48" y="10"/>
                          <a:pt x="42" y="17"/>
                        </a:cubicBezTo>
                        <a:cubicBezTo>
                          <a:pt x="36" y="24"/>
                          <a:pt x="25" y="24"/>
                          <a:pt x="21" y="23"/>
                        </a:cubicBezTo>
                        <a:cubicBezTo>
                          <a:pt x="13" y="19"/>
                          <a:pt x="0" y="11"/>
                          <a:pt x="0" y="11"/>
                        </a:cubicBezTo>
                        <a:cubicBezTo>
                          <a:pt x="0" y="11"/>
                          <a:pt x="24" y="28"/>
                          <a:pt x="36" y="59"/>
                        </a:cubicBezTo>
                        <a:cubicBezTo>
                          <a:pt x="60" y="44"/>
                          <a:pt x="67" y="33"/>
                          <a:pt x="70" y="2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8" name="Freeform 245">
                    <a:extLst>
                      <a:ext uri="{FF2B5EF4-FFF2-40B4-BE49-F238E27FC236}">
                        <a16:creationId xmlns:a16="http://schemas.microsoft.com/office/drawing/2014/main" id="{E6FC8F87-48D3-FB6C-CB65-CFED1FB5DF7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9113" y="541338"/>
                    <a:ext cx="138113" cy="127000"/>
                  </a:xfrm>
                  <a:custGeom>
                    <a:avLst/>
                    <a:gdLst>
                      <a:gd name="T0" fmla="*/ 1 w 75"/>
                      <a:gd name="T1" fmla="*/ 52 h 69"/>
                      <a:gd name="T2" fmla="*/ 25 w 75"/>
                      <a:gd name="T3" fmla="*/ 65 h 69"/>
                      <a:gd name="T4" fmla="*/ 39 w 75"/>
                      <a:gd name="T5" fmla="*/ 62 h 69"/>
                      <a:gd name="T6" fmla="*/ 52 w 75"/>
                      <a:gd name="T7" fmla="*/ 51 h 69"/>
                      <a:gd name="T8" fmla="*/ 60 w 75"/>
                      <a:gd name="T9" fmla="*/ 50 h 69"/>
                      <a:gd name="T10" fmla="*/ 62 w 75"/>
                      <a:gd name="T11" fmla="*/ 39 h 69"/>
                      <a:gd name="T12" fmla="*/ 75 w 75"/>
                      <a:gd name="T13" fmla="*/ 12 h 69"/>
                      <a:gd name="T14" fmla="*/ 65 w 75"/>
                      <a:gd name="T15" fmla="*/ 1 h 69"/>
                      <a:gd name="T16" fmla="*/ 50 w 75"/>
                      <a:gd name="T17" fmla="*/ 0 h 69"/>
                      <a:gd name="T18" fmla="*/ 12 w 75"/>
                      <a:gd name="T19" fmla="*/ 20 h 69"/>
                      <a:gd name="T20" fmla="*/ 13 w 75"/>
                      <a:gd name="T21" fmla="*/ 23 h 69"/>
                      <a:gd name="T22" fmla="*/ 18 w 75"/>
                      <a:gd name="T23" fmla="*/ 27 h 69"/>
                      <a:gd name="T24" fmla="*/ 1 w 75"/>
                      <a:gd name="T25" fmla="*/ 51 h 69"/>
                      <a:gd name="T26" fmla="*/ 1 w 75"/>
                      <a:gd name="T27" fmla="*/ 52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75" h="69">
                        <a:moveTo>
                          <a:pt x="1" y="52"/>
                        </a:moveTo>
                        <a:cubicBezTo>
                          <a:pt x="7" y="56"/>
                          <a:pt x="19" y="63"/>
                          <a:pt x="25" y="65"/>
                        </a:cubicBezTo>
                        <a:cubicBezTo>
                          <a:pt x="33" y="69"/>
                          <a:pt x="39" y="62"/>
                          <a:pt x="39" y="62"/>
                        </a:cubicBezTo>
                        <a:cubicBezTo>
                          <a:pt x="52" y="51"/>
                          <a:pt x="52" y="51"/>
                          <a:pt x="52" y="51"/>
                        </a:cubicBezTo>
                        <a:cubicBezTo>
                          <a:pt x="52" y="51"/>
                          <a:pt x="56" y="51"/>
                          <a:pt x="60" y="50"/>
                        </a:cubicBezTo>
                        <a:cubicBezTo>
                          <a:pt x="62" y="49"/>
                          <a:pt x="66" y="45"/>
                          <a:pt x="62" y="39"/>
                        </a:cubicBezTo>
                        <a:cubicBezTo>
                          <a:pt x="54" y="30"/>
                          <a:pt x="75" y="12"/>
                          <a:pt x="75" y="12"/>
                        </a:cubicBezTo>
                        <a:cubicBezTo>
                          <a:pt x="65" y="1"/>
                          <a:pt x="65" y="1"/>
                          <a:pt x="65" y="1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12" y="20"/>
                          <a:pt x="12" y="20"/>
                          <a:pt x="12" y="20"/>
                        </a:cubicBezTo>
                        <a:cubicBezTo>
                          <a:pt x="12" y="20"/>
                          <a:pt x="11" y="22"/>
                          <a:pt x="13" y="23"/>
                        </a:cubicBezTo>
                        <a:cubicBezTo>
                          <a:pt x="15" y="25"/>
                          <a:pt x="18" y="27"/>
                          <a:pt x="18" y="27"/>
                        </a:cubicBezTo>
                        <a:cubicBezTo>
                          <a:pt x="18" y="27"/>
                          <a:pt x="2" y="50"/>
                          <a:pt x="1" y="51"/>
                        </a:cubicBezTo>
                        <a:cubicBezTo>
                          <a:pt x="0" y="52"/>
                          <a:pt x="1" y="52"/>
                          <a:pt x="1" y="52"/>
                        </a:cubicBezTo>
                        <a:close/>
                      </a:path>
                    </a:pathLst>
                  </a:custGeom>
                  <a:solidFill>
                    <a:srgbClr val="E9F6F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9" name="Freeform 246">
                    <a:extLst>
                      <a:ext uri="{FF2B5EF4-FFF2-40B4-BE49-F238E27FC236}">
                        <a16:creationId xmlns:a16="http://schemas.microsoft.com/office/drawing/2014/main" id="{52118C97-DA6D-F748-BC6F-D3F03E67E09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6263" y="563563"/>
                    <a:ext cx="19050" cy="22225"/>
                  </a:xfrm>
                  <a:custGeom>
                    <a:avLst/>
                    <a:gdLst>
                      <a:gd name="T0" fmla="*/ 1 w 10"/>
                      <a:gd name="T1" fmla="*/ 4 h 12"/>
                      <a:gd name="T2" fmla="*/ 2 w 10"/>
                      <a:gd name="T3" fmla="*/ 7 h 12"/>
                      <a:gd name="T4" fmla="*/ 9 w 10"/>
                      <a:gd name="T5" fmla="*/ 11 h 12"/>
                      <a:gd name="T6" fmla="*/ 4 w 10"/>
                      <a:gd name="T7" fmla="*/ 2 h 12"/>
                      <a:gd name="T8" fmla="*/ 1 w 10"/>
                      <a:gd name="T9" fmla="*/ 4 h 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" h="12">
                        <a:moveTo>
                          <a:pt x="1" y="4"/>
                        </a:moveTo>
                        <a:cubicBezTo>
                          <a:pt x="0" y="6"/>
                          <a:pt x="1" y="6"/>
                          <a:pt x="2" y="7"/>
                        </a:cubicBezTo>
                        <a:cubicBezTo>
                          <a:pt x="4" y="8"/>
                          <a:pt x="10" y="12"/>
                          <a:pt x="9" y="11"/>
                        </a:cubicBezTo>
                        <a:cubicBezTo>
                          <a:pt x="9" y="10"/>
                          <a:pt x="7" y="7"/>
                          <a:pt x="4" y="2"/>
                        </a:cubicBezTo>
                        <a:cubicBezTo>
                          <a:pt x="3" y="0"/>
                          <a:pt x="2" y="2"/>
                          <a:pt x="1" y="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0" name="Freeform 247">
                    <a:extLst>
                      <a:ext uri="{FF2B5EF4-FFF2-40B4-BE49-F238E27FC236}">
                        <a16:creationId xmlns:a16="http://schemas.microsoft.com/office/drawing/2014/main" id="{63131D1C-BF5A-AAAE-A4DF-8897E13B7AD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514350"/>
                    <a:ext cx="103188" cy="147638"/>
                  </a:xfrm>
                  <a:custGeom>
                    <a:avLst/>
                    <a:gdLst>
                      <a:gd name="T0" fmla="*/ 56 w 56"/>
                      <a:gd name="T1" fmla="*/ 44 h 79"/>
                      <a:gd name="T2" fmla="*/ 15 w 56"/>
                      <a:gd name="T3" fmla="*/ 6 h 79"/>
                      <a:gd name="T4" fmla="*/ 12 w 56"/>
                      <a:gd name="T5" fmla="*/ 14 h 79"/>
                      <a:gd name="T6" fmla="*/ 26 w 56"/>
                      <a:gd name="T7" fmla="*/ 30 h 79"/>
                      <a:gd name="T8" fmla="*/ 8 w 56"/>
                      <a:gd name="T9" fmla="*/ 55 h 79"/>
                      <a:gd name="T10" fmla="*/ 25 w 56"/>
                      <a:gd name="T11" fmla="*/ 55 h 79"/>
                      <a:gd name="T12" fmla="*/ 34 w 56"/>
                      <a:gd name="T13" fmla="*/ 79 h 79"/>
                      <a:gd name="T14" fmla="*/ 56 w 56"/>
                      <a:gd name="T15" fmla="*/ 44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6" h="79">
                        <a:moveTo>
                          <a:pt x="56" y="44"/>
                        </a:moveTo>
                        <a:cubicBezTo>
                          <a:pt x="35" y="8"/>
                          <a:pt x="23" y="0"/>
                          <a:pt x="15" y="6"/>
                        </a:cubicBezTo>
                        <a:cubicBezTo>
                          <a:pt x="13" y="7"/>
                          <a:pt x="11" y="11"/>
                          <a:pt x="12" y="14"/>
                        </a:cubicBezTo>
                        <a:cubicBezTo>
                          <a:pt x="23" y="19"/>
                          <a:pt x="33" y="25"/>
                          <a:pt x="26" y="30"/>
                        </a:cubicBezTo>
                        <a:cubicBezTo>
                          <a:pt x="24" y="32"/>
                          <a:pt x="0" y="50"/>
                          <a:pt x="8" y="55"/>
                        </a:cubicBezTo>
                        <a:cubicBezTo>
                          <a:pt x="12" y="53"/>
                          <a:pt x="21" y="48"/>
                          <a:pt x="25" y="55"/>
                        </a:cubicBezTo>
                        <a:cubicBezTo>
                          <a:pt x="28" y="60"/>
                          <a:pt x="19" y="66"/>
                          <a:pt x="34" y="79"/>
                        </a:cubicBezTo>
                        <a:cubicBezTo>
                          <a:pt x="43" y="66"/>
                          <a:pt x="55" y="51"/>
                          <a:pt x="56" y="4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1" name="Freeform 248">
                    <a:extLst>
                      <a:ext uri="{FF2B5EF4-FFF2-40B4-BE49-F238E27FC236}">
                        <a16:creationId xmlns:a16="http://schemas.microsoft.com/office/drawing/2014/main" id="{7C4E52B8-741E-C9CD-B580-33E0A3AFC28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87038" y="1652588"/>
                    <a:ext cx="85725" cy="28575"/>
                  </a:xfrm>
                  <a:custGeom>
                    <a:avLst/>
                    <a:gdLst>
                      <a:gd name="T0" fmla="*/ 46 w 46"/>
                      <a:gd name="T1" fmla="*/ 0 h 16"/>
                      <a:gd name="T2" fmla="*/ 46 w 46"/>
                      <a:gd name="T3" fmla="*/ 15 h 16"/>
                      <a:gd name="T4" fmla="*/ 33 w 46"/>
                      <a:gd name="T5" fmla="*/ 15 h 16"/>
                      <a:gd name="T6" fmla="*/ 32 w 46"/>
                      <a:gd name="T7" fmla="*/ 10 h 16"/>
                      <a:gd name="T8" fmla="*/ 14 w 46"/>
                      <a:gd name="T9" fmla="*/ 16 h 16"/>
                      <a:gd name="T10" fmla="*/ 2 w 46"/>
                      <a:gd name="T11" fmla="*/ 15 h 16"/>
                      <a:gd name="T12" fmla="*/ 3 w 46"/>
                      <a:gd name="T13" fmla="*/ 11 h 16"/>
                      <a:gd name="T14" fmla="*/ 15 w 46"/>
                      <a:gd name="T15" fmla="*/ 7 h 16"/>
                      <a:gd name="T16" fmla="*/ 28 w 46"/>
                      <a:gd name="T17" fmla="*/ 0 h 16"/>
                      <a:gd name="T18" fmla="*/ 46 w 46"/>
                      <a:gd name="T19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6" h="16">
                        <a:moveTo>
                          <a:pt x="46" y="0"/>
                        </a:moveTo>
                        <a:cubicBezTo>
                          <a:pt x="46" y="15"/>
                          <a:pt x="46" y="15"/>
                          <a:pt x="46" y="15"/>
                        </a:cubicBezTo>
                        <a:cubicBezTo>
                          <a:pt x="33" y="15"/>
                          <a:pt x="33" y="15"/>
                          <a:pt x="33" y="15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14" y="16"/>
                          <a:pt x="14" y="16"/>
                          <a:pt x="14" y="16"/>
                        </a:cubicBezTo>
                        <a:cubicBezTo>
                          <a:pt x="2" y="15"/>
                          <a:pt x="2" y="15"/>
                          <a:pt x="2" y="15"/>
                        </a:cubicBezTo>
                        <a:cubicBezTo>
                          <a:pt x="2" y="15"/>
                          <a:pt x="0" y="12"/>
                          <a:pt x="3" y="11"/>
                        </a:cubicBezTo>
                        <a:cubicBezTo>
                          <a:pt x="4" y="11"/>
                          <a:pt x="15" y="7"/>
                          <a:pt x="15" y="7"/>
                        </a:cubicBezTo>
                        <a:cubicBezTo>
                          <a:pt x="28" y="0"/>
                          <a:pt x="28" y="0"/>
                          <a:pt x="28" y="0"/>
                        </a:cubicBez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2" name="Freeform 249">
                    <a:extLst>
                      <a:ext uri="{FF2B5EF4-FFF2-40B4-BE49-F238E27FC236}">
                        <a16:creationId xmlns:a16="http://schemas.microsoft.com/office/drawing/2014/main" id="{C1FD2D79-3FB8-6551-C168-3F3CD740EFF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31488" y="1119188"/>
                    <a:ext cx="693738" cy="533400"/>
                  </a:xfrm>
                  <a:custGeom>
                    <a:avLst/>
                    <a:gdLst>
                      <a:gd name="T0" fmla="*/ 0 w 374"/>
                      <a:gd name="T1" fmla="*/ 285 h 288"/>
                      <a:gd name="T2" fmla="*/ 1 w 374"/>
                      <a:gd name="T3" fmla="*/ 52 h 288"/>
                      <a:gd name="T4" fmla="*/ 50 w 374"/>
                      <a:gd name="T5" fmla="*/ 0 h 288"/>
                      <a:gd name="T6" fmla="*/ 330 w 374"/>
                      <a:gd name="T7" fmla="*/ 1 h 288"/>
                      <a:gd name="T8" fmla="*/ 207 w 374"/>
                      <a:gd name="T9" fmla="*/ 81 h 288"/>
                      <a:gd name="T10" fmla="*/ 56 w 374"/>
                      <a:gd name="T11" fmla="*/ 59 h 288"/>
                      <a:gd name="T12" fmla="*/ 22 w 374"/>
                      <a:gd name="T13" fmla="*/ 288 h 288"/>
                      <a:gd name="T14" fmla="*/ 0 w 374"/>
                      <a:gd name="T15" fmla="*/ 285 h 2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74" h="288">
                        <a:moveTo>
                          <a:pt x="0" y="285"/>
                        </a:moveTo>
                        <a:cubicBezTo>
                          <a:pt x="1" y="52"/>
                          <a:pt x="1" y="52"/>
                          <a:pt x="1" y="52"/>
                        </a:cubicBezTo>
                        <a:cubicBezTo>
                          <a:pt x="0" y="11"/>
                          <a:pt x="39" y="0"/>
                          <a:pt x="50" y="0"/>
                        </a:cubicBezTo>
                        <a:cubicBezTo>
                          <a:pt x="61" y="0"/>
                          <a:pt x="330" y="1"/>
                          <a:pt x="330" y="1"/>
                        </a:cubicBezTo>
                        <a:cubicBezTo>
                          <a:pt x="330" y="1"/>
                          <a:pt x="374" y="98"/>
                          <a:pt x="207" y="81"/>
                        </a:cubicBezTo>
                        <a:cubicBezTo>
                          <a:pt x="166" y="77"/>
                          <a:pt x="165" y="71"/>
                          <a:pt x="56" y="59"/>
                        </a:cubicBezTo>
                        <a:cubicBezTo>
                          <a:pt x="72" y="103"/>
                          <a:pt x="22" y="288"/>
                          <a:pt x="22" y="288"/>
                        </a:cubicBezTo>
                        <a:lnTo>
                          <a:pt x="0" y="28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3" name="Freeform 250">
                    <a:extLst>
                      <a:ext uri="{FF2B5EF4-FFF2-40B4-BE49-F238E27FC236}">
                        <a16:creationId xmlns:a16="http://schemas.microsoft.com/office/drawing/2014/main" id="{B632CF53-E267-895C-47C3-5FF8797B9FB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668338"/>
                    <a:ext cx="65088" cy="76200"/>
                  </a:xfrm>
                  <a:custGeom>
                    <a:avLst/>
                    <a:gdLst>
                      <a:gd name="T0" fmla="*/ 33 w 35"/>
                      <a:gd name="T1" fmla="*/ 0 h 41"/>
                      <a:gd name="T2" fmla="*/ 35 w 35"/>
                      <a:gd name="T3" fmla="*/ 1 h 41"/>
                      <a:gd name="T4" fmla="*/ 21 w 35"/>
                      <a:gd name="T5" fmla="*/ 41 h 41"/>
                      <a:gd name="T6" fmla="*/ 0 w 35"/>
                      <a:gd name="T7" fmla="*/ 31 h 41"/>
                      <a:gd name="T8" fmla="*/ 33 w 35"/>
                      <a:gd name="T9" fmla="*/ 0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5" h="41">
                        <a:moveTo>
                          <a:pt x="33" y="0"/>
                        </a:moveTo>
                        <a:cubicBezTo>
                          <a:pt x="35" y="1"/>
                          <a:pt x="35" y="1"/>
                          <a:pt x="35" y="1"/>
                        </a:cubicBezTo>
                        <a:cubicBezTo>
                          <a:pt x="21" y="41"/>
                          <a:pt x="21" y="41"/>
                          <a:pt x="21" y="41"/>
                        </a:cubicBezTo>
                        <a:cubicBezTo>
                          <a:pt x="21" y="41"/>
                          <a:pt x="11" y="41"/>
                          <a:pt x="0" y="31"/>
                        </a:cubicBezTo>
                        <a:cubicBezTo>
                          <a:pt x="28" y="12"/>
                          <a:pt x="33" y="0"/>
                          <a:pt x="33" y="0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4" name="Freeform 251">
                    <a:extLst>
                      <a:ext uri="{FF2B5EF4-FFF2-40B4-BE49-F238E27FC236}">
                        <a16:creationId xmlns:a16="http://schemas.microsoft.com/office/drawing/2014/main" id="{1EA0B494-84EF-FE62-14FC-919C1EDBBF5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8813" y="673100"/>
                    <a:ext cx="574675" cy="481013"/>
                  </a:xfrm>
                  <a:custGeom>
                    <a:avLst/>
                    <a:gdLst>
                      <a:gd name="T0" fmla="*/ 0 w 310"/>
                      <a:gd name="T1" fmla="*/ 0 h 260"/>
                      <a:gd name="T2" fmla="*/ 134 w 310"/>
                      <a:gd name="T3" fmla="*/ 182 h 260"/>
                      <a:gd name="T4" fmla="*/ 274 w 310"/>
                      <a:gd name="T5" fmla="*/ 260 h 260"/>
                      <a:gd name="T6" fmla="*/ 194 w 310"/>
                      <a:gd name="T7" fmla="*/ 161 h 260"/>
                      <a:gd name="T8" fmla="*/ 0 w 310"/>
                      <a:gd name="T9" fmla="*/ 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10" h="260">
                        <a:moveTo>
                          <a:pt x="0" y="0"/>
                        </a:moveTo>
                        <a:cubicBezTo>
                          <a:pt x="0" y="0"/>
                          <a:pt x="14" y="153"/>
                          <a:pt x="134" y="182"/>
                        </a:cubicBezTo>
                        <a:cubicBezTo>
                          <a:pt x="250" y="210"/>
                          <a:pt x="274" y="260"/>
                          <a:pt x="274" y="260"/>
                        </a:cubicBezTo>
                        <a:cubicBezTo>
                          <a:pt x="274" y="260"/>
                          <a:pt x="310" y="203"/>
                          <a:pt x="194" y="161"/>
                        </a:cubicBezTo>
                        <a:cubicBezTo>
                          <a:pt x="77" y="118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5" name="Freeform 252">
                    <a:extLst>
                      <a:ext uri="{FF2B5EF4-FFF2-40B4-BE49-F238E27FC236}">
                        <a16:creationId xmlns:a16="http://schemas.microsoft.com/office/drawing/2014/main" id="{9093A6BD-94D2-2668-56D7-930044D7E3B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93413" y="666750"/>
                    <a:ext cx="369888" cy="306388"/>
                  </a:xfrm>
                  <a:custGeom>
                    <a:avLst/>
                    <a:gdLst>
                      <a:gd name="T0" fmla="*/ 199 w 199"/>
                      <a:gd name="T1" fmla="*/ 165 h 165"/>
                      <a:gd name="T2" fmla="*/ 108 w 199"/>
                      <a:gd name="T3" fmla="*/ 43 h 165"/>
                      <a:gd name="T4" fmla="*/ 9 w 199"/>
                      <a:gd name="T5" fmla="*/ 0 h 165"/>
                      <a:gd name="T6" fmla="*/ 75 w 199"/>
                      <a:gd name="T7" fmla="*/ 119 h 165"/>
                      <a:gd name="T8" fmla="*/ 199 w 199"/>
                      <a:gd name="T9" fmla="*/ 165 h 1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99" h="165">
                        <a:moveTo>
                          <a:pt x="199" y="165"/>
                        </a:moveTo>
                        <a:cubicBezTo>
                          <a:pt x="199" y="165"/>
                          <a:pt x="134" y="65"/>
                          <a:pt x="108" y="43"/>
                        </a:cubicBezTo>
                        <a:cubicBezTo>
                          <a:pt x="82" y="21"/>
                          <a:pt x="9" y="0"/>
                          <a:pt x="9" y="0"/>
                        </a:cubicBezTo>
                        <a:cubicBezTo>
                          <a:pt x="9" y="0"/>
                          <a:pt x="0" y="87"/>
                          <a:pt x="75" y="119"/>
                        </a:cubicBezTo>
                        <a:cubicBezTo>
                          <a:pt x="150" y="151"/>
                          <a:pt x="199" y="165"/>
                          <a:pt x="199" y="165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6" name="Freeform 253">
                    <a:extLst>
                      <a:ext uri="{FF2B5EF4-FFF2-40B4-BE49-F238E27FC236}">
                        <a16:creationId xmlns:a16="http://schemas.microsoft.com/office/drawing/2014/main" id="{4AE72029-E397-7933-C5AE-1C453E9275A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91763" y="669925"/>
                    <a:ext cx="630238" cy="344488"/>
                  </a:xfrm>
                  <a:custGeom>
                    <a:avLst/>
                    <a:gdLst>
                      <a:gd name="T0" fmla="*/ 337 w 340"/>
                      <a:gd name="T1" fmla="*/ 78 h 186"/>
                      <a:gd name="T2" fmla="*/ 196 w 340"/>
                      <a:gd name="T3" fmla="*/ 184 h 186"/>
                      <a:gd name="T4" fmla="*/ 2 w 340"/>
                      <a:gd name="T5" fmla="*/ 166 h 186"/>
                      <a:gd name="T6" fmla="*/ 0 w 340"/>
                      <a:gd name="T7" fmla="*/ 151 h 186"/>
                      <a:gd name="T8" fmla="*/ 189 w 340"/>
                      <a:gd name="T9" fmla="*/ 144 h 186"/>
                      <a:gd name="T10" fmla="*/ 266 w 340"/>
                      <a:gd name="T11" fmla="*/ 49 h 186"/>
                      <a:gd name="T12" fmla="*/ 337 w 340"/>
                      <a:gd name="T13" fmla="*/ 78 h 1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0" h="186">
                        <a:moveTo>
                          <a:pt x="337" y="78"/>
                        </a:moveTo>
                        <a:cubicBezTo>
                          <a:pt x="301" y="123"/>
                          <a:pt x="230" y="173"/>
                          <a:pt x="196" y="184"/>
                        </a:cubicBezTo>
                        <a:cubicBezTo>
                          <a:pt x="125" y="186"/>
                          <a:pt x="2" y="166"/>
                          <a:pt x="2" y="166"/>
                        </a:cubicBezTo>
                        <a:cubicBezTo>
                          <a:pt x="2" y="166"/>
                          <a:pt x="0" y="159"/>
                          <a:pt x="0" y="151"/>
                        </a:cubicBezTo>
                        <a:cubicBezTo>
                          <a:pt x="52" y="147"/>
                          <a:pt x="159" y="142"/>
                          <a:pt x="189" y="144"/>
                        </a:cubicBezTo>
                        <a:cubicBezTo>
                          <a:pt x="223" y="116"/>
                          <a:pt x="255" y="98"/>
                          <a:pt x="266" y="49"/>
                        </a:cubicBezTo>
                        <a:cubicBezTo>
                          <a:pt x="278" y="0"/>
                          <a:pt x="340" y="16"/>
                          <a:pt x="337" y="78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7" name="Freeform 255">
                    <a:extLst>
                      <a:ext uri="{FF2B5EF4-FFF2-40B4-BE49-F238E27FC236}">
                        <a16:creationId xmlns:a16="http://schemas.microsoft.com/office/drawing/2014/main" id="{EA37FAEA-F1DF-32C9-D115-A05D070715E9}"/>
                      </a:ext>
                    </a:extLst>
                  </p:cNvPr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10396538" y="666750"/>
                    <a:ext cx="66675" cy="95250"/>
                  </a:xfrm>
                  <a:custGeom>
                    <a:avLst/>
                    <a:gdLst>
                      <a:gd name="T0" fmla="*/ 34 w 36"/>
                      <a:gd name="T1" fmla="*/ 42 h 51"/>
                      <a:gd name="T2" fmla="*/ 30 w 36"/>
                      <a:gd name="T3" fmla="*/ 30 h 51"/>
                      <a:gd name="T4" fmla="*/ 29 w 36"/>
                      <a:gd name="T5" fmla="*/ 20 h 51"/>
                      <a:gd name="T6" fmla="*/ 34 w 36"/>
                      <a:gd name="T7" fmla="*/ 11 h 51"/>
                      <a:gd name="T8" fmla="*/ 30 w 36"/>
                      <a:gd name="T9" fmla="*/ 6 h 51"/>
                      <a:gd name="T10" fmla="*/ 32 w 36"/>
                      <a:gd name="T11" fmla="*/ 1 h 51"/>
                      <a:gd name="T12" fmla="*/ 27 w 36"/>
                      <a:gd name="T13" fmla="*/ 3 h 51"/>
                      <a:gd name="T14" fmla="*/ 19 w 36"/>
                      <a:gd name="T15" fmla="*/ 16 h 51"/>
                      <a:gd name="T16" fmla="*/ 16 w 36"/>
                      <a:gd name="T17" fmla="*/ 31 h 51"/>
                      <a:gd name="T18" fmla="*/ 8 w 36"/>
                      <a:gd name="T19" fmla="*/ 30 h 51"/>
                      <a:gd name="T20" fmla="*/ 0 w 36"/>
                      <a:gd name="T21" fmla="*/ 31 h 51"/>
                      <a:gd name="T22" fmla="*/ 21 w 36"/>
                      <a:gd name="T23" fmla="*/ 46 h 51"/>
                      <a:gd name="T24" fmla="*/ 28 w 36"/>
                      <a:gd name="T25" fmla="*/ 51 h 51"/>
                      <a:gd name="T26" fmla="*/ 36 w 36"/>
                      <a:gd name="T27" fmla="*/ 44 h 51"/>
                      <a:gd name="T28" fmla="*/ 34 w 36"/>
                      <a:gd name="T29" fmla="*/ 42 h 51"/>
                      <a:gd name="T30" fmla="*/ 29 w 36"/>
                      <a:gd name="T31" fmla="*/ 9 h 51"/>
                      <a:gd name="T32" fmla="*/ 31 w 36"/>
                      <a:gd name="T33" fmla="*/ 12 h 51"/>
                      <a:gd name="T34" fmla="*/ 29 w 36"/>
                      <a:gd name="T35" fmla="*/ 14 h 51"/>
                      <a:gd name="T36" fmla="*/ 29 w 36"/>
                      <a:gd name="T37" fmla="*/ 9 h 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36" h="51">
                        <a:moveTo>
                          <a:pt x="34" y="42"/>
                        </a:moveTo>
                        <a:cubicBezTo>
                          <a:pt x="34" y="42"/>
                          <a:pt x="31" y="36"/>
                          <a:pt x="30" y="30"/>
                        </a:cubicBezTo>
                        <a:cubicBezTo>
                          <a:pt x="29" y="25"/>
                          <a:pt x="29" y="20"/>
                          <a:pt x="29" y="20"/>
                        </a:cubicBezTo>
                        <a:cubicBezTo>
                          <a:pt x="29" y="20"/>
                          <a:pt x="36" y="13"/>
                          <a:pt x="34" y="11"/>
                        </a:cubicBezTo>
                        <a:cubicBezTo>
                          <a:pt x="33" y="9"/>
                          <a:pt x="30" y="6"/>
                          <a:pt x="30" y="6"/>
                        </a:cubicBezTo>
                        <a:cubicBezTo>
                          <a:pt x="30" y="6"/>
                          <a:pt x="33" y="1"/>
                          <a:pt x="32" y="1"/>
                        </a:cubicBezTo>
                        <a:cubicBezTo>
                          <a:pt x="32" y="1"/>
                          <a:pt x="29" y="0"/>
                          <a:pt x="27" y="3"/>
                        </a:cubicBezTo>
                        <a:cubicBezTo>
                          <a:pt x="26" y="4"/>
                          <a:pt x="21" y="12"/>
                          <a:pt x="19" y="16"/>
                        </a:cubicBezTo>
                        <a:cubicBezTo>
                          <a:pt x="17" y="20"/>
                          <a:pt x="16" y="31"/>
                          <a:pt x="16" y="31"/>
                        </a:cubicBezTo>
                        <a:cubicBezTo>
                          <a:pt x="16" y="31"/>
                          <a:pt x="11" y="32"/>
                          <a:pt x="8" y="30"/>
                        </a:cubicBezTo>
                        <a:cubicBezTo>
                          <a:pt x="5" y="28"/>
                          <a:pt x="0" y="31"/>
                          <a:pt x="0" y="31"/>
                        </a:cubicBezTo>
                        <a:cubicBezTo>
                          <a:pt x="0" y="31"/>
                          <a:pt x="8" y="35"/>
                          <a:pt x="21" y="46"/>
                        </a:cubicBezTo>
                        <a:cubicBezTo>
                          <a:pt x="23" y="48"/>
                          <a:pt x="28" y="51"/>
                          <a:pt x="28" y="51"/>
                        </a:cubicBezTo>
                        <a:cubicBezTo>
                          <a:pt x="36" y="44"/>
                          <a:pt x="36" y="44"/>
                          <a:pt x="36" y="44"/>
                        </a:cubicBezTo>
                        <a:lnTo>
                          <a:pt x="34" y="42"/>
                        </a:lnTo>
                        <a:close/>
                        <a:moveTo>
                          <a:pt x="29" y="9"/>
                        </a:moveTo>
                        <a:cubicBezTo>
                          <a:pt x="31" y="12"/>
                          <a:pt x="31" y="12"/>
                          <a:pt x="31" y="12"/>
                        </a:cubicBezTo>
                        <a:cubicBezTo>
                          <a:pt x="29" y="14"/>
                          <a:pt x="29" y="14"/>
                          <a:pt x="29" y="14"/>
                        </a:cubicBezTo>
                        <a:lnTo>
                          <a:pt x="29" y="9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3" name="Group 4">
                <a:extLst>
                  <a:ext uri="{FF2B5EF4-FFF2-40B4-BE49-F238E27FC236}">
                    <a16:creationId xmlns:a16="http://schemas.microsoft.com/office/drawing/2014/main" id="{0B58D25F-5AB1-C1B1-020D-4303BFC3B365}"/>
                  </a:ext>
                </a:extLst>
              </p:cNvPr>
              <p:cNvGrpSpPr/>
              <p:nvPr/>
            </p:nvGrpSpPr>
            <p:grpSpPr>
              <a:xfrm>
                <a:off x="2494061" y="3997897"/>
                <a:ext cx="1127759" cy="1089959"/>
                <a:chOff x="2494061" y="3997897"/>
                <a:chExt cx="1127759" cy="1089959"/>
              </a:xfrm>
            </p:grpSpPr>
            <p:grpSp>
              <p:nvGrpSpPr>
                <p:cNvPr id="56" name="Group 1068">
                  <a:extLst>
                    <a:ext uri="{FF2B5EF4-FFF2-40B4-BE49-F238E27FC236}">
                      <a16:creationId xmlns:a16="http://schemas.microsoft.com/office/drawing/2014/main" id="{36258144-E764-C6DA-80DE-FCFFFD723AF1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2494061" y="3997897"/>
                  <a:ext cx="1127759" cy="815248"/>
                  <a:chOff x="10001250" y="2782888"/>
                  <a:chExt cx="1449388" cy="1047750"/>
                </a:xfrm>
              </p:grpSpPr>
              <p:sp>
                <p:nvSpPr>
                  <p:cNvPr id="58" name="Freeform 217">
                    <a:extLst>
                      <a:ext uri="{FF2B5EF4-FFF2-40B4-BE49-F238E27FC236}">
                        <a16:creationId xmlns:a16="http://schemas.microsoft.com/office/drawing/2014/main" id="{37A7AA2C-9297-CB07-5021-3A970D69FAE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5425" y="3303588"/>
                    <a:ext cx="728663" cy="525463"/>
                  </a:xfrm>
                  <a:custGeom>
                    <a:avLst/>
                    <a:gdLst>
                      <a:gd name="T0" fmla="*/ 3 w 393"/>
                      <a:gd name="T1" fmla="*/ 279 h 283"/>
                      <a:gd name="T2" fmla="*/ 12 w 393"/>
                      <a:gd name="T3" fmla="*/ 275 h 283"/>
                      <a:gd name="T4" fmla="*/ 25 w 393"/>
                      <a:gd name="T5" fmla="*/ 258 h 283"/>
                      <a:gd name="T6" fmla="*/ 22 w 393"/>
                      <a:gd name="T7" fmla="*/ 42 h 283"/>
                      <a:gd name="T8" fmla="*/ 22 w 393"/>
                      <a:gd name="T9" fmla="*/ 42 h 283"/>
                      <a:gd name="T10" fmla="*/ 61 w 393"/>
                      <a:gd name="T11" fmla="*/ 0 h 283"/>
                      <a:gd name="T12" fmla="*/ 319 w 393"/>
                      <a:gd name="T13" fmla="*/ 3 h 283"/>
                      <a:gd name="T14" fmla="*/ 236 w 393"/>
                      <a:gd name="T15" fmla="*/ 79 h 283"/>
                      <a:gd name="T16" fmla="*/ 65 w 393"/>
                      <a:gd name="T17" fmla="*/ 46 h 283"/>
                      <a:gd name="T18" fmla="*/ 37 w 393"/>
                      <a:gd name="T19" fmla="*/ 259 h 283"/>
                      <a:gd name="T20" fmla="*/ 37 w 393"/>
                      <a:gd name="T21" fmla="*/ 267 h 283"/>
                      <a:gd name="T22" fmla="*/ 34 w 393"/>
                      <a:gd name="T23" fmla="*/ 283 h 283"/>
                      <a:gd name="T24" fmla="*/ 29 w 393"/>
                      <a:gd name="T25" fmla="*/ 283 h 283"/>
                      <a:gd name="T26" fmla="*/ 28 w 393"/>
                      <a:gd name="T27" fmla="*/ 274 h 283"/>
                      <a:gd name="T28" fmla="*/ 15 w 393"/>
                      <a:gd name="T29" fmla="*/ 283 h 283"/>
                      <a:gd name="T30" fmla="*/ 2 w 393"/>
                      <a:gd name="T31" fmla="*/ 283 h 283"/>
                      <a:gd name="T32" fmla="*/ 3 w 393"/>
                      <a:gd name="T33" fmla="*/ 279 h 2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93" h="283">
                        <a:moveTo>
                          <a:pt x="3" y="279"/>
                        </a:moveTo>
                        <a:cubicBezTo>
                          <a:pt x="4" y="279"/>
                          <a:pt x="12" y="275"/>
                          <a:pt x="12" y="275"/>
                        </a:cubicBezTo>
                        <a:cubicBezTo>
                          <a:pt x="25" y="258"/>
                          <a:pt x="25" y="258"/>
                          <a:pt x="25" y="258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0" y="5"/>
                          <a:pt x="61" y="0"/>
                          <a:pt x="61" y="0"/>
                        </a:cubicBezTo>
                        <a:cubicBezTo>
                          <a:pt x="319" y="3"/>
                          <a:pt x="319" y="3"/>
                          <a:pt x="319" y="3"/>
                        </a:cubicBezTo>
                        <a:cubicBezTo>
                          <a:pt x="319" y="3"/>
                          <a:pt x="393" y="97"/>
                          <a:pt x="236" y="79"/>
                        </a:cubicBezTo>
                        <a:cubicBezTo>
                          <a:pt x="197" y="74"/>
                          <a:pt x="167" y="59"/>
                          <a:pt x="65" y="46"/>
                        </a:cubicBezTo>
                        <a:cubicBezTo>
                          <a:pt x="79" y="87"/>
                          <a:pt x="37" y="259"/>
                          <a:pt x="37" y="259"/>
                        </a:cubicBezTo>
                        <a:cubicBezTo>
                          <a:pt x="37" y="267"/>
                          <a:pt x="37" y="267"/>
                          <a:pt x="37" y="267"/>
                        </a:cubicBezTo>
                        <a:cubicBezTo>
                          <a:pt x="34" y="283"/>
                          <a:pt x="34" y="283"/>
                          <a:pt x="34" y="283"/>
                        </a:cubicBezTo>
                        <a:cubicBezTo>
                          <a:pt x="29" y="283"/>
                          <a:pt x="29" y="283"/>
                          <a:pt x="29" y="283"/>
                        </a:cubicBezTo>
                        <a:cubicBezTo>
                          <a:pt x="28" y="274"/>
                          <a:pt x="28" y="274"/>
                          <a:pt x="28" y="274"/>
                        </a:cubicBezTo>
                        <a:cubicBezTo>
                          <a:pt x="15" y="283"/>
                          <a:pt x="15" y="283"/>
                          <a:pt x="15" y="283"/>
                        </a:cubicBezTo>
                        <a:cubicBezTo>
                          <a:pt x="2" y="283"/>
                          <a:pt x="2" y="283"/>
                          <a:pt x="2" y="283"/>
                        </a:cubicBezTo>
                        <a:cubicBezTo>
                          <a:pt x="2" y="283"/>
                          <a:pt x="0" y="280"/>
                          <a:pt x="3" y="27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" name="Freeform 218">
                    <a:extLst>
                      <a:ext uri="{FF2B5EF4-FFF2-40B4-BE49-F238E27FC236}">
                        <a16:creationId xmlns:a16="http://schemas.microsoft.com/office/drawing/2014/main" id="{63618292-977A-E7B3-D6C0-86045E0A42F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3838" y="3784600"/>
                    <a:ext cx="71438" cy="46038"/>
                  </a:xfrm>
                  <a:custGeom>
                    <a:avLst/>
                    <a:gdLst>
                      <a:gd name="T0" fmla="*/ 13 w 38"/>
                      <a:gd name="T1" fmla="*/ 16 h 25"/>
                      <a:gd name="T2" fmla="*/ 3 w 38"/>
                      <a:gd name="T3" fmla="*/ 20 h 25"/>
                      <a:gd name="T4" fmla="*/ 2 w 38"/>
                      <a:gd name="T5" fmla="*/ 24 h 25"/>
                      <a:gd name="T6" fmla="*/ 18 w 38"/>
                      <a:gd name="T7" fmla="*/ 24 h 25"/>
                      <a:gd name="T8" fmla="*/ 29 w 38"/>
                      <a:gd name="T9" fmla="*/ 15 h 25"/>
                      <a:gd name="T10" fmla="*/ 30 w 38"/>
                      <a:gd name="T11" fmla="*/ 25 h 25"/>
                      <a:gd name="T12" fmla="*/ 35 w 38"/>
                      <a:gd name="T13" fmla="*/ 25 h 25"/>
                      <a:gd name="T14" fmla="*/ 38 w 38"/>
                      <a:gd name="T15" fmla="*/ 8 h 25"/>
                      <a:gd name="T16" fmla="*/ 38 w 38"/>
                      <a:gd name="T17" fmla="*/ 0 h 25"/>
                      <a:gd name="T18" fmla="*/ 28 w 38"/>
                      <a:gd name="T19" fmla="*/ 8 h 25"/>
                      <a:gd name="T20" fmla="*/ 13 w 38"/>
                      <a:gd name="T21" fmla="*/ 16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8" h="25">
                        <a:moveTo>
                          <a:pt x="13" y="16"/>
                        </a:moveTo>
                        <a:cubicBezTo>
                          <a:pt x="11" y="17"/>
                          <a:pt x="4" y="20"/>
                          <a:pt x="3" y="20"/>
                        </a:cubicBezTo>
                        <a:cubicBezTo>
                          <a:pt x="0" y="21"/>
                          <a:pt x="2" y="24"/>
                          <a:pt x="2" y="24"/>
                        </a:cubicBezTo>
                        <a:cubicBezTo>
                          <a:pt x="2" y="24"/>
                          <a:pt x="15" y="24"/>
                          <a:pt x="18" y="24"/>
                        </a:cubicBezTo>
                        <a:cubicBezTo>
                          <a:pt x="21" y="24"/>
                          <a:pt x="29" y="15"/>
                          <a:pt x="29" y="15"/>
                        </a:cubicBezTo>
                        <a:cubicBezTo>
                          <a:pt x="30" y="25"/>
                          <a:pt x="30" y="25"/>
                          <a:pt x="30" y="25"/>
                        </a:cubicBezTo>
                        <a:cubicBezTo>
                          <a:pt x="35" y="25"/>
                          <a:pt x="35" y="25"/>
                          <a:pt x="35" y="25"/>
                        </a:cubicBezTo>
                        <a:cubicBezTo>
                          <a:pt x="35" y="25"/>
                          <a:pt x="36" y="15"/>
                          <a:pt x="38" y="8"/>
                        </a:cubicBezTo>
                        <a:cubicBezTo>
                          <a:pt x="38" y="4"/>
                          <a:pt x="38" y="0"/>
                          <a:pt x="38" y="0"/>
                        </a:cubicBezTo>
                        <a:cubicBezTo>
                          <a:pt x="38" y="0"/>
                          <a:pt x="35" y="0"/>
                          <a:pt x="28" y="8"/>
                        </a:cubicBezTo>
                        <a:cubicBezTo>
                          <a:pt x="22" y="17"/>
                          <a:pt x="16" y="16"/>
                          <a:pt x="13" y="16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" name="Freeform 219">
                    <a:extLst>
                      <a:ext uri="{FF2B5EF4-FFF2-40B4-BE49-F238E27FC236}">
                        <a16:creationId xmlns:a16="http://schemas.microsoft.com/office/drawing/2014/main" id="{1F14E7E9-9B7B-48AB-B32A-123AFE6DD27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58488" y="3311525"/>
                    <a:ext cx="692150" cy="390525"/>
                  </a:xfrm>
                  <a:custGeom>
                    <a:avLst/>
                    <a:gdLst>
                      <a:gd name="T0" fmla="*/ 371 w 373"/>
                      <a:gd name="T1" fmla="*/ 182 h 211"/>
                      <a:gd name="T2" fmla="*/ 360 w 373"/>
                      <a:gd name="T3" fmla="*/ 170 h 211"/>
                      <a:gd name="T4" fmla="*/ 370 w 373"/>
                      <a:gd name="T5" fmla="*/ 168 h 211"/>
                      <a:gd name="T6" fmla="*/ 369 w 373"/>
                      <a:gd name="T7" fmla="*/ 164 h 211"/>
                      <a:gd name="T8" fmla="*/ 353 w 373"/>
                      <a:gd name="T9" fmla="*/ 163 h 211"/>
                      <a:gd name="T10" fmla="*/ 345 w 373"/>
                      <a:gd name="T11" fmla="*/ 164 h 211"/>
                      <a:gd name="T12" fmla="*/ 142 w 373"/>
                      <a:gd name="T13" fmla="*/ 172 h 211"/>
                      <a:gd name="T14" fmla="*/ 115 w 373"/>
                      <a:gd name="T15" fmla="*/ 25 h 211"/>
                      <a:gd name="T16" fmla="*/ 0 w 373"/>
                      <a:gd name="T17" fmla="*/ 15 h 211"/>
                      <a:gd name="T18" fmla="*/ 107 w 373"/>
                      <a:gd name="T19" fmla="*/ 191 h 211"/>
                      <a:gd name="T20" fmla="*/ 142 w 373"/>
                      <a:gd name="T21" fmla="*/ 211 h 211"/>
                      <a:gd name="T22" fmla="*/ 211 w 373"/>
                      <a:gd name="T23" fmla="*/ 198 h 211"/>
                      <a:gd name="T24" fmla="*/ 346 w 373"/>
                      <a:gd name="T25" fmla="*/ 176 h 211"/>
                      <a:gd name="T26" fmla="*/ 363 w 373"/>
                      <a:gd name="T27" fmla="*/ 186 h 211"/>
                      <a:gd name="T28" fmla="*/ 369 w 373"/>
                      <a:gd name="T29" fmla="*/ 195 h 211"/>
                      <a:gd name="T30" fmla="*/ 373 w 373"/>
                      <a:gd name="T31" fmla="*/ 196 h 211"/>
                      <a:gd name="T32" fmla="*/ 371 w 373"/>
                      <a:gd name="T33" fmla="*/ 182 h 2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73" h="211">
                        <a:moveTo>
                          <a:pt x="371" y="182"/>
                        </a:moveTo>
                        <a:cubicBezTo>
                          <a:pt x="360" y="170"/>
                          <a:pt x="360" y="170"/>
                          <a:pt x="360" y="170"/>
                        </a:cubicBezTo>
                        <a:cubicBezTo>
                          <a:pt x="370" y="168"/>
                          <a:pt x="370" y="168"/>
                          <a:pt x="370" y="168"/>
                        </a:cubicBezTo>
                        <a:cubicBezTo>
                          <a:pt x="369" y="164"/>
                          <a:pt x="369" y="164"/>
                          <a:pt x="369" y="164"/>
                        </a:cubicBezTo>
                        <a:cubicBezTo>
                          <a:pt x="353" y="163"/>
                          <a:pt x="353" y="163"/>
                          <a:pt x="353" y="163"/>
                        </a:cubicBezTo>
                        <a:cubicBezTo>
                          <a:pt x="353" y="163"/>
                          <a:pt x="348" y="164"/>
                          <a:pt x="345" y="164"/>
                        </a:cubicBezTo>
                        <a:cubicBezTo>
                          <a:pt x="274" y="167"/>
                          <a:pt x="157" y="159"/>
                          <a:pt x="142" y="172"/>
                        </a:cubicBezTo>
                        <a:cubicBezTo>
                          <a:pt x="140" y="136"/>
                          <a:pt x="136" y="58"/>
                          <a:pt x="115" y="25"/>
                        </a:cubicBezTo>
                        <a:cubicBezTo>
                          <a:pt x="100" y="0"/>
                          <a:pt x="0" y="15"/>
                          <a:pt x="0" y="15"/>
                        </a:cubicBezTo>
                        <a:cubicBezTo>
                          <a:pt x="0" y="15"/>
                          <a:pt x="102" y="185"/>
                          <a:pt x="107" y="191"/>
                        </a:cubicBezTo>
                        <a:cubicBezTo>
                          <a:pt x="121" y="210"/>
                          <a:pt x="142" y="211"/>
                          <a:pt x="142" y="211"/>
                        </a:cubicBezTo>
                        <a:cubicBezTo>
                          <a:pt x="211" y="198"/>
                          <a:pt x="211" y="198"/>
                          <a:pt x="211" y="198"/>
                        </a:cubicBezTo>
                        <a:cubicBezTo>
                          <a:pt x="346" y="176"/>
                          <a:pt x="346" y="176"/>
                          <a:pt x="346" y="176"/>
                        </a:cubicBezTo>
                        <a:cubicBezTo>
                          <a:pt x="363" y="186"/>
                          <a:pt x="363" y="186"/>
                          <a:pt x="363" y="186"/>
                        </a:cubicBezTo>
                        <a:cubicBezTo>
                          <a:pt x="363" y="186"/>
                          <a:pt x="369" y="194"/>
                          <a:pt x="369" y="195"/>
                        </a:cubicBezTo>
                        <a:cubicBezTo>
                          <a:pt x="370" y="198"/>
                          <a:pt x="373" y="196"/>
                          <a:pt x="373" y="196"/>
                        </a:cubicBezTo>
                        <a:lnTo>
                          <a:pt x="371" y="182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" name="Freeform 221">
                    <a:extLst>
                      <a:ext uri="{FF2B5EF4-FFF2-40B4-BE49-F238E27FC236}">
                        <a16:creationId xmlns:a16="http://schemas.microsoft.com/office/drawing/2014/main" id="{1A9B5DE9-4683-C198-F28C-03EB0D7229D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61600" y="2940050"/>
                    <a:ext cx="304800" cy="269875"/>
                  </a:xfrm>
                  <a:custGeom>
                    <a:avLst/>
                    <a:gdLst>
                      <a:gd name="T0" fmla="*/ 0 w 164"/>
                      <a:gd name="T1" fmla="*/ 113 h 146"/>
                      <a:gd name="T2" fmla="*/ 37 w 164"/>
                      <a:gd name="T3" fmla="*/ 114 h 146"/>
                      <a:gd name="T4" fmla="*/ 66 w 164"/>
                      <a:gd name="T5" fmla="*/ 77 h 146"/>
                      <a:gd name="T6" fmla="*/ 97 w 164"/>
                      <a:gd name="T7" fmla="*/ 41 h 146"/>
                      <a:gd name="T8" fmla="*/ 164 w 164"/>
                      <a:gd name="T9" fmla="*/ 11 h 146"/>
                      <a:gd name="T10" fmla="*/ 133 w 164"/>
                      <a:gd name="T11" fmla="*/ 72 h 146"/>
                      <a:gd name="T12" fmla="*/ 67 w 164"/>
                      <a:gd name="T13" fmla="*/ 130 h 146"/>
                      <a:gd name="T14" fmla="*/ 23 w 164"/>
                      <a:gd name="T15" fmla="*/ 141 h 146"/>
                      <a:gd name="T16" fmla="*/ 0 w 164"/>
                      <a:gd name="T17" fmla="*/ 113 h 1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64" h="146">
                        <a:moveTo>
                          <a:pt x="0" y="113"/>
                        </a:moveTo>
                        <a:cubicBezTo>
                          <a:pt x="37" y="114"/>
                          <a:pt x="37" y="114"/>
                          <a:pt x="37" y="114"/>
                        </a:cubicBezTo>
                        <a:cubicBezTo>
                          <a:pt x="37" y="114"/>
                          <a:pt x="47" y="99"/>
                          <a:pt x="66" y="77"/>
                        </a:cubicBezTo>
                        <a:cubicBezTo>
                          <a:pt x="127" y="79"/>
                          <a:pt x="85" y="55"/>
                          <a:pt x="97" y="41"/>
                        </a:cubicBezTo>
                        <a:cubicBezTo>
                          <a:pt x="135" y="0"/>
                          <a:pt x="164" y="11"/>
                          <a:pt x="164" y="11"/>
                        </a:cubicBezTo>
                        <a:cubicBezTo>
                          <a:pt x="133" y="72"/>
                          <a:pt x="133" y="72"/>
                          <a:pt x="133" y="72"/>
                        </a:cubicBezTo>
                        <a:cubicBezTo>
                          <a:pt x="133" y="72"/>
                          <a:pt x="76" y="122"/>
                          <a:pt x="67" y="130"/>
                        </a:cubicBezTo>
                        <a:cubicBezTo>
                          <a:pt x="58" y="137"/>
                          <a:pt x="46" y="146"/>
                          <a:pt x="23" y="141"/>
                        </a:cubicBezTo>
                        <a:cubicBezTo>
                          <a:pt x="19" y="126"/>
                          <a:pt x="0" y="113"/>
                          <a:pt x="0" y="11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Freeform 222">
                    <a:extLst>
                      <a:ext uri="{FF2B5EF4-FFF2-40B4-BE49-F238E27FC236}">
                        <a16:creationId xmlns:a16="http://schemas.microsoft.com/office/drawing/2014/main" id="{05D308A1-E704-8100-7646-527B8A35AC3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4638" y="2954338"/>
                    <a:ext cx="317500" cy="319088"/>
                  </a:xfrm>
                  <a:custGeom>
                    <a:avLst/>
                    <a:gdLst>
                      <a:gd name="T0" fmla="*/ 171 w 171"/>
                      <a:gd name="T1" fmla="*/ 172 h 172"/>
                      <a:gd name="T2" fmla="*/ 29 w 171"/>
                      <a:gd name="T3" fmla="*/ 97 h 172"/>
                      <a:gd name="T4" fmla="*/ 33 w 171"/>
                      <a:gd name="T5" fmla="*/ 0 h 172"/>
                      <a:gd name="T6" fmla="*/ 171 w 171"/>
                      <a:gd name="T7" fmla="*/ 172 h 1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71" h="172">
                        <a:moveTo>
                          <a:pt x="171" y="172"/>
                        </a:moveTo>
                        <a:cubicBezTo>
                          <a:pt x="171" y="172"/>
                          <a:pt x="57" y="148"/>
                          <a:pt x="29" y="97"/>
                        </a:cubicBezTo>
                        <a:cubicBezTo>
                          <a:pt x="0" y="43"/>
                          <a:pt x="33" y="0"/>
                          <a:pt x="33" y="0"/>
                        </a:cubicBezTo>
                        <a:lnTo>
                          <a:pt x="171" y="17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" name="Freeform 223">
                    <a:extLst>
                      <a:ext uri="{FF2B5EF4-FFF2-40B4-BE49-F238E27FC236}">
                        <a16:creationId xmlns:a16="http://schemas.microsoft.com/office/drawing/2014/main" id="{D85DAD9F-0E8A-AEB2-E828-9A934BB66A1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67975" y="2906713"/>
                    <a:ext cx="520700" cy="411163"/>
                  </a:xfrm>
                  <a:custGeom>
                    <a:avLst/>
                    <a:gdLst>
                      <a:gd name="T0" fmla="*/ 153 w 281"/>
                      <a:gd name="T1" fmla="*/ 222 h 222"/>
                      <a:gd name="T2" fmla="*/ 62 w 281"/>
                      <a:gd name="T3" fmla="*/ 147 h 222"/>
                      <a:gd name="T4" fmla="*/ 0 w 281"/>
                      <a:gd name="T5" fmla="*/ 23 h 222"/>
                      <a:gd name="T6" fmla="*/ 31 w 281"/>
                      <a:gd name="T7" fmla="*/ 8 h 222"/>
                      <a:gd name="T8" fmla="*/ 158 w 281"/>
                      <a:gd name="T9" fmla="*/ 64 h 222"/>
                      <a:gd name="T10" fmla="*/ 281 w 281"/>
                      <a:gd name="T11" fmla="*/ 219 h 222"/>
                      <a:gd name="T12" fmla="*/ 153 w 281"/>
                      <a:gd name="T13" fmla="*/ 222 h 2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1" h="222">
                        <a:moveTo>
                          <a:pt x="153" y="222"/>
                        </a:moveTo>
                        <a:cubicBezTo>
                          <a:pt x="153" y="222"/>
                          <a:pt x="136" y="170"/>
                          <a:pt x="62" y="147"/>
                        </a:cubicBezTo>
                        <a:cubicBezTo>
                          <a:pt x="16" y="134"/>
                          <a:pt x="0" y="23"/>
                          <a:pt x="0" y="23"/>
                        </a:cubicBezTo>
                        <a:cubicBezTo>
                          <a:pt x="0" y="23"/>
                          <a:pt x="17" y="10"/>
                          <a:pt x="31" y="8"/>
                        </a:cubicBezTo>
                        <a:cubicBezTo>
                          <a:pt x="64" y="0"/>
                          <a:pt x="115" y="18"/>
                          <a:pt x="158" y="64"/>
                        </a:cubicBezTo>
                        <a:cubicBezTo>
                          <a:pt x="219" y="128"/>
                          <a:pt x="281" y="219"/>
                          <a:pt x="281" y="219"/>
                        </a:cubicBezTo>
                        <a:lnTo>
                          <a:pt x="153" y="222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4" name="Freeform 224">
                    <a:extLst>
                      <a:ext uri="{FF2B5EF4-FFF2-40B4-BE49-F238E27FC236}">
                        <a16:creationId xmlns:a16="http://schemas.microsoft.com/office/drawing/2014/main" id="{BE5386C4-3549-3554-C9E0-77FCCA83077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9413" y="3076575"/>
                    <a:ext cx="247650" cy="242888"/>
                  </a:xfrm>
                  <a:custGeom>
                    <a:avLst/>
                    <a:gdLst>
                      <a:gd name="T0" fmla="*/ 121 w 133"/>
                      <a:gd name="T1" fmla="*/ 129 h 131"/>
                      <a:gd name="T2" fmla="*/ 64 w 133"/>
                      <a:gd name="T3" fmla="*/ 62 h 131"/>
                      <a:gd name="T4" fmla="*/ 0 w 133"/>
                      <a:gd name="T5" fmla="*/ 0 h 131"/>
                      <a:gd name="T6" fmla="*/ 64 w 133"/>
                      <a:gd name="T7" fmla="*/ 57 h 131"/>
                      <a:gd name="T8" fmla="*/ 133 w 133"/>
                      <a:gd name="T9" fmla="*/ 131 h 131"/>
                      <a:gd name="T10" fmla="*/ 121 w 133"/>
                      <a:gd name="T11" fmla="*/ 129 h 1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33" h="131">
                        <a:moveTo>
                          <a:pt x="121" y="129"/>
                        </a:moveTo>
                        <a:cubicBezTo>
                          <a:pt x="121" y="129"/>
                          <a:pt x="99" y="76"/>
                          <a:pt x="64" y="62"/>
                        </a:cubicBezTo>
                        <a:cubicBezTo>
                          <a:pt x="27" y="47"/>
                          <a:pt x="0" y="0"/>
                          <a:pt x="0" y="0"/>
                        </a:cubicBezTo>
                        <a:cubicBezTo>
                          <a:pt x="0" y="0"/>
                          <a:pt x="27" y="33"/>
                          <a:pt x="64" y="57"/>
                        </a:cubicBezTo>
                        <a:cubicBezTo>
                          <a:pt x="101" y="81"/>
                          <a:pt x="133" y="131"/>
                          <a:pt x="133" y="131"/>
                        </a:cubicBezTo>
                        <a:lnTo>
                          <a:pt x="121" y="129"/>
                        </a:ln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" name="Freeform 225">
                    <a:extLst>
                      <a:ext uri="{FF2B5EF4-FFF2-40B4-BE49-F238E27FC236}">
                        <a16:creationId xmlns:a16="http://schemas.microsoft.com/office/drawing/2014/main" id="{7D9B53E6-DE54-F609-B452-7EEB6FF633F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3063" y="2906713"/>
                    <a:ext cx="430213" cy="357188"/>
                  </a:xfrm>
                  <a:custGeom>
                    <a:avLst/>
                    <a:gdLst>
                      <a:gd name="T0" fmla="*/ 232 w 232"/>
                      <a:gd name="T1" fmla="*/ 182 h 193"/>
                      <a:gd name="T2" fmla="*/ 59 w 232"/>
                      <a:gd name="T3" fmla="*/ 13 h 193"/>
                      <a:gd name="T4" fmla="*/ 3 w 232"/>
                      <a:gd name="T5" fmla="*/ 6 h 193"/>
                      <a:gd name="T6" fmla="*/ 129 w 232"/>
                      <a:gd name="T7" fmla="*/ 156 h 193"/>
                      <a:gd name="T8" fmla="*/ 232 w 232"/>
                      <a:gd name="T9" fmla="*/ 182 h 1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2" h="193">
                        <a:moveTo>
                          <a:pt x="232" y="182"/>
                        </a:moveTo>
                        <a:cubicBezTo>
                          <a:pt x="232" y="182"/>
                          <a:pt x="112" y="25"/>
                          <a:pt x="59" y="13"/>
                        </a:cubicBezTo>
                        <a:cubicBezTo>
                          <a:pt x="7" y="0"/>
                          <a:pt x="3" y="6"/>
                          <a:pt x="3" y="6"/>
                        </a:cubicBezTo>
                        <a:cubicBezTo>
                          <a:pt x="3" y="6"/>
                          <a:pt x="0" y="89"/>
                          <a:pt x="129" y="156"/>
                        </a:cubicBezTo>
                        <a:cubicBezTo>
                          <a:pt x="203" y="193"/>
                          <a:pt x="232" y="182"/>
                          <a:pt x="232" y="182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" name="Freeform 226">
                    <a:extLst>
                      <a:ext uri="{FF2B5EF4-FFF2-40B4-BE49-F238E27FC236}">
                        <a16:creationId xmlns:a16="http://schemas.microsoft.com/office/drawing/2014/main" id="{7CF748B8-C9CD-0A8C-532B-1359CD774B0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2413" y="2862263"/>
                    <a:ext cx="125413" cy="106363"/>
                  </a:xfrm>
                  <a:custGeom>
                    <a:avLst/>
                    <a:gdLst>
                      <a:gd name="T0" fmla="*/ 68 w 68"/>
                      <a:gd name="T1" fmla="*/ 30 h 58"/>
                      <a:gd name="T2" fmla="*/ 58 w 68"/>
                      <a:gd name="T3" fmla="*/ 14 h 58"/>
                      <a:gd name="T4" fmla="*/ 39 w 68"/>
                      <a:gd name="T5" fmla="*/ 0 h 58"/>
                      <a:gd name="T6" fmla="*/ 31 w 68"/>
                      <a:gd name="T7" fmla="*/ 24 h 58"/>
                      <a:gd name="T8" fmla="*/ 18 w 68"/>
                      <a:gd name="T9" fmla="*/ 37 h 58"/>
                      <a:gd name="T10" fmla="*/ 0 w 68"/>
                      <a:gd name="T11" fmla="*/ 38 h 58"/>
                      <a:gd name="T12" fmla="*/ 36 w 68"/>
                      <a:gd name="T13" fmla="*/ 55 h 58"/>
                      <a:gd name="T14" fmla="*/ 68 w 68"/>
                      <a:gd name="T15" fmla="*/ 30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8" h="58">
                        <a:moveTo>
                          <a:pt x="68" y="30"/>
                        </a:moveTo>
                        <a:cubicBezTo>
                          <a:pt x="58" y="14"/>
                          <a:pt x="58" y="14"/>
                          <a:pt x="58" y="14"/>
                        </a:cubicBezTo>
                        <a:cubicBezTo>
                          <a:pt x="39" y="0"/>
                          <a:pt x="39" y="0"/>
                          <a:pt x="39" y="0"/>
                        </a:cubicBezTo>
                        <a:cubicBezTo>
                          <a:pt x="39" y="0"/>
                          <a:pt x="33" y="15"/>
                          <a:pt x="31" y="24"/>
                        </a:cubicBezTo>
                        <a:cubicBezTo>
                          <a:pt x="30" y="32"/>
                          <a:pt x="21" y="37"/>
                          <a:pt x="18" y="37"/>
                        </a:cubicBezTo>
                        <a:cubicBezTo>
                          <a:pt x="10" y="39"/>
                          <a:pt x="0" y="38"/>
                          <a:pt x="0" y="38"/>
                        </a:cubicBezTo>
                        <a:cubicBezTo>
                          <a:pt x="0" y="38"/>
                          <a:pt x="32" y="50"/>
                          <a:pt x="36" y="55"/>
                        </a:cubicBezTo>
                        <a:cubicBezTo>
                          <a:pt x="41" y="58"/>
                          <a:pt x="68" y="30"/>
                          <a:pt x="68" y="30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Freeform 227">
                    <a:extLst>
                      <a:ext uri="{FF2B5EF4-FFF2-40B4-BE49-F238E27FC236}">
                        <a16:creationId xmlns:a16="http://schemas.microsoft.com/office/drawing/2014/main" id="{0A1CABC2-6ABD-6E8F-773F-D612B195198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3363" y="2800350"/>
                    <a:ext cx="100013" cy="131763"/>
                  </a:xfrm>
                  <a:custGeom>
                    <a:avLst/>
                    <a:gdLst>
                      <a:gd name="T0" fmla="*/ 13 w 54"/>
                      <a:gd name="T1" fmla="*/ 71 h 71"/>
                      <a:gd name="T2" fmla="*/ 31 w 54"/>
                      <a:gd name="T3" fmla="*/ 70 h 71"/>
                      <a:gd name="T4" fmla="*/ 41 w 54"/>
                      <a:gd name="T5" fmla="*/ 61 h 71"/>
                      <a:gd name="T6" fmla="*/ 45 w 54"/>
                      <a:gd name="T7" fmla="*/ 46 h 71"/>
                      <a:gd name="T8" fmla="*/ 51 w 54"/>
                      <a:gd name="T9" fmla="*/ 41 h 71"/>
                      <a:gd name="T10" fmla="*/ 47 w 54"/>
                      <a:gd name="T11" fmla="*/ 32 h 71"/>
                      <a:gd name="T12" fmla="*/ 44 w 54"/>
                      <a:gd name="T13" fmla="*/ 3 h 71"/>
                      <a:gd name="T14" fmla="*/ 30 w 54"/>
                      <a:gd name="T15" fmla="*/ 0 h 71"/>
                      <a:gd name="T16" fmla="*/ 18 w 54"/>
                      <a:gd name="T17" fmla="*/ 7 h 71"/>
                      <a:gd name="T18" fmla="*/ 0 w 54"/>
                      <a:gd name="T19" fmla="*/ 40 h 71"/>
                      <a:gd name="T20" fmla="*/ 3 w 54"/>
                      <a:gd name="T21" fmla="*/ 42 h 71"/>
                      <a:gd name="T22" fmla="*/ 7 w 54"/>
                      <a:gd name="T23" fmla="*/ 43 h 71"/>
                      <a:gd name="T24" fmla="*/ 8 w 54"/>
                      <a:gd name="T25" fmla="*/ 70 h 71"/>
                      <a:gd name="T26" fmla="*/ 13 w 54"/>
                      <a:gd name="T27" fmla="*/ 71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54" h="71">
                        <a:moveTo>
                          <a:pt x="13" y="71"/>
                        </a:moveTo>
                        <a:cubicBezTo>
                          <a:pt x="17" y="71"/>
                          <a:pt x="25" y="71"/>
                          <a:pt x="31" y="70"/>
                        </a:cubicBezTo>
                        <a:cubicBezTo>
                          <a:pt x="40" y="69"/>
                          <a:pt x="41" y="61"/>
                          <a:pt x="41" y="61"/>
                        </a:cubicBezTo>
                        <a:cubicBezTo>
                          <a:pt x="45" y="46"/>
                          <a:pt x="45" y="46"/>
                          <a:pt x="45" y="46"/>
                        </a:cubicBezTo>
                        <a:cubicBezTo>
                          <a:pt x="45" y="46"/>
                          <a:pt x="48" y="44"/>
                          <a:pt x="51" y="41"/>
                        </a:cubicBezTo>
                        <a:cubicBezTo>
                          <a:pt x="52" y="40"/>
                          <a:pt x="54" y="34"/>
                          <a:pt x="47" y="32"/>
                        </a:cubicBezTo>
                        <a:cubicBezTo>
                          <a:pt x="37" y="28"/>
                          <a:pt x="44" y="3"/>
                          <a:pt x="44" y="3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18" y="7"/>
                          <a:pt x="18" y="7"/>
                          <a:pt x="18" y="7"/>
                        </a:cubicBezTo>
                        <a:cubicBezTo>
                          <a:pt x="0" y="40"/>
                          <a:pt x="0" y="40"/>
                          <a:pt x="0" y="40"/>
                        </a:cubicBezTo>
                        <a:cubicBezTo>
                          <a:pt x="0" y="40"/>
                          <a:pt x="1" y="42"/>
                          <a:pt x="3" y="42"/>
                        </a:cubicBezTo>
                        <a:cubicBezTo>
                          <a:pt x="6" y="42"/>
                          <a:pt x="7" y="43"/>
                          <a:pt x="7" y="43"/>
                        </a:cubicBezTo>
                        <a:cubicBezTo>
                          <a:pt x="7" y="43"/>
                          <a:pt x="8" y="69"/>
                          <a:pt x="8" y="70"/>
                        </a:cubicBezTo>
                        <a:cubicBezTo>
                          <a:pt x="9" y="71"/>
                          <a:pt x="10" y="71"/>
                          <a:pt x="13" y="71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" name="Freeform 228">
                    <a:extLst>
                      <a:ext uri="{FF2B5EF4-FFF2-40B4-BE49-F238E27FC236}">
                        <a16:creationId xmlns:a16="http://schemas.microsoft.com/office/drawing/2014/main" id="{A6DD37FC-56F5-5643-435E-26328109E1E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5588" y="2849563"/>
                    <a:ext cx="20638" cy="7938"/>
                  </a:xfrm>
                  <a:custGeom>
                    <a:avLst/>
                    <a:gdLst>
                      <a:gd name="T0" fmla="*/ 1 w 11"/>
                      <a:gd name="T1" fmla="*/ 3 h 5"/>
                      <a:gd name="T2" fmla="*/ 3 w 11"/>
                      <a:gd name="T3" fmla="*/ 5 h 5"/>
                      <a:gd name="T4" fmla="*/ 10 w 11"/>
                      <a:gd name="T5" fmla="*/ 5 h 5"/>
                      <a:gd name="T6" fmla="*/ 2 w 11"/>
                      <a:gd name="T7" fmla="*/ 1 h 5"/>
                      <a:gd name="T8" fmla="*/ 1 w 11"/>
                      <a:gd name="T9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" h="5">
                        <a:moveTo>
                          <a:pt x="1" y="3"/>
                        </a:moveTo>
                        <a:cubicBezTo>
                          <a:pt x="1" y="5"/>
                          <a:pt x="1" y="5"/>
                          <a:pt x="3" y="5"/>
                        </a:cubicBezTo>
                        <a:cubicBezTo>
                          <a:pt x="5" y="5"/>
                          <a:pt x="8" y="5"/>
                          <a:pt x="10" y="5"/>
                        </a:cubicBezTo>
                        <a:cubicBezTo>
                          <a:pt x="11" y="5"/>
                          <a:pt x="7" y="3"/>
                          <a:pt x="2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" name="Freeform 229">
                    <a:extLst>
                      <a:ext uri="{FF2B5EF4-FFF2-40B4-BE49-F238E27FC236}">
                        <a16:creationId xmlns:a16="http://schemas.microsoft.com/office/drawing/2014/main" id="{FCD6A609-FD03-927C-6981-22B64BB66A3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2263" y="2951163"/>
                    <a:ext cx="44450" cy="104775"/>
                  </a:xfrm>
                  <a:custGeom>
                    <a:avLst/>
                    <a:gdLst>
                      <a:gd name="T0" fmla="*/ 24 w 24"/>
                      <a:gd name="T1" fmla="*/ 57 h 57"/>
                      <a:gd name="T2" fmla="*/ 22 w 24"/>
                      <a:gd name="T3" fmla="*/ 0 h 57"/>
                      <a:gd name="T4" fmla="*/ 0 w 24"/>
                      <a:gd name="T5" fmla="*/ 8 h 57"/>
                      <a:gd name="T6" fmla="*/ 24 w 24"/>
                      <a:gd name="T7" fmla="*/ 57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4" h="57">
                        <a:moveTo>
                          <a:pt x="24" y="57"/>
                        </a:moveTo>
                        <a:cubicBezTo>
                          <a:pt x="24" y="57"/>
                          <a:pt x="8" y="28"/>
                          <a:pt x="22" y="0"/>
                        </a:cubicBezTo>
                        <a:cubicBezTo>
                          <a:pt x="17" y="5"/>
                          <a:pt x="6" y="6"/>
                          <a:pt x="0" y="8"/>
                        </a:cubicBezTo>
                        <a:cubicBezTo>
                          <a:pt x="0" y="32"/>
                          <a:pt x="24" y="57"/>
                          <a:pt x="24" y="57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0" name="Freeform 230">
                    <a:extLst>
                      <a:ext uri="{FF2B5EF4-FFF2-40B4-BE49-F238E27FC236}">
                        <a16:creationId xmlns:a16="http://schemas.microsoft.com/office/drawing/2014/main" id="{F8F2CC0C-4A99-C6F7-6804-4BB53ACFD12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72688" y="2957513"/>
                    <a:ext cx="188913" cy="74613"/>
                  </a:xfrm>
                  <a:custGeom>
                    <a:avLst/>
                    <a:gdLst>
                      <a:gd name="T0" fmla="*/ 94 w 119"/>
                      <a:gd name="T1" fmla="*/ 47 h 47"/>
                      <a:gd name="T2" fmla="*/ 0 w 119"/>
                      <a:gd name="T3" fmla="*/ 12 h 47"/>
                      <a:gd name="T4" fmla="*/ 2 w 119"/>
                      <a:gd name="T5" fmla="*/ 0 h 47"/>
                      <a:gd name="T6" fmla="*/ 119 w 119"/>
                      <a:gd name="T7" fmla="*/ 23 h 47"/>
                      <a:gd name="T8" fmla="*/ 94 w 119"/>
                      <a:gd name="T9" fmla="*/ 47 h 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9" h="47">
                        <a:moveTo>
                          <a:pt x="94" y="47"/>
                        </a:moveTo>
                        <a:lnTo>
                          <a:pt x="0" y="12"/>
                        </a:lnTo>
                        <a:lnTo>
                          <a:pt x="2" y="0"/>
                        </a:lnTo>
                        <a:lnTo>
                          <a:pt x="119" y="23"/>
                        </a:lnTo>
                        <a:lnTo>
                          <a:pt x="94" y="47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" name="Freeform 231">
                    <a:extLst>
                      <a:ext uri="{FF2B5EF4-FFF2-40B4-BE49-F238E27FC236}">
                        <a16:creationId xmlns:a16="http://schemas.microsoft.com/office/drawing/2014/main" id="{F0612C55-BF48-1128-8899-0F96D4D4956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15563" y="2954338"/>
                    <a:ext cx="434975" cy="128588"/>
                  </a:xfrm>
                  <a:custGeom>
                    <a:avLst/>
                    <a:gdLst>
                      <a:gd name="T0" fmla="*/ 2 w 235"/>
                      <a:gd name="T1" fmla="*/ 16 h 69"/>
                      <a:gd name="T2" fmla="*/ 82 w 235"/>
                      <a:gd name="T3" fmla="*/ 33 h 69"/>
                      <a:gd name="T4" fmla="*/ 201 w 235"/>
                      <a:gd name="T5" fmla="*/ 0 h 69"/>
                      <a:gd name="T6" fmla="*/ 235 w 235"/>
                      <a:gd name="T7" fmla="*/ 35 h 69"/>
                      <a:gd name="T8" fmla="*/ 120 w 235"/>
                      <a:gd name="T9" fmla="*/ 65 h 69"/>
                      <a:gd name="T10" fmla="*/ 59 w 235"/>
                      <a:gd name="T11" fmla="*/ 61 h 69"/>
                      <a:gd name="T12" fmla="*/ 0 w 235"/>
                      <a:gd name="T13" fmla="*/ 42 h 69"/>
                      <a:gd name="T14" fmla="*/ 2 w 235"/>
                      <a:gd name="T15" fmla="*/ 16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35" h="69">
                        <a:moveTo>
                          <a:pt x="2" y="16"/>
                        </a:moveTo>
                        <a:cubicBezTo>
                          <a:pt x="82" y="33"/>
                          <a:pt x="82" y="33"/>
                          <a:pt x="82" y="33"/>
                        </a:cubicBezTo>
                        <a:cubicBezTo>
                          <a:pt x="201" y="0"/>
                          <a:pt x="201" y="0"/>
                          <a:pt x="201" y="0"/>
                        </a:cubicBezTo>
                        <a:cubicBezTo>
                          <a:pt x="235" y="35"/>
                          <a:pt x="235" y="35"/>
                          <a:pt x="235" y="35"/>
                        </a:cubicBezTo>
                        <a:cubicBezTo>
                          <a:pt x="235" y="35"/>
                          <a:pt x="132" y="62"/>
                          <a:pt x="120" y="65"/>
                        </a:cubicBezTo>
                        <a:cubicBezTo>
                          <a:pt x="108" y="67"/>
                          <a:pt x="84" y="69"/>
                          <a:pt x="59" y="61"/>
                        </a:cubicBezTo>
                        <a:cubicBezTo>
                          <a:pt x="42" y="56"/>
                          <a:pt x="24" y="50"/>
                          <a:pt x="0" y="42"/>
                        </a:cubicBezTo>
                        <a:lnTo>
                          <a:pt x="2" y="16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2" name="Freeform 232">
                    <a:extLst>
                      <a:ext uri="{FF2B5EF4-FFF2-40B4-BE49-F238E27FC236}">
                        <a16:creationId xmlns:a16="http://schemas.microsoft.com/office/drawing/2014/main" id="{99D3C078-C45F-B3C1-9160-335AC5C6E9B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3525" y="2782888"/>
                    <a:ext cx="134938" cy="225425"/>
                  </a:xfrm>
                  <a:custGeom>
                    <a:avLst/>
                    <a:gdLst>
                      <a:gd name="T0" fmla="*/ 52 w 73"/>
                      <a:gd name="T1" fmla="*/ 19 h 122"/>
                      <a:gd name="T2" fmla="*/ 0 w 73"/>
                      <a:gd name="T3" fmla="*/ 9 h 122"/>
                      <a:gd name="T4" fmla="*/ 2 w 73"/>
                      <a:gd name="T5" fmla="*/ 17 h 122"/>
                      <a:gd name="T6" fmla="*/ 19 w 73"/>
                      <a:gd name="T7" fmla="*/ 56 h 122"/>
                      <a:gd name="T8" fmla="*/ 6 w 73"/>
                      <a:gd name="T9" fmla="*/ 107 h 122"/>
                      <a:gd name="T10" fmla="*/ 70 w 73"/>
                      <a:gd name="T11" fmla="*/ 76 h 122"/>
                      <a:gd name="T12" fmla="*/ 52 w 73"/>
                      <a:gd name="T13" fmla="*/ 19 h 1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3" h="122">
                        <a:moveTo>
                          <a:pt x="52" y="19"/>
                        </a:moveTo>
                        <a:cubicBezTo>
                          <a:pt x="17" y="1"/>
                          <a:pt x="4" y="0"/>
                          <a:pt x="0" y="9"/>
                        </a:cubicBezTo>
                        <a:cubicBezTo>
                          <a:pt x="0" y="11"/>
                          <a:pt x="0" y="15"/>
                          <a:pt x="2" y="17"/>
                        </a:cubicBezTo>
                        <a:cubicBezTo>
                          <a:pt x="12" y="17"/>
                          <a:pt x="19" y="36"/>
                          <a:pt x="19" y="56"/>
                        </a:cubicBezTo>
                        <a:cubicBezTo>
                          <a:pt x="17" y="75"/>
                          <a:pt x="16" y="102"/>
                          <a:pt x="6" y="107"/>
                        </a:cubicBezTo>
                        <a:cubicBezTo>
                          <a:pt x="34" y="117"/>
                          <a:pt x="73" y="122"/>
                          <a:pt x="70" y="76"/>
                        </a:cubicBezTo>
                        <a:cubicBezTo>
                          <a:pt x="70" y="62"/>
                          <a:pt x="55" y="24"/>
                          <a:pt x="52" y="19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" name="Freeform 233">
                    <a:extLst>
                      <a:ext uri="{FF2B5EF4-FFF2-40B4-BE49-F238E27FC236}">
                        <a16:creationId xmlns:a16="http://schemas.microsoft.com/office/drawing/2014/main" id="{65472B8C-C1E0-7A21-033A-B2FD420969C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8613" y="3302000"/>
                    <a:ext cx="563563" cy="241300"/>
                  </a:xfrm>
                  <a:custGeom>
                    <a:avLst/>
                    <a:gdLst>
                      <a:gd name="T0" fmla="*/ 267 w 304"/>
                      <a:gd name="T1" fmla="*/ 0 h 130"/>
                      <a:gd name="T2" fmla="*/ 304 w 304"/>
                      <a:gd name="T3" fmla="*/ 118 h 130"/>
                      <a:gd name="T4" fmla="*/ 26 w 304"/>
                      <a:gd name="T5" fmla="*/ 54 h 130"/>
                      <a:gd name="T6" fmla="*/ 1 w 304"/>
                      <a:gd name="T7" fmla="*/ 1 h 130"/>
                      <a:gd name="T8" fmla="*/ 267 w 304"/>
                      <a:gd name="T9" fmla="*/ 0 h 1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4" h="130">
                        <a:moveTo>
                          <a:pt x="267" y="0"/>
                        </a:moveTo>
                        <a:cubicBezTo>
                          <a:pt x="295" y="26"/>
                          <a:pt x="269" y="75"/>
                          <a:pt x="304" y="118"/>
                        </a:cubicBezTo>
                        <a:cubicBezTo>
                          <a:pt x="264" y="130"/>
                          <a:pt x="87" y="102"/>
                          <a:pt x="26" y="54"/>
                        </a:cubicBezTo>
                        <a:cubicBezTo>
                          <a:pt x="0" y="33"/>
                          <a:pt x="1" y="1"/>
                          <a:pt x="1" y="1"/>
                        </a:cubicBezTo>
                        <a:cubicBezTo>
                          <a:pt x="1" y="1"/>
                          <a:pt x="229" y="1"/>
                          <a:pt x="267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" name="Freeform 234">
                    <a:extLst>
                      <a:ext uri="{FF2B5EF4-FFF2-40B4-BE49-F238E27FC236}">
                        <a16:creationId xmlns:a16="http://schemas.microsoft.com/office/drawing/2014/main" id="{99D22314-3392-014A-3506-FB059769CC4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01250" y="2922588"/>
                    <a:ext cx="79375" cy="60325"/>
                  </a:xfrm>
                  <a:custGeom>
                    <a:avLst/>
                    <a:gdLst>
                      <a:gd name="T0" fmla="*/ 43 w 43"/>
                      <a:gd name="T1" fmla="*/ 20 h 32"/>
                      <a:gd name="T2" fmla="*/ 34 w 43"/>
                      <a:gd name="T3" fmla="*/ 16 h 32"/>
                      <a:gd name="T4" fmla="*/ 26 w 43"/>
                      <a:gd name="T5" fmla="*/ 10 h 32"/>
                      <a:gd name="T6" fmla="*/ 23 w 43"/>
                      <a:gd name="T7" fmla="*/ 7 h 32"/>
                      <a:gd name="T8" fmla="*/ 6 w 43"/>
                      <a:gd name="T9" fmla="*/ 0 h 32"/>
                      <a:gd name="T10" fmla="*/ 7 w 43"/>
                      <a:gd name="T11" fmla="*/ 4 h 32"/>
                      <a:gd name="T12" fmla="*/ 15 w 43"/>
                      <a:gd name="T13" fmla="*/ 9 h 32"/>
                      <a:gd name="T14" fmla="*/ 0 w 43"/>
                      <a:gd name="T15" fmla="*/ 13 h 32"/>
                      <a:gd name="T16" fmla="*/ 2 w 43"/>
                      <a:gd name="T17" fmla="*/ 16 h 32"/>
                      <a:gd name="T18" fmla="*/ 12 w 43"/>
                      <a:gd name="T19" fmla="*/ 15 h 32"/>
                      <a:gd name="T20" fmla="*/ 27 w 43"/>
                      <a:gd name="T21" fmla="*/ 27 h 32"/>
                      <a:gd name="T22" fmla="*/ 24 w 43"/>
                      <a:gd name="T23" fmla="*/ 28 h 32"/>
                      <a:gd name="T24" fmla="*/ 27 w 43"/>
                      <a:gd name="T25" fmla="*/ 32 h 32"/>
                      <a:gd name="T26" fmla="*/ 42 w 43"/>
                      <a:gd name="T27" fmla="*/ 30 h 32"/>
                      <a:gd name="T28" fmla="*/ 43 w 43"/>
                      <a:gd name="T29" fmla="*/ 20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3" h="32">
                        <a:moveTo>
                          <a:pt x="43" y="20"/>
                        </a:moveTo>
                        <a:cubicBezTo>
                          <a:pt x="43" y="20"/>
                          <a:pt x="38" y="18"/>
                          <a:pt x="34" y="16"/>
                        </a:cubicBezTo>
                        <a:cubicBezTo>
                          <a:pt x="30" y="13"/>
                          <a:pt x="26" y="10"/>
                          <a:pt x="26" y="10"/>
                        </a:cubicBezTo>
                        <a:cubicBezTo>
                          <a:pt x="26" y="10"/>
                          <a:pt x="24" y="8"/>
                          <a:pt x="23" y="7"/>
                        </a:cubicBezTo>
                        <a:cubicBezTo>
                          <a:pt x="22" y="7"/>
                          <a:pt x="13" y="3"/>
                          <a:pt x="6" y="0"/>
                        </a:cubicBezTo>
                        <a:cubicBezTo>
                          <a:pt x="5" y="0"/>
                          <a:pt x="6" y="3"/>
                          <a:pt x="7" y="4"/>
                        </a:cubicBezTo>
                        <a:cubicBezTo>
                          <a:pt x="8" y="5"/>
                          <a:pt x="15" y="9"/>
                          <a:pt x="15" y="9"/>
                        </a:cubicBezTo>
                        <a:cubicBezTo>
                          <a:pt x="15" y="9"/>
                          <a:pt x="3" y="12"/>
                          <a:pt x="0" y="13"/>
                        </a:cubicBezTo>
                        <a:cubicBezTo>
                          <a:pt x="0" y="13"/>
                          <a:pt x="1" y="15"/>
                          <a:pt x="2" y="16"/>
                        </a:cubicBezTo>
                        <a:cubicBezTo>
                          <a:pt x="4" y="16"/>
                          <a:pt x="12" y="15"/>
                          <a:pt x="12" y="15"/>
                        </a:cubicBezTo>
                        <a:cubicBezTo>
                          <a:pt x="27" y="27"/>
                          <a:pt x="27" y="27"/>
                          <a:pt x="27" y="27"/>
                        </a:cubicBezTo>
                        <a:cubicBezTo>
                          <a:pt x="24" y="28"/>
                          <a:pt x="24" y="28"/>
                          <a:pt x="24" y="28"/>
                        </a:cubicBezTo>
                        <a:cubicBezTo>
                          <a:pt x="27" y="32"/>
                          <a:pt x="27" y="32"/>
                          <a:pt x="27" y="32"/>
                        </a:cubicBezTo>
                        <a:cubicBezTo>
                          <a:pt x="27" y="32"/>
                          <a:pt x="33" y="32"/>
                          <a:pt x="42" y="30"/>
                        </a:cubicBezTo>
                        <a:lnTo>
                          <a:pt x="43" y="2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57" name="Freeform 180">
                  <a:extLst>
                    <a:ext uri="{FF2B5EF4-FFF2-40B4-BE49-F238E27FC236}">
                      <a16:creationId xmlns:a16="http://schemas.microsoft.com/office/drawing/2014/main" id="{12A2D59C-D369-8D9C-9C3E-F03FA687B8B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532353" y="4827346"/>
                  <a:ext cx="357122" cy="260510"/>
                </a:xfrm>
                <a:custGeom>
                  <a:avLst/>
                  <a:gdLst>
                    <a:gd name="T0" fmla="*/ 308 w 354"/>
                    <a:gd name="T1" fmla="*/ 0 h 259"/>
                    <a:gd name="T2" fmla="*/ 300 w 354"/>
                    <a:gd name="T3" fmla="*/ 0 h 259"/>
                    <a:gd name="T4" fmla="*/ 300 w 354"/>
                    <a:gd name="T5" fmla="*/ 14 h 259"/>
                    <a:gd name="T6" fmla="*/ 283 w 354"/>
                    <a:gd name="T7" fmla="*/ 0 h 259"/>
                    <a:gd name="T8" fmla="*/ 283 w 354"/>
                    <a:gd name="T9" fmla="*/ 0 h 259"/>
                    <a:gd name="T10" fmla="*/ 261 w 354"/>
                    <a:gd name="T11" fmla="*/ 0 h 259"/>
                    <a:gd name="T12" fmla="*/ 262 w 354"/>
                    <a:gd name="T13" fmla="*/ 6 h 259"/>
                    <a:gd name="T14" fmla="*/ 277 w 354"/>
                    <a:gd name="T15" fmla="*/ 12 h 259"/>
                    <a:gd name="T16" fmla="*/ 295 w 354"/>
                    <a:gd name="T17" fmla="*/ 36 h 259"/>
                    <a:gd name="T18" fmla="*/ 292 w 354"/>
                    <a:gd name="T19" fmla="*/ 237 h 259"/>
                    <a:gd name="T20" fmla="*/ 182 w 354"/>
                    <a:gd name="T21" fmla="*/ 111 h 259"/>
                    <a:gd name="T22" fmla="*/ 133 w 354"/>
                    <a:gd name="T23" fmla="*/ 84 h 259"/>
                    <a:gd name="T24" fmla="*/ 84 w 354"/>
                    <a:gd name="T25" fmla="*/ 117 h 259"/>
                    <a:gd name="T26" fmla="*/ 0 w 354"/>
                    <a:gd name="T27" fmla="*/ 259 h 259"/>
                    <a:gd name="T28" fmla="*/ 140 w 354"/>
                    <a:gd name="T29" fmla="*/ 259 h 259"/>
                    <a:gd name="T30" fmla="*/ 147 w 354"/>
                    <a:gd name="T31" fmla="*/ 188 h 259"/>
                    <a:gd name="T32" fmla="*/ 230 w 354"/>
                    <a:gd name="T33" fmla="*/ 259 h 259"/>
                    <a:gd name="T34" fmla="*/ 354 w 354"/>
                    <a:gd name="T35" fmla="*/ 259 h 259"/>
                    <a:gd name="T36" fmla="*/ 312 w 354"/>
                    <a:gd name="T37" fmla="*/ 35 h 259"/>
                    <a:gd name="T38" fmla="*/ 312 w 354"/>
                    <a:gd name="T39" fmla="*/ 24 h 259"/>
                    <a:gd name="T40" fmla="*/ 308 w 354"/>
                    <a:gd name="T41" fmla="*/ 0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4" h="259">
                      <a:moveTo>
                        <a:pt x="308" y="0"/>
                      </a:moveTo>
                      <a:cubicBezTo>
                        <a:pt x="300" y="0"/>
                        <a:pt x="300" y="0"/>
                        <a:pt x="300" y="0"/>
                      </a:cubicBezTo>
                      <a:cubicBezTo>
                        <a:pt x="300" y="14"/>
                        <a:pt x="300" y="14"/>
                        <a:pt x="300" y="14"/>
                      </a:cubicBezTo>
                      <a:cubicBezTo>
                        <a:pt x="300" y="14"/>
                        <a:pt x="288" y="0"/>
                        <a:pt x="283" y="0"/>
                      </a:cubicBezTo>
                      <a:cubicBezTo>
                        <a:pt x="283" y="0"/>
                        <a:pt x="283" y="0"/>
                        <a:pt x="283" y="0"/>
                      </a:cubicBezTo>
                      <a:cubicBezTo>
                        <a:pt x="279" y="0"/>
                        <a:pt x="261" y="0"/>
                        <a:pt x="261" y="0"/>
                      </a:cubicBezTo>
                      <a:cubicBezTo>
                        <a:pt x="261" y="0"/>
                        <a:pt x="258" y="5"/>
                        <a:pt x="262" y="6"/>
                      </a:cubicBezTo>
                      <a:cubicBezTo>
                        <a:pt x="263" y="6"/>
                        <a:pt x="273" y="10"/>
                        <a:pt x="277" y="12"/>
                      </a:cubicBezTo>
                      <a:cubicBezTo>
                        <a:pt x="295" y="36"/>
                        <a:pt x="295" y="36"/>
                        <a:pt x="295" y="36"/>
                      </a:cubicBezTo>
                      <a:cubicBezTo>
                        <a:pt x="292" y="237"/>
                        <a:pt x="292" y="237"/>
                        <a:pt x="292" y="237"/>
                      </a:cubicBezTo>
                      <a:cubicBezTo>
                        <a:pt x="241" y="180"/>
                        <a:pt x="189" y="121"/>
                        <a:pt x="182" y="111"/>
                      </a:cubicBezTo>
                      <a:cubicBezTo>
                        <a:pt x="174" y="99"/>
                        <a:pt x="155" y="84"/>
                        <a:pt x="133" y="84"/>
                      </a:cubicBezTo>
                      <a:cubicBezTo>
                        <a:pt x="117" y="84"/>
                        <a:pt x="99" y="93"/>
                        <a:pt x="84" y="117"/>
                      </a:cubicBezTo>
                      <a:cubicBezTo>
                        <a:pt x="61" y="155"/>
                        <a:pt x="26" y="213"/>
                        <a:pt x="0" y="259"/>
                      </a:cubicBezTo>
                      <a:cubicBezTo>
                        <a:pt x="140" y="259"/>
                        <a:pt x="140" y="259"/>
                        <a:pt x="140" y="259"/>
                      </a:cubicBezTo>
                      <a:cubicBezTo>
                        <a:pt x="144" y="231"/>
                        <a:pt x="146" y="205"/>
                        <a:pt x="147" y="188"/>
                      </a:cubicBezTo>
                      <a:cubicBezTo>
                        <a:pt x="230" y="259"/>
                        <a:pt x="230" y="259"/>
                        <a:pt x="230" y="259"/>
                      </a:cubicBezTo>
                      <a:cubicBezTo>
                        <a:pt x="354" y="259"/>
                        <a:pt x="354" y="259"/>
                        <a:pt x="354" y="259"/>
                      </a:cubicBezTo>
                      <a:cubicBezTo>
                        <a:pt x="345" y="166"/>
                        <a:pt x="312" y="35"/>
                        <a:pt x="312" y="35"/>
                      </a:cubicBezTo>
                      <a:cubicBezTo>
                        <a:pt x="312" y="35"/>
                        <a:pt x="313" y="29"/>
                        <a:pt x="312" y="24"/>
                      </a:cubicBezTo>
                      <a:cubicBezTo>
                        <a:pt x="310" y="13"/>
                        <a:pt x="308" y="0"/>
                        <a:pt x="308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14" name="Group 5">
                <a:extLst>
                  <a:ext uri="{FF2B5EF4-FFF2-40B4-BE49-F238E27FC236}">
                    <a16:creationId xmlns:a16="http://schemas.microsoft.com/office/drawing/2014/main" id="{5E4987A9-B5A8-EF34-CA1D-F2E000CA4F32}"/>
                  </a:ext>
                </a:extLst>
              </p:cNvPr>
              <p:cNvGrpSpPr/>
              <p:nvPr/>
            </p:nvGrpSpPr>
            <p:grpSpPr>
              <a:xfrm>
                <a:off x="3081113" y="3935198"/>
                <a:ext cx="1695948" cy="1162398"/>
                <a:chOff x="3081113" y="3935198"/>
                <a:chExt cx="1695948" cy="1162398"/>
              </a:xfrm>
            </p:grpSpPr>
            <p:grpSp>
              <p:nvGrpSpPr>
                <p:cNvPr id="15" name="Group 1051">
                  <a:extLst>
                    <a:ext uri="{FF2B5EF4-FFF2-40B4-BE49-F238E27FC236}">
                      <a16:creationId xmlns:a16="http://schemas.microsoft.com/office/drawing/2014/main" id="{93A0E78F-D0BD-0B6F-1BEC-C21006F965A1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096850" y="3935198"/>
                  <a:ext cx="947456" cy="851698"/>
                  <a:chOff x="6978651" y="4723607"/>
                  <a:chExt cx="1931987" cy="1736725"/>
                </a:xfrm>
              </p:grpSpPr>
              <p:sp>
                <p:nvSpPr>
                  <p:cNvPr id="41" name="Freeform 280">
                    <a:extLst>
                      <a:ext uri="{FF2B5EF4-FFF2-40B4-BE49-F238E27FC236}">
                        <a16:creationId xmlns:a16="http://schemas.microsoft.com/office/drawing/2014/main" id="{B05E2C1F-E0EA-BBB0-F873-E2998CD00CF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075488" y="5322095"/>
                    <a:ext cx="139700" cy="82550"/>
                  </a:xfrm>
                  <a:custGeom>
                    <a:avLst/>
                    <a:gdLst>
                      <a:gd name="T0" fmla="*/ 71 w 71"/>
                      <a:gd name="T1" fmla="*/ 40 h 42"/>
                      <a:gd name="T2" fmla="*/ 60 w 71"/>
                      <a:gd name="T3" fmla="*/ 42 h 42"/>
                      <a:gd name="T4" fmla="*/ 47 w 71"/>
                      <a:gd name="T5" fmla="*/ 39 h 42"/>
                      <a:gd name="T6" fmla="*/ 42 w 71"/>
                      <a:gd name="T7" fmla="*/ 33 h 42"/>
                      <a:gd name="T8" fmla="*/ 45 w 71"/>
                      <a:gd name="T9" fmla="*/ 31 h 42"/>
                      <a:gd name="T10" fmla="*/ 19 w 71"/>
                      <a:gd name="T11" fmla="*/ 13 h 42"/>
                      <a:gd name="T12" fmla="*/ 4 w 71"/>
                      <a:gd name="T13" fmla="*/ 14 h 42"/>
                      <a:gd name="T14" fmla="*/ 1 w 71"/>
                      <a:gd name="T15" fmla="*/ 11 h 42"/>
                      <a:gd name="T16" fmla="*/ 21 w 71"/>
                      <a:gd name="T17" fmla="*/ 5 h 42"/>
                      <a:gd name="T18" fmla="*/ 35 w 71"/>
                      <a:gd name="T19" fmla="*/ 2 h 42"/>
                      <a:gd name="T20" fmla="*/ 40 w 71"/>
                      <a:gd name="T21" fmla="*/ 6 h 42"/>
                      <a:gd name="T22" fmla="*/ 68 w 71"/>
                      <a:gd name="T23" fmla="*/ 21 h 42"/>
                      <a:gd name="T24" fmla="*/ 71 w 71"/>
                      <a:gd name="T25" fmla="*/ 40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71" h="42">
                        <a:moveTo>
                          <a:pt x="71" y="40"/>
                        </a:moveTo>
                        <a:cubicBezTo>
                          <a:pt x="71" y="40"/>
                          <a:pt x="63" y="42"/>
                          <a:pt x="60" y="42"/>
                        </a:cubicBezTo>
                        <a:cubicBezTo>
                          <a:pt x="49" y="42"/>
                          <a:pt x="47" y="39"/>
                          <a:pt x="47" y="39"/>
                        </a:cubicBezTo>
                        <a:cubicBezTo>
                          <a:pt x="42" y="33"/>
                          <a:pt x="42" y="33"/>
                          <a:pt x="42" y="33"/>
                        </a:cubicBezTo>
                        <a:cubicBezTo>
                          <a:pt x="45" y="31"/>
                          <a:pt x="45" y="31"/>
                          <a:pt x="45" y="31"/>
                        </a:cubicBezTo>
                        <a:cubicBezTo>
                          <a:pt x="19" y="13"/>
                          <a:pt x="19" y="13"/>
                          <a:pt x="19" y="13"/>
                        </a:cubicBezTo>
                        <a:cubicBezTo>
                          <a:pt x="19" y="13"/>
                          <a:pt x="6" y="15"/>
                          <a:pt x="4" y="14"/>
                        </a:cubicBezTo>
                        <a:cubicBezTo>
                          <a:pt x="2" y="14"/>
                          <a:pt x="0" y="11"/>
                          <a:pt x="1" y="11"/>
                        </a:cubicBezTo>
                        <a:cubicBezTo>
                          <a:pt x="5" y="9"/>
                          <a:pt x="21" y="5"/>
                          <a:pt x="21" y="5"/>
                        </a:cubicBezTo>
                        <a:cubicBezTo>
                          <a:pt x="21" y="5"/>
                          <a:pt x="32" y="0"/>
                          <a:pt x="35" y="2"/>
                        </a:cubicBezTo>
                        <a:cubicBezTo>
                          <a:pt x="38" y="3"/>
                          <a:pt x="40" y="6"/>
                          <a:pt x="40" y="6"/>
                        </a:cubicBezTo>
                        <a:cubicBezTo>
                          <a:pt x="68" y="21"/>
                          <a:pt x="68" y="21"/>
                          <a:pt x="68" y="21"/>
                        </a:cubicBezTo>
                        <a:lnTo>
                          <a:pt x="71" y="4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2" name="Freeform 281">
                    <a:extLst>
                      <a:ext uri="{FF2B5EF4-FFF2-40B4-BE49-F238E27FC236}">
                        <a16:creationId xmlns:a16="http://schemas.microsoft.com/office/drawing/2014/main" id="{8B11A75A-1867-70F6-2B41-36465883F61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978651" y="4955382"/>
                    <a:ext cx="785813" cy="319088"/>
                  </a:xfrm>
                  <a:custGeom>
                    <a:avLst/>
                    <a:gdLst>
                      <a:gd name="T0" fmla="*/ 400 w 400"/>
                      <a:gd name="T1" fmla="*/ 96 h 163"/>
                      <a:gd name="T2" fmla="*/ 199 w 400"/>
                      <a:gd name="T3" fmla="*/ 146 h 163"/>
                      <a:gd name="T4" fmla="*/ 21 w 400"/>
                      <a:gd name="T5" fmla="*/ 163 h 163"/>
                      <a:gd name="T6" fmla="*/ 0 w 400"/>
                      <a:gd name="T7" fmla="*/ 142 h 163"/>
                      <a:gd name="T8" fmla="*/ 188 w 400"/>
                      <a:gd name="T9" fmla="*/ 100 h 163"/>
                      <a:gd name="T10" fmla="*/ 342 w 400"/>
                      <a:gd name="T11" fmla="*/ 0 h 163"/>
                      <a:gd name="T12" fmla="*/ 400 w 400"/>
                      <a:gd name="T13" fmla="*/ 96 h 1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00" h="163">
                        <a:moveTo>
                          <a:pt x="400" y="96"/>
                        </a:moveTo>
                        <a:cubicBezTo>
                          <a:pt x="400" y="96"/>
                          <a:pt x="268" y="137"/>
                          <a:pt x="199" y="146"/>
                        </a:cubicBezTo>
                        <a:cubicBezTo>
                          <a:pt x="130" y="154"/>
                          <a:pt x="21" y="163"/>
                          <a:pt x="21" y="163"/>
                        </a:cubicBezTo>
                        <a:cubicBezTo>
                          <a:pt x="21" y="163"/>
                          <a:pt x="0" y="151"/>
                          <a:pt x="0" y="142"/>
                        </a:cubicBezTo>
                        <a:cubicBezTo>
                          <a:pt x="59" y="127"/>
                          <a:pt x="141" y="104"/>
                          <a:pt x="188" y="100"/>
                        </a:cubicBezTo>
                        <a:cubicBezTo>
                          <a:pt x="246" y="73"/>
                          <a:pt x="342" y="0"/>
                          <a:pt x="342" y="0"/>
                        </a:cubicBezTo>
                        <a:lnTo>
                          <a:pt x="400" y="96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3" name="Freeform 282">
                    <a:extLst>
                      <a:ext uri="{FF2B5EF4-FFF2-40B4-BE49-F238E27FC236}">
                        <a16:creationId xmlns:a16="http://schemas.microsoft.com/office/drawing/2014/main" id="{CC1A49D9-621A-9F6E-CB36-705B452A5E1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135938" y="5620545"/>
                    <a:ext cx="774700" cy="719138"/>
                  </a:xfrm>
                  <a:custGeom>
                    <a:avLst/>
                    <a:gdLst>
                      <a:gd name="T0" fmla="*/ 17 w 394"/>
                      <a:gd name="T1" fmla="*/ 40 h 367"/>
                      <a:gd name="T2" fmla="*/ 146 w 394"/>
                      <a:gd name="T3" fmla="*/ 44 h 367"/>
                      <a:gd name="T4" fmla="*/ 173 w 394"/>
                      <a:gd name="T5" fmla="*/ 241 h 367"/>
                      <a:gd name="T6" fmla="*/ 349 w 394"/>
                      <a:gd name="T7" fmla="*/ 73 h 367"/>
                      <a:gd name="T8" fmla="*/ 391 w 394"/>
                      <a:gd name="T9" fmla="*/ 85 h 367"/>
                      <a:gd name="T10" fmla="*/ 206 w 394"/>
                      <a:gd name="T11" fmla="*/ 317 h 367"/>
                      <a:gd name="T12" fmla="*/ 106 w 394"/>
                      <a:gd name="T13" fmla="*/ 306 h 367"/>
                      <a:gd name="T14" fmla="*/ 0 w 394"/>
                      <a:gd name="T15" fmla="*/ 104 h 367"/>
                      <a:gd name="T16" fmla="*/ 17 w 394"/>
                      <a:gd name="T17" fmla="*/ 40 h 3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394" h="367">
                        <a:moveTo>
                          <a:pt x="17" y="40"/>
                        </a:moveTo>
                        <a:cubicBezTo>
                          <a:pt x="17" y="40"/>
                          <a:pt x="130" y="0"/>
                          <a:pt x="146" y="44"/>
                        </a:cubicBezTo>
                        <a:cubicBezTo>
                          <a:pt x="163" y="91"/>
                          <a:pt x="172" y="182"/>
                          <a:pt x="173" y="241"/>
                        </a:cubicBezTo>
                        <a:cubicBezTo>
                          <a:pt x="349" y="73"/>
                          <a:pt x="349" y="73"/>
                          <a:pt x="349" y="73"/>
                        </a:cubicBezTo>
                        <a:cubicBezTo>
                          <a:pt x="349" y="73"/>
                          <a:pt x="394" y="80"/>
                          <a:pt x="391" y="85"/>
                        </a:cubicBezTo>
                        <a:cubicBezTo>
                          <a:pt x="342" y="150"/>
                          <a:pt x="218" y="300"/>
                          <a:pt x="206" y="317"/>
                        </a:cubicBezTo>
                        <a:cubicBezTo>
                          <a:pt x="191" y="337"/>
                          <a:pt x="140" y="367"/>
                          <a:pt x="106" y="306"/>
                        </a:cubicBezTo>
                        <a:cubicBezTo>
                          <a:pt x="72" y="246"/>
                          <a:pt x="20" y="143"/>
                          <a:pt x="0" y="104"/>
                        </a:cubicBezTo>
                        <a:cubicBezTo>
                          <a:pt x="151" y="97"/>
                          <a:pt x="17" y="40"/>
                          <a:pt x="17" y="4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4" name="Freeform 283">
                    <a:extLst>
                      <a:ext uri="{FF2B5EF4-FFF2-40B4-BE49-F238E27FC236}">
                        <a16:creationId xmlns:a16="http://schemas.microsoft.com/office/drawing/2014/main" id="{0327B172-E06D-5821-8F9B-512FF2B52BC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6813" y="4979195"/>
                    <a:ext cx="476250" cy="577850"/>
                  </a:xfrm>
                  <a:custGeom>
                    <a:avLst/>
                    <a:gdLst>
                      <a:gd name="T0" fmla="*/ 242 w 242"/>
                      <a:gd name="T1" fmla="*/ 295 h 295"/>
                      <a:gd name="T2" fmla="*/ 171 w 242"/>
                      <a:gd name="T3" fmla="*/ 242 h 295"/>
                      <a:gd name="T4" fmla="*/ 64 w 242"/>
                      <a:gd name="T5" fmla="*/ 159 h 295"/>
                      <a:gd name="T6" fmla="*/ 35 w 242"/>
                      <a:gd name="T7" fmla="*/ 0 h 295"/>
                      <a:gd name="T8" fmla="*/ 242 w 242"/>
                      <a:gd name="T9" fmla="*/ 295 h 2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2" h="295">
                        <a:moveTo>
                          <a:pt x="242" y="295"/>
                        </a:moveTo>
                        <a:cubicBezTo>
                          <a:pt x="242" y="295"/>
                          <a:pt x="196" y="254"/>
                          <a:pt x="171" y="242"/>
                        </a:cubicBezTo>
                        <a:cubicBezTo>
                          <a:pt x="130" y="221"/>
                          <a:pt x="93" y="197"/>
                          <a:pt x="64" y="159"/>
                        </a:cubicBezTo>
                        <a:cubicBezTo>
                          <a:pt x="0" y="74"/>
                          <a:pt x="35" y="0"/>
                          <a:pt x="35" y="0"/>
                        </a:cubicBezTo>
                        <a:cubicBezTo>
                          <a:pt x="242" y="295"/>
                          <a:pt x="242" y="295"/>
                          <a:pt x="242" y="295"/>
                        </a:cubicBezTo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5" name="Freeform 284">
                    <a:extLst>
                      <a:ext uri="{FF2B5EF4-FFF2-40B4-BE49-F238E27FC236}">
                        <a16:creationId xmlns:a16="http://schemas.microsoft.com/office/drawing/2014/main" id="{28AB051D-125A-0B6D-CB32-D549242B6C0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66026" y="4920457"/>
                    <a:ext cx="841375" cy="669925"/>
                  </a:xfrm>
                  <a:custGeom>
                    <a:avLst/>
                    <a:gdLst>
                      <a:gd name="T0" fmla="*/ 231 w 428"/>
                      <a:gd name="T1" fmla="*/ 342 h 342"/>
                      <a:gd name="T2" fmla="*/ 52 w 428"/>
                      <a:gd name="T3" fmla="*/ 161 h 342"/>
                      <a:gd name="T4" fmla="*/ 7 w 428"/>
                      <a:gd name="T5" fmla="*/ 36 h 342"/>
                      <a:gd name="T6" fmla="*/ 46 w 428"/>
                      <a:gd name="T7" fmla="*/ 0 h 342"/>
                      <a:gd name="T8" fmla="*/ 238 w 428"/>
                      <a:gd name="T9" fmla="*/ 76 h 342"/>
                      <a:gd name="T10" fmla="*/ 428 w 428"/>
                      <a:gd name="T11" fmla="*/ 295 h 342"/>
                      <a:gd name="T12" fmla="*/ 231 w 428"/>
                      <a:gd name="T13" fmla="*/ 342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28" h="342">
                        <a:moveTo>
                          <a:pt x="231" y="342"/>
                        </a:moveTo>
                        <a:cubicBezTo>
                          <a:pt x="231" y="342"/>
                          <a:pt x="137" y="240"/>
                          <a:pt x="52" y="161"/>
                        </a:cubicBezTo>
                        <a:cubicBezTo>
                          <a:pt x="0" y="114"/>
                          <a:pt x="7" y="36"/>
                          <a:pt x="7" y="36"/>
                        </a:cubicBezTo>
                        <a:cubicBezTo>
                          <a:pt x="7" y="36"/>
                          <a:pt x="26" y="6"/>
                          <a:pt x="46" y="0"/>
                        </a:cubicBezTo>
                        <a:cubicBezTo>
                          <a:pt x="83" y="5"/>
                          <a:pt x="171" y="13"/>
                          <a:pt x="238" y="76"/>
                        </a:cubicBezTo>
                        <a:cubicBezTo>
                          <a:pt x="333" y="166"/>
                          <a:pt x="428" y="295"/>
                          <a:pt x="428" y="295"/>
                        </a:cubicBezTo>
                        <a:cubicBezTo>
                          <a:pt x="231" y="342"/>
                          <a:pt x="231" y="342"/>
                          <a:pt x="231" y="342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6" name="Freeform 285">
                    <a:extLst>
                      <a:ext uri="{FF2B5EF4-FFF2-40B4-BE49-F238E27FC236}">
                        <a16:creationId xmlns:a16="http://schemas.microsoft.com/office/drawing/2014/main" id="{72DE7E17-64EB-B7C4-7031-AAA58818654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704138" y="5168107"/>
                    <a:ext cx="355600" cy="409575"/>
                  </a:xfrm>
                  <a:custGeom>
                    <a:avLst/>
                    <a:gdLst>
                      <a:gd name="T0" fmla="*/ 0 w 181"/>
                      <a:gd name="T1" fmla="*/ 0 h 208"/>
                      <a:gd name="T2" fmla="*/ 88 w 181"/>
                      <a:gd name="T3" fmla="*/ 99 h 208"/>
                      <a:gd name="T4" fmla="*/ 164 w 181"/>
                      <a:gd name="T5" fmla="*/ 205 h 208"/>
                      <a:gd name="T6" fmla="*/ 181 w 181"/>
                      <a:gd name="T7" fmla="*/ 208 h 208"/>
                      <a:gd name="T8" fmla="*/ 88 w 181"/>
                      <a:gd name="T9" fmla="*/ 91 h 208"/>
                      <a:gd name="T10" fmla="*/ 0 w 181"/>
                      <a:gd name="T11" fmla="*/ 0 h 2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81" h="208">
                        <a:moveTo>
                          <a:pt x="0" y="0"/>
                        </a:moveTo>
                        <a:cubicBezTo>
                          <a:pt x="0" y="0"/>
                          <a:pt x="35" y="72"/>
                          <a:pt x="88" y="99"/>
                        </a:cubicBezTo>
                        <a:cubicBezTo>
                          <a:pt x="137" y="123"/>
                          <a:pt x="164" y="205"/>
                          <a:pt x="164" y="205"/>
                        </a:cubicBezTo>
                        <a:cubicBezTo>
                          <a:pt x="181" y="208"/>
                          <a:pt x="181" y="208"/>
                          <a:pt x="181" y="208"/>
                        </a:cubicBezTo>
                        <a:cubicBezTo>
                          <a:pt x="181" y="208"/>
                          <a:pt x="140" y="131"/>
                          <a:pt x="88" y="91"/>
                        </a:cubicBezTo>
                        <a:cubicBezTo>
                          <a:pt x="36" y="5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A0C9DC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7" name="Freeform 286">
                    <a:extLst>
                      <a:ext uri="{FF2B5EF4-FFF2-40B4-BE49-F238E27FC236}">
                        <a16:creationId xmlns:a16="http://schemas.microsoft.com/office/drawing/2014/main" id="{243B9D30-A07E-DD9C-7800-E4EC2806FF6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602538" y="4922045"/>
                    <a:ext cx="82550" cy="117475"/>
                  </a:xfrm>
                  <a:custGeom>
                    <a:avLst/>
                    <a:gdLst>
                      <a:gd name="T0" fmla="*/ 36 w 42"/>
                      <a:gd name="T1" fmla="*/ 0 h 60"/>
                      <a:gd name="T2" fmla="*/ 42 w 42"/>
                      <a:gd name="T3" fmla="*/ 4 h 60"/>
                      <a:gd name="T4" fmla="*/ 36 w 42"/>
                      <a:gd name="T5" fmla="*/ 52 h 60"/>
                      <a:gd name="T6" fmla="*/ 0 w 42"/>
                      <a:gd name="T7" fmla="*/ 47 h 60"/>
                      <a:gd name="T8" fmla="*/ 36 w 42"/>
                      <a:gd name="T9" fmla="*/ 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2" h="60">
                        <a:moveTo>
                          <a:pt x="36" y="0"/>
                        </a:moveTo>
                        <a:cubicBezTo>
                          <a:pt x="42" y="4"/>
                          <a:pt x="42" y="4"/>
                          <a:pt x="42" y="4"/>
                        </a:cubicBezTo>
                        <a:cubicBezTo>
                          <a:pt x="36" y="52"/>
                          <a:pt x="36" y="52"/>
                          <a:pt x="36" y="52"/>
                        </a:cubicBezTo>
                        <a:cubicBezTo>
                          <a:pt x="36" y="52"/>
                          <a:pt x="23" y="60"/>
                          <a:pt x="0" y="47"/>
                        </a:cubicBezTo>
                        <a:cubicBezTo>
                          <a:pt x="21" y="35"/>
                          <a:pt x="36" y="0"/>
                          <a:pt x="36" y="0"/>
                        </a:cubicBezTo>
                        <a:close/>
                      </a:path>
                    </a:pathLst>
                  </a:custGeom>
                  <a:solidFill>
                    <a:srgbClr val="1D99B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8" name="Freeform 287">
                    <a:extLst>
                      <a:ext uri="{FF2B5EF4-FFF2-40B4-BE49-F238E27FC236}">
                        <a16:creationId xmlns:a16="http://schemas.microsoft.com/office/drawing/2014/main" id="{6B5D8306-2496-5073-42CD-9A05388FB0C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89838" y="5015707"/>
                    <a:ext cx="503238" cy="488950"/>
                  </a:xfrm>
                  <a:custGeom>
                    <a:avLst/>
                    <a:gdLst>
                      <a:gd name="T0" fmla="*/ 6 w 256"/>
                      <a:gd name="T1" fmla="*/ 0 h 249"/>
                      <a:gd name="T2" fmla="*/ 0 w 256"/>
                      <a:gd name="T3" fmla="*/ 10 h 249"/>
                      <a:gd name="T4" fmla="*/ 10 w 256"/>
                      <a:gd name="T5" fmla="*/ 24 h 249"/>
                      <a:gd name="T6" fmla="*/ 37 w 256"/>
                      <a:gd name="T7" fmla="*/ 123 h 249"/>
                      <a:gd name="T8" fmla="*/ 222 w 256"/>
                      <a:gd name="T9" fmla="*/ 249 h 249"/>
                      <a:gd name="T10" fmla="*/ 256 w 256"/>
                      <a:gd name="T11" fmla="*/ 231 h 249"/>
                      <a:gd name="T12" fmla="*/ 235 w 256"/>
                      <a:gd name="T13" fmla="*/ 193 h 249"/>
                      <a:gd name="T14" fmla="*/ 56 w 256"/>
                      <a:gd name="T15" fmla="*/ 106 h 249"/>
                      <a:gd name="T16" fmla="*/ 18 w 256"/>
                      <a:gd name="T17" fmla="*/ 21 h 249"/>
                      <a:gd name="T18" fmla="*/ 27 w 256"/>
                      <a:gd name="T19" fmla="*/ 6 h 249"/>
                      <a:gd name="T20" fmla="*/ 6 w 256"/>
                      <a:gd name="T21" fmla="*/ 0 h 2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56" h="249">
                        <a:moveTo>
                          <a:pt x="6" y="0"/>
                        </a:moveTo>
                        <a:cubicBezTo>
                          <a:pt x="6" y="0"/>
                          <a:pt x="2" y="4"/>
                          <a:pt x="0" y="10"/>
                        </a:cubicBezTo>
                        <a:cubicBezTo>
                          <a:pt x="3" y="16"/>
                          <a:pt x="10" y="24"/>
                          <a:pt x="10" y="24"/>
                        </a:cubicBezTo>
                        <a:cubicBezTo>
                          <a:pt x="10" y="24"/>
                          <a:pt x="6" y="73"/>
                          <a:pt x="37" y="123"/>
                        </a:cubicBezTo>
                        <a:cubicBezTo>
                          <a:pt x="84" y="200"/>
                          <a:pt x="222" y="249"/>
                          <a:pt x="222" y="249"/>
                        </a:cubicBezTo>
                        <a:cubicBezTo>
                          <a:pt x="256" y="231"/>
                          <a:pt x="256" y="231"/>
                          <a:pt x="256" y="231"/>
                        </a:cubicBezTo>
                        <a:cubicBezTo>
                          <a:pt x="235" y="193"/>
                          <a:pt x="235" y="193"/>
                          <a:pt x="235" y="193"/>
                        </a:cubicBezTo>
                        <a:cubicBezTo>
                          <a:pt x="235" y="193"/>
                          <a:pt x="111" y="175"/>
                          <a:pt x="56" y="106"/>
                        </a:cubicBezTo>
                        <a:cubicBezTo>
                          <a:pt x="18" y="58"/>
                          <a:pt x="18" y="21"/>
                          <a:pt x="18" y="21"/>
                        </a:cubicBezTo>
                        <a:cubicBezTo>
                          <a:pt x="18" y="21"/>
                          <a:pt x="24" y="13"/>
                          <a:pt x="27" y="6"/>
                        </a:cubicBezTo>
                        <a:cubicBezTo>
                          <a:pt x="15" y="5"/>
                          <a:pt x="6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" name="Freeform 288">
                    <a:extLst>
                      <a:ext uri="{FF2B5EF4-FFF2-40B4-BE49-F238E27FC236}">
                        <a16:creationId xmlns:a16="http://schemas.microsoft.com/office/drawing/2014/main" id="{6249064A-9162-B725-05FE-07615447287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67601" y="4853782"/>
                    <a:ext cx="206375" cy="160338"/>
                  </a:xfrm>
                  <a:custGeom>
                    <a:avLst/>
                    <a:gdLst>
                      <a:gd name="T0" fmla="*/ 105 w 105"/>
                      <a:gd name="T1" fmla="*/ 35 h 82"/>
                      <a:gd name="T2" fmla="*/ 93 w 105"/>
                      <a:gd name="T3" fmla="*/ 22 h 82"/>
                      <a:gd name="T4" fmla="*/ 67 w 105"/>
                      <a:gd name="T5" fmla="*/ 0 h 82"/>
                      <a:gd name="T6" fmla="*/ 54 w 105"/>
                      <a:gd name="T7" fmla="*/ 34 h 82"/>
                      <a:gd name="T8" fmla="*/ 34 w 105"/>
                      <a:gd name="T9" fmla="*/ 55 h 82"/>
                      <a:gd name="T10" fmla="*/ 0 w 105"/>
                      <a:gd name="T11" fmla="*/ 56 h 82"/>
                      <a:gd name="T12" fmla="*/ 69 w 105"/>
                      <a:gd name="T13" fmla="*/ 82 h 82"/>
                      <a:gd name="T14" fmla="*/ 105 w 105"/>
                      <a:gd name="T15" fmla="*/ 35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5" h="82">
                        <a:moveTo>
                          <a:pt x="105" y="35"/>
                        </a:moveTo>
                        <a:cubicBezTo>
                          <a:pt x="99" y="32"/>
                          <a:pt x="93" y="22"/>
                          <a:pt x="93" y="22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67" y="0"/>
                          <a:pt x="57" y="21"/>
                          <a:pt x="54" y="34"/>
                        </a:cubicBezTo>
                        <a:cubicBezTo>
                          <a:pt x="52" y="46"/>
                          <a:pt x="39" y="54"/>
                          <a:pt x="34" y="55"/>
                        </a:cubicBezTo>
                        <a:cubicBezTo>
                          <a:pt x="22" y="56"/>
                          <a:pt x="0" y="56"/>
                          <a:pt x="0" y="56"/>
                        </a:cubicBezTo>
                        <a:cubicBezTo>
                          <a:pt x="0" y="56"/>
                          <a:pt x="50" y="69"/>
                          <a:pt x="69" y="82"/>
                        </a:cubicBezTo>
                        <a:cubicBezTo>
                          <a:pt x="91" y="67"/>
                          <a:pt x="101" y="42"/>
                          <a:pt x="105" y="35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" name="Freeform 289">
                    <a:extLst>
                      <a:ext uri="{FF2B5EF4-FFF2-40B4-BE49-F238E27FC236}">
                        <a16:creationId xmlns:a16="http://schemas.microsoft.com/office/drawing/2014/main" id="{0042E8AE-8B28-F592-1560-5CBF413F48B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50138" y="4755357"/>
                    <a:ext cx="163513" cy="207963"/>
                  </a:xfrm>
                  <a:custGeom>
                    <a:avLst/>
                    <a:gdLst>
                      <a:gd name="T0" fmla="*/ 9 w 83"/>
                      <a:gd name="T1" fmla="*/ 106 h 106"/>
                      <a:gd name="T2" fmla="*/ 47 w 83"/>
                      <a:gd name="T3" fmla="*/ 105 h 106"/>
                      <a:gd name="T4" fmla="*/ 62 w 83"/>
                      <a:gd name="T5" fmla="*/ 91 h 106"/>
                      <a:gd name="T6" fmla="*/ 69 w 83"/>
                      <a:gd name="T7" fmla="*/ 69 h 106"/>
                      <a:gd name="T8" fmla="*/ 78 w 83"/>
                      <a:gd name="T9" fmla="*/ 62 h 106"/>
                      <a:gd name="T10" fmla="*/ 73 w 83"/>
                      <a:gd name="T11" fmla="*/ 48 h 106"/>
                      <a:gd name="T12" fmla="*/ 70 w 83"/>
                      <a:gd name="T13" fmla="*/ 6 h 106"/>
                      <a:gd name="T14" fmla="*/ 50 w 83"/>
                      <a:gd name="T15" fmla="*/ 0 h 106"/>
                      <a:gd name="T16" fmla="*/ 32 w 83"/>
                      <a:gd name="T17" fmla="*/ 10 h 106"/>
                      <a:gd name="T18" fmla="*/ 0 w 83"/>
                      <a:gd name="T19" fmla="*/ 60 h 106"/>
                      <a:gd name="T20" fmla="*/ 4 w 83"/>
                      <a:gd name="T21" fmla="*/ 63 h 106"/>
                      <a:gd name="T22" fmla="*/ 12 w 83"/>
                      <a:gd name="T23" fmla="*/ 65 h 106"/>
                      <a:gd name="T24" fmla="*/ 8 w 83"/>
                      <a:gd name="T25" fmla="*/ 105 h 106"/>
                      <a:gd name="T26" fmla="*/ 9 w 83"/>
                      <a:gd name="T27" fmla="*/ 106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83" h="106">
                        <a:moveTo>
                          <a:pt x="9" y="106"/>
                        </a:moveTo>
                        <a:cubicBezTo>
                          <a:pt x="19" y="106"/>
                          <a:pt x="38" y="106"/>
                          <a:pt x="47" y="105"/>
                        </a:cubicBezTo>
                        <a:cubicBezTo>
                          <a:pt x="60" y="104"/>
                          <a:pt x="62" y="91"/>
                          <a:pt x="62" y="91"/>
                        </a:cubicBezTo>
                        <a:cubicBezTo>
                          <a:pt x="69" y="69"/>
                          <a:pt x="69" y="69"/>
                          <a:pt x="69" y="69"/>
                        </a:cubicBezTo>
                        <a:cubicBezTo>
                          <a:pt x="69" y="69"/>
                          <a:pt x="74" y="67"/>
                          <a:pt x="78" y="62"/>
                        </a:cubicBezTo>
                        <a:cubicBezTo>
                          <a:pt x="80" y="60"/>
                          <a:pt x="83" y="52"/>
                          <a:pt x="73" y="48"/>
                        </a:cubicBezTo>
                        <a:cubicBezTo>
                          <a:pt x="58" y="42"/>
                          <a:pt x="70" y="6"/>
                          <a:pt x="70" y="6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0" y="60"/>
                          <a:pt x="0" y="63"/>
                          <a:pt x="4" y="63"/>
                        </a:cubicBezTo>
                        <a:cubicBezTo>
                          <a:pt x="7" y="63"/>
                          <a:pt x="12" y="65"/>
                          <a:pt x="12" y="65"/>
                        </a:cubicBezTo>
                        <a:cubicBezTo>
                          <a:pt x="12" y="65"/>
                          <a:pt x="8" y="102"/>
                          <a:pt x="8" y="105"/>
                        </a:cubicBezTo>
                        <a:cubicBezTo>
                          <a:pt x="8" y="106"/>
                          <a:pt x="9" y="106"/>
                          <a:pt x="9" y="106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" name="Freeform 290">
                    <a:extLst>
                      <a:ext uri="{FF2B5EF4-FFF2-40B4-BE49-F238E27FC236}">
                        <a16:creationId xmlns:a16="http://schemas.microsoft.com/office/drawing/2014/main" id="{2F0C19AC-8FB5-702C-159F-82DC465D2D1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91413" y="4823620"/>
                    <a:ext cx="33338" cy="17463"/>
                  </a:xfrm>
                  <a:custGeom>
                    <a:avLst/>
                    <a:gdLst>
                      <a:gd name="T0" fmla="*/ 1 w 17"/>
                      <a:gd name="T1" fmla="*/ 6 h 9"/>
                      <a:gd name="T2" fmla="*/ 4 w 17"/>
                      <a:gd name="T3" fmla="*/ 9 h 9"/>
                      <a:gd name="T4" fmla="*/ 15 w 17"/>
                      <a:gd name="T5" fmla="*/ 8 h 9"/>
                      <a:gd name="T6" fmla="*/ 2 w 17"/>
                      <a:gd name="T7" fmla="*/ 2 h 9"/>
                      <a:gd name="T8" fmla="*/ 1 w 17"/>
                      <a:gd name="T9" fmla="*/ 6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7" h="9">
                        <a:moveTo>
                          <a:pt x="1" y="6"/>
                        </a:moveTo>
                        <a:cubicBezTo>
                          <a:pt x="1" y="9"/>
                          <a:pt x="1" y="9"/>
                          <a:pt x="4" y="9"/>
                        </a:cubicBezTo>
                        <a:cubicBezTo>
                          <a:pt x="7" y="9"/>
                          <a:pt x="17" y="9"/>
                          <a:pt x="15" y="8"/>
                        </a:cubicBezTo>
                        <a:cubicBezTo>
                          <a:pt x="14" y="8"/>
                          <a:pt x="10" y="6"/>
                          <a:pt x="2" y="2"/>
                        </a:cubicBezTo>
                        <a:cubicBezTo>
                          <a:pt x="0" y="0"/>
                          <a:pt x="1" y="3"/>
                          <a:pt x="1" y="6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Freeform 291">
                    <a:extLst>
                      <a:ext uri="{FF2B5EF4-FFF2-40B4-BE49-F238E27FC236}">
                        <a16:creationId xmlns:a16="http://schemas.microsoft.com/office/drawing/2014/main" id="{FA4519F3-29A5-5CB8-6F31-ED2F4A32A59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07288" y="4723607"/>
                    <a:ext cx="157163" cy="173038"/>
                  </a:xfrm>
                  <a:custGeom>
                    <a:avLst/>
                    <a:gdLst>
                      <a:gd name="T0" fmla="*/ 76 w 80"/>
                      <a:gd name="T1" fmla="*/ 31 h 88"/>
                      <a:gd name="T2" fmla="*/ 1 w 80"/>
                      <a:gd name="T3" fmla="*/ 14 h 88"/>
                      <a:gd name="T4" fmla="*/ 3 w 80"/>
                      <a:gd name="T5" fmla="*/ 26 h 88"/>
                      <a:gd name="T6" fmla="*/ 31 w 80"/>
                      <a:gd name="T7" fmla="*/ 35 h 88"/>
                      <a:gd name="T8" fmla="*/ 27 w 80"/>
                      <a:gd name="T9" fmla="*/ 78 h 88"/>
                      <a:gd name="T10" fmla="*/ 47 w 80"/>
                      <a:gd name="T11" fmla="*/ 66 h 88"/>
                      <a:gd name="T12" fmla="*/ 74 w 80"/>
                      <a:gd name="T13" fmla="*/ 88 h 88"/>
                      <a:gd name="T14" fmla="*/ 76 w 80"/>
                      <a:gd name="T15" fmla="*/ 31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0" h="88">
                        <a:moveTo>
                          <a:pt x="76" y="31"/>
                        </a:moveTo>
                        <a:cubicBezTo>
                          <a:pt x="26" y="2"/>
                          <a:pt x="6" y="0"/>
                          <a:pt x="1" y="14"/>
                        </a:cubicBezTo>
                        <a:cubicBezTo>
                          <a:pt x="0" y="17"/>
                          <a:pt x="0" y="22"/>
                          <a:pt x="3" y="26"/>
                        </a:cubicBezTo>
                        <a:cubicBezTo>
                          <a:pt x="19" y="24"/>
                          <a:pt x="35" y="24"/>
                          <a:pt x="31" y="35"/>
                        </a:cubicBezTo>
                        <a:cubicBezTo>
                          <a:pt x="30" y="39"/>
                          <a:pt x="13" y="76"/>
                          <a:pt x="27" y="78"/>
                        </a:cubicBezTo>
                        <a:cubicBezTo>
                          <a:pt x="30" y="73"/>
                          <a:pt x="37" y="60"/>
                          <a:pt x="47" y="66"/>
                        </a:cubicBezTo>
                        <a:cubicBezTo>
                          <a:pt x="53" y="69"/>
                          <a:pt x="47" y="83"/>
                          <a:pt x="74" y="88"/>
                        </a:cubicBezTo>
                        <a:cubicBezTo>
                          <a:pt x="76" y="66"/>
                          <a:pt x="80" y="39"/>
                          <a:pt x="76" y="31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" name="Freeform 292">
                    <a:extLst>
                      <a:ext uri="{FF2B5EF4-FFF2-40B4-BE49-F238E27FC236}">
                        <a16:creationId xmlns:a16="http://schemas.microsoft.com/office/drawing/2014/main" id="{0825FB46-D637-6B9A-95D7-9D9B52B0D69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215188" y="4896645"/>
                    <a:ext cx="711200" cy="517525"/>
                  </a:xfrm>
                  <a:custGeom>
                    <a:avLst/>
                    <a:gdLst>
                      <a:gd name="T0" fmla="*/ 339 w 362"/>
                      <a:gd name="T1" fmla="*/ 123 h 264"/>
                      <a:gd name="T2" fmla="*/ 256 w 362"/>
                      <a:gd name="T3" fmla="*/ 236 h 264"/>
                      <a:gd name="T4" fmla="*/ 191 w 362"/>
                      <a:gd name="T5" fmla="*/ 262 h 264"/>
                      <a:gd name="T6" fmla="*/ 3 w 362"/>
                      <a:gd name="T7" fmla="*/ 259 h 264"/>
                      <a:gd name="T8" fmla="*/ 0 w 362"/>
                      <a:gd name="T9" fmla="*/ 236 h 264"/>
                      <a:gd name="T10" fmla="*/ 200 w 362"/>
                      <a:gd name="T11" fmla="*/ 220 h 264"/>
                      <a:gd name="T12" fmla="*/ 268 w 362"/>
                      <a:gd name="T13" fmla="*/ 58 h 264"/>
                      <a:gd name="T14" fmla="*/ 339 w 362"/>
                      <a:gd name="T15" fmla="*/ 123 h 2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62" h="264">
                        <a:moveTo>
                          <a:pt x="339" y="123"/>
                        </a:moveTo>
                        <a:cubicBezTo>
                          <a:pt x="316" y="156"/>
                          <a:pt x="262" y="228"/>
                          <a:pt x="256" y="236"/>
                        </a:cubicBezTo>
                        <a:cubicBezTo>
                          <a:pt x="249" y="243"/>
                          <a:pt x="241" y="262"/>
                          <a:pt x="191" y="262"/>
                        </a:cubicBezTo>
                        <a:cubicBezTo>
                          <a:pt x="126" y="264"/>
                          <a:pt x="3" y="259"/>
                          <a:pt x="3" y="259"/>
                        </a:cubicBezTo>
                        <a:cubicBezTo>
                          <a:pt x="3" y="259"/>
                          <a:pt x="1" y="247"/>
                          <a:pt x="0" y="236"/>
                        </a:cubicBezTo>
                        <a:cubicBezTo>
                          <a:pt x="71" y="229"/>
                          <a:pt x="200" y="220"/>
                          <a:pt x="200" y="220"/>
                        </a:cubicBezTo>
                        <a:cubicBezTo>
                          <a:pt x="200" y="220"/>
                          <a:pt x="250" y="92"/>
                          <a:pt x="268" y="58"/>
                        </a:cubicBezTo>
                        <a:cubicBezTo>
                          <a:pt x="315" y="0"/>
                          <a:pt x="362" y="89"/>
                          <a:pt x="339" y="123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" name="Freeform 293">
                    <a:extLst>
                      <a:ext uri="{FF2B5EF4-FFF2-40B4-BE49-F238E27FC236}">
                        <a16:creationId xmlns:a16="http://schemas.microsoft.com/office/drawing/2014/main" id="{136317D7-C3B6-D3D7-1055-123D7B28480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26326" y="6409532"/>
                    <a:ext cx="142875" cy="50800"/>
                  </a:xfrm>
                  <a:custGeom>
                    <a:avLst/>
                    <a:gdLst>
                      <a:gd name="T0" fmla="*/ 72 w 72"/>
                      <a:gd name="T1" fmla="*/ 4 h 26"/>
                      <a:gd name="T2" fmla="*/ 72 w 72"/>
                      <a:gd name="T3" fmla="*/ 26 h 26"/>
                      <a:gd name="T4" fmla="*/ 53 w 72"/>
                      <a:gd name="T5" fmla="*/ 26 h 26"/>
                      <a:gd name="T6" fmla="*/ 53 w 72"/>
                      <a:gd name="T7" fmla="*/ 18 h 26"/>
                      <a:gd name="T8" fmla="*/ 27 w 72"/>
                      <a:gd name="T9" fmla="*/ 26 h 26"/>
                      <a:gd name="T10" fmla="*/ 3 w 72"/>
                      <a:gd name="T11" fmla="*/ 25 h 26"/>
                      <a:gd name="T12" fmla="*/ 4 w 72"/>
                      <a:gd name="T13" fmla="*/ 20 h 26"/>
                      <a:gd name="T14" fmla="*/ 29 w 72"/>
                      <a:gd name="T15" fmla="*/ 13 h 26"/>
                      <a:gd name="T16" fmla="*/ 48 w 72"/>
                      <a:gd name="T17" fmla="*/ 0 h 26"/>
                      <a:gd name="T18" fmla="*/ 72 w 72"/>
                      <a:gd name="T19" fmla="*/ 4 h 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2" h="26">
                        <a:moveTo>
                          <a:pt x="72" y="4"/>
                        </a:moveTo>
                        <a:cubicBezTo>
                          <a:pt x="72" y="26"/>
                          <a:pt x="72" y="26"/>
                          <a:pt x="72" y="26"/>
                        </a:cubicBez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18"/>
                          <a:pt x="53" y="18"/>
                          <a:pt x="53" y="18"/>
                        </a:cubicBezTo>
                        <a:cubicBezTo>
                          <a:pt x="27" y="26"/>
                          <a:pt x="27" y="26"/>
                          <a:pt x="27" y="26"/>
                        </a:cubicBezTo>
                        <a:cubicBezTo>
                          <a:pt x="3" y="25"/>
                          <a:pt x="3" y="25"/>
                          <a:pt x="3" y="25"/>
                        </a:cubicBezTo>
                        <a:cubicBezTo>
                          <a:pt x="3" y="25"/>
                          <a:pt x="0" y="21"/>
                          <a:pt x="4" y="20"/>
                        </a:cubicBezTo>
                        <a:cubicBezTo>
                          <a:pt x="5" y="20"/>
                          <a:pt x="29" y="13"/>
                          <a:pt x="29" y="13"/>
                        </a:cubicBezTo>
                        <a:cubicBezTo>
                          <a:pt x="48" y="0"/>
                          <a:pt x="48" y="0"/>
                          <a:pt x="48" y="0"/>
                        </a:cubicBezTo>
                        <a:lnTo>
                          <a:pt x="72" y="4"/>
                        </a:lnTo>
                        <a:close/>
                      </a:path>
                    </a:pathLst>
                  </a:custGeom>
                  <a:solidFill>
                    <a:srgbClr val="17235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" name="Freeform 294">
                    <a:extLst>
                      <a:ext uri="{FF2B5EF4-FFF2-40B4-BE49-F238E27FC236}">
                        <a16:creationId xmlns:a16="http://schemas.microsoft.com/office/drawing/2014/main" id="{8BE78A89-2DDE-5C07-A829-5B5341A40AB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2051" y="5498307"/>
                    <a:ext cx="1069975" cy="912813"/>
                  </a:xfrm>
                  <a:custGeom>
                    <a:avLst/>
                    <a:gdLst>
                      <a:gd name="T0" fmla="*/ 4 w 545"/>
                      <a:gd name="T1" fmla="*/ 465 h 465"/>
                      <a:gd name="T2" fmla="*/ 0 w 545"/>
                      <a:gd name="T3" fmla="*/ 147 h 465"/>
                      <a:gd name="T4" fmla="*/ 0 w 545"/>
                      <a:gd name="T5" fmla="*/ 147 h 465"/>
                      <a:gd name="T6" fmla="*/ 51 w 545"/>
                      <a:gd name="T7" fmla="*/ 77 h 465"/>
                      <a:gd name="T8" fmla="*/ 456 w 545"/>
                      <a:gd name="T9" fmla="*/ 0 h 465"/>
                      <a:gd name="T10" fmla="*/ 313 w 545"/>
                      <a:gd name="T11" fmla="*/ 160 h 465"/>
                      <a:gd name="T12" fmla="*/ 83 w 545"/>
                      <a:gd name="T13" fmla="*/ 160 h 465"/>
                      <a:gd name="T14" fmla="*/ 38 w 545"/>
                      <a:gd name="T15" fmla="*/ 463 h 465"/>
                      <a:gd name="T16" fmla="*/ 4 w 545"/>
                      <a:gd name="T17" fmla="*/ 465 h 4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545" h="465">
                        <a:moveTo>
                          <a:pt x="4" y="465"/>
                        </a:move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3" y="93"/>
                          <a:pt x="38" y="80"/>
                          <a:pt x="51" y="77"/>
                        </a:cubicBezTo>
                        <a:cubicBezTo>
                          <a:pt x="64" y="74"/>
                          <a:pt x="456" y="0"/>
                          <a:pt x="456" y="0"/>
                        </a:cubicBezTo>
                        <a:cubicBezTo>
                          <a:pt x="456" y="0"/>
                          <a:pt x="545" y="149"/>
                          <a:pt x="313" y="160"/>
                        </a:cubicBezTo>
                        <a:cubicBezTo>
                          <a:pt x="255" y="163"/>
                          <a:pt x="234" y="154"/>
                          <a:pt x="83" y="160"/>
                        </a:cubicBezTo>
                        <a:cubicBezTo>
                          <a:pt x="113" y="217"/>
                          <a:pt x="38" y="463"/>
                          <a:pt x="38" y="463"/>
                        </a:cubicBezTo>
                        <a:lnTo>
                          <a:pt x="4" y="46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6" name="Group 1028">
                  <a:extLst>
                    <a:ext uri="{FF2B5EF4-FFF2-40B4-BE49-F238E27FC236}">
                      <a16:creationId xmlns:a16="http://schemas.microsoft.com/office/drawing/2014/main" id="{ADBFC977-4B7E-A963-79D7-9A870C48B878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683568" y="4089209"/>
                  <a:ext cx="936299" cy="705312"/>
                  <a:chOff x="9990467" y="4838701"/>
                  <a:chExt cx="1203326" cy="906463"/>
                </a:xfrm>
              </p:grpSpPr>
              <p:sp>
                <p:nvSpPr>
                  <p:cNvPr id="20" name="Freeform 277">
                    <a:extLst>
                      <a:ext uri="{FF2B5EF4-FFF2-40B4-BE49-F238E27FC236}">
                        <a16:creationId xmlns:a16="http://schemas.microsoft.com/office/drawing/2014/main" id="{CC1FA734-ED72-D354-DAB3-BE4517E529A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990467" y="4922838"/>
                    <a:ext cx="176213" cy="80963"/>
                  </a:xfrm>
                  <a:custGeom>
                    <a:avLst/>
                    <a:gdLst>
                      <a:gd name="T0" fmla="*/ 37 w 89"/>
                      <a:gd name="T1" fmla="*/ 27 h 42"/>
                      <a:gd name="T2" fmla="*/ 13 w 89"/>
                      <a:gd name="T3" fmla="*/ 29 h 42"/>
                      <a:gd name="T4" fmla="*/ 17 w 89"/>
                      <a:gd name="T5" fmla="*/ 24 h 42"/>
                      <a:gd name="T6" fmla="*/ 24 w 89"/>
                      <a:gd name="T7" fmla="*/ 21 h 42"/>
                      <a:gd name="T8" fmla="*/ 10 w 89"/>
                      <a:gd name="T9" fmla="*/ 8 h 42"/>
                      <a:gd name="T10" fmla="*/ 6 w 89"/>
                      <a:gd name="T11" fmla="*/ 8 h 42"/>
                      <a:gd name="T12" fmla="*/ 3 w 89"/>
                      <a:gd name="T13" fmla="*/ 5 h 42"/>
                      <a:gd name="T14" fmla="*/ 10 w 89"/>
                      <a:gd name="T15" fmla="*/ 4 h 42"/>
                      <a:gd name="T16" fmla="*/ 2 w 89"/>
                      <a:gd name="T17" fmla="*/ 3 h 42"/>
                      <a:gd name="T18" fmla="*/ 1 w 89"/>
                      <a:gd name="T19" fmla="*/ 0 h 42"/>
                      <a:gd name="T20" fmla="*/ 18 w 89"/>
                      <a:gd name="T21" fmla="*/ 1 h 42"/>
                      <a:gd name="T22" fmla="*/ 37 w 89"/>
                      <a:gd name="T23" fmla="*/ 16 h 42"/>
                      <a:gd name="T24" fmla="*/ 88 w 89"/>
                      <a:gd name="T25" fmla="*/ 24 h 42"/>
                      <a:gd name="T26" fmla="*/ 84 w 89"/>
                      <a:gd name="T27" fmla="*/ 42 h 42"/>
                      <a:gd name="T28" fmla="*/ 37 w 89"/>
                      <a:gd name="T29" fmla="*/ 27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89" h="42">
                        <a:moveTo>
                          <a:pt x="37" y="27"/>
                        </a:moveTo>
                        <a:cubicBezTo>
                          <a:pt x="28" y="27"/>
                          <a:pt x="13" y="29"/>
                          <a:pt x="13" y="29"/>
                        </a:cubicBezTo>
                        <a:cubicBezTo>
                          <a:pt x="13" y="29"/>
                          <a:pt x="14" y="24"/>
                          <a:pt x="17" y="24"/>
                        </a:cubicBezTo>
                        <a:cubicBezTo>
                          <a:pt x="23" y="23"/>
                          <a:pt x="24" y="21"/>
                          <a:pt x="24" y="21"/>
                        </a:cubicBezTo>
                        <a:cubicBezTo>
                          <a:pt x="10" y="8"/>
                          <a:pt x="10" y="8"/>
                          <a:pt x="10" y="8"/>
                        </a:cubicBezTo>
                        <a:cubicBezTo>
                          <a:pt x="6" y="8"/>
                          <a:pt x="6" y="8"/>
                          <a:pt x="6" y="8"/>
                        </a:cubicBezTo>
                        <a:cubicBezTo>
                          <a:pt x="3" y="5"/>
                          <a:pt x="3" y="5"/>
                          <a:pt x="3" y="5"/>
                        </a:cubicBezTo>
                        <a:cubicBezTo>
                          <a:pt x="10" y="4"/>
                          <a:pt x="10" y="4"/>
                          <a:pt x="10" y="4"/>
                        </a:cubicBezTo>
                        <a:cubicBezTo>
                          <a:pt x="10" y="4"/>
                          <a:pt x="3" y="4"/>
                          <a:pt x="2" y="3"/>
                        </a:cubicBezTo>
                        <a:cubicBezTo>
                          <a:pt x="1" y="2"/>
                          <a:pt x="0" y="0"/>
                          <a:pt x="1" y="0"/>
                        </a:cubicBezTo>
                        <a:cubicBezTo>
                          <a:pt x="9" y="0"/>
                          <a:pt x="17" y="0"/>
                          <a:pt x="18" y="1"/>
                        </a:cubicBezTo>
                        <a:cubicBezTo>
                          <a:pt x="20" y="2"/>
                          <a:pt x="37" y="16"/>
                          <a:pt x="37" y="16"/>
                        </a:cubicBezTo>
                        <a:cubicBezTo>
                          <a:pt x="88" y="24"/>
                          <a:pt x="88" y="24"/>
                          <a:pt x="88" y="24"/>
                        </a:cubicBezTo>
                        <a:cubicBezTo>
                          <a:pt x="88" y="24"/>
                          <a:pt x="89" y="34"/>
                          <a:pt x="84" y="42"/>
                        </a:cubicBezTo>
                        <a:cubicBezTo>
                          <a:pt x="84" y="42"/>
                          <a:pt x="37" y="27"/>
                          <a:pt x="37" y="27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" name="Freeform 220">
                    <a:extLst>
                      <a:ext uri="{FF2B5EF4-FFF2-40B4-BE49-F238E27FC236}">
                        <a16:creationId xmlns:a16="http://schemas.microsoft.com/office/drawing/2014/main" id="{1FFCF1A5-23A6-BF02-C331-70B47D738E0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00042" y="4918076"/>
                    <a:ext cx="52388" cy="66675"/>
                  </a:xfrm>
                  <a:custGeom>
                    <a:avLst/>
                    <a:gdLst>
                      <a:gd name="T0" fmla="*/ 18 w 28"/>
                      <a:gd name="T1" fmla="*/ 23 h 36"/>
                      <a:gd name="T2" fmla="*/ 24 w 28"/>
                      <a:gd name="T3" fmla="*/ 33 h 36"/>
                      <a:gd name="T4" fmla="*/ 28 w 28"/>
                      <a:gd name="T5" fmla="*/ 33 h 36"/>
                      <a:gd name="T6" fmla="*/ 26 w 28"/>
                      <a:gd name="T7" fmla="*/ 17 h 36"/>
                      <a:gd name="T8" fmla="*/ 15 w 28"/>
                      <a:gd name="T9" fmla="*/ 7 h 36"/>
                      <a:gd name="T10" fmla="*/ 25 w 28"/>
                      <a:gd name="T11" fmla="*/ 6 h 36"/>
                      <a:gd name="T12" fmla="*/ 24 w 28"/>
                      <a:gd name="T13" fmla="*/ 1 h 36"/>
                      <a:gd name="T14" fmla="*/ 7 w 28"/>
                      <a:gd name="T15" fmla="*/ 0 h 36"/>
                      <a:gd name="T16" fmla="*/ 0 w 28"/>
                      <a:gd name="T17" fmla="*/ 1 h 36"/>
                      <a:gd name="T18" fmla="*/ 9 w 28"/>
                      <a:gd name="T19" fmla="*/ 9 h 36"/>
                      <a:gd name="T20" fmla="*/ 18 w 28"/>
                      <a:gd name="T21" fmla="*/ 23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8" h="36">
                        <a:moveTo>
                          <a:pt x="18" y="23"/>
                        </a:moveTo>
                        <a:cubicBezTo>
                          <a:pt x="20" y="26"/>
                          <a:pt x="24" y="32"/>
                          <a:pt x="24" y="33"/>
                        </a:cubicBezTo>
                        <a:cubicBezTo>
                          <a:pt x="25" y="36"/>
                          <a:pt x="28" y="33"/>
                          <a:pt x="28" y="33"/>
                        </a:cubicBezTo>
                        <a:cubicBezTo>
                          <a:pt x="28" y="33"/>
                          <a:pt x="27" y="20"/>
                          <a:pt x="26" y="17"/>
                        </a:cubicBezTo>
                        <a:cubicBezTo>
                          <a:pt x="26" y="15"/>
                          <a:pt x="15" y="7"/>
                          <a:pt x="15" y="7"/>
                        </a:cubicBezTo>
                        <a:cubicBezTo>
                          <a:pt x="25" y="6"/>
                          <a:pt x="25" y="6"/>
                          <a:pt x="25" y="6"/>
                        </a:cubicBezTo>
                        <a:cubicBezTo>
                          <a:pt x="24" y="1"/>
                          <a:pt x="24" y="1"/>
                          <a:pt x="24" y="1"/>
                        </a:cubicBezTo>
                        <a:cubicBezTo>
                          <a:pt x="24" y="1"/>
                          <a:pt x="15" y="1"/>
                          <a:pt x="7" y="0"/>
                        </a:cubicBezTo>
                        <a:cubicBezTo>
                          <a:pt x="3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9" y="9"/>
                        </a:cubicBezTo>
                        <a:cubicBezTo>
                          <a:pt x="18" y="15"/>
                          <a:pt x="18" y="21"/>
                          <a:pt x="18" y="2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" name="Freeform 260">
                    <a:extLst>
                      <a:ext uri="{FF2B5EF4-FFF2-40B4-BE49-F238E27FC236}">
                        <a16:creationId xmlns:a16="http://schemas.microsoft.com/office/drawing/2014/main" id="{F7F673B0-1B8A-971C-6CC3-F489AB8EA8F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58805" y="5259389"/>
                    <a:ext cx="534988" cy="322263"/>
                  </a:xfrm>
                  <a:custGeom>
                    <a:avLst/>
                    <a:gdLst>
                      <a:gd name="T0" fmla="*/ 270 w 272"/>
                      <a:gd name="T1" fmla="*/ 136 h 164"/>
                      <a:gd name="T2" fmla="*/ 262 w 272"/>
                      <a:gd name="T3" fmla="*/ 138 h 164"/>
                      <a:gd name="T4" fmla="*/ 271 w 272"/>
                      <a:gd name="T5" fmla="*/ 147 h 164"/>
                      <a:gd name="T6" fmla="*/ 272 w 272"/>
                      <a:gd name="T7" fmla="*/ 157 h 164"/>
                      <a:gd name="T8" fmla="*/ 269 w 272"/>
                      <a:gd name="T9" fmla="*/ 157 h 164"/>
                      <a:gd name="T10" fmla="*/ 265 w 272"/>
                      <a:gd name="T11" fmla="*/ 150 h 164"/>
                      <a:gd name="T12" fmla="*/ 251 w 272"/>
                      <a:gd name="T13" fmla="*/ 141 h 164"/>
                      <a:gd name="T14" fmla="*/ 146 w 272"/>
                      <a:gd name="T15" fmla="*/ 156 h 164"/>
                      <a:gd name="T16" fmla="*/ 92 w 272"/>
                      <a:gd name="T17" fmla="*/ 164 h 164"/>
                      <a:gd name="T18" fmla="*/ 65 w 272"/>
                      <a:gd name="T19" fmla="*/ 148 h 164"/>
                      <a:gd name="T20" fmla="*/ 0 w 272"/>
                      <a:gd name="T21" fmla="*/ 9 h 164"/>
                      <a:gd name="T22" fmla="*/ 76 w 272"/>
                      <a:gd name="T23" fmla="*/ 19 h 164"/>
                      <a:gd name="T24" fmla="*/ 93 w 272"/>
                      <a:gd name="T25" fmla="*/ 134 h 164"/>
                      <a:gd name="T26" fmla="*/ 251 w 272"/>
                      <a:gd name="T27" fmla="*/ 132 h 164"/>
                      <a:gd name="T28" fmla="*/ 257 w 272"/>
                      <a:gd name="T29" fmla="*/ 132 h 164"/>
                      <a:gd name="T30" fmla="*/ 270 w 272"/>
                      <a:gd name="T31" fmla="*/ 133 h 164"/>
                      <a:gd name="T32" fmla="*/ 270 w 272"/>
                      <a:gd name="T33" fmla="*/ 136 h 1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272" h="164">
                        <a:moveTo>
                          <a:pt x="270" y="136"/>
                        </a:moveTo>
                        <a:cubicBezTo>
                          <a:pt x="262" y="138"/>
                          <a:pt x="262" y="138"/>
                          <a:pt x="262" y="138"/>
                        </a:cubicBezTo>
                        <a:cubicBezTo>
                          <a:pt x="271" y="147"/>
                          <a:pt x="271" y="147"/>
                          <a:pt x="271" y="147"/>
                        </a:cubicBezTo>
                        <a:cubicBezTo>
                          <a:pt x="272" y="157"/>
                          <a:pt x="272" y="157"/>
                          <a:pt x="272" y="157"/>
                        </a:cubicBezTo>
                        <a:cubicBezTo>
                          <a:pt x="272" y="157"/>
                          <a:pt x="270" y="159"/>
                          <a:pt x="269" y="157"/>
                        </a:cubicBezTo>
                        <a:cubicBezTo>
                          <a:pt x="269" y="156"/>
                          <a:pt x="265" y="150"/>
                          <a:pt x="265" y="150"/>
                        </a:cubicBezTo>
                        <a:cubicBezTo>
                          <a:pt x="251" y="141"/>
                          <a:pt x="251" y="141"/>
                          <a:pt x="251" y="141"/>
                        </a:cubicBezTo>
                        <a:cubicBezTo>
                          <a:pt x="146" y="156"/>
                          <a:pt x="146" y="156"/>
                          <a:pt x="146" y="156"/>
                        </a:cubicBezTo>
                        <a:cubicBezTo>
                          <a:pt x="92" y="164"/>
                          <a:pt x="92" y="164"/>
                          <a:pt x="92" y="164"/>
                        </a:cubicBezTo>
                        <a:cubicBezTo>
                          <a:pt x="92" y="164"/>
                          <a:pt x="76" y="163"/>
                          <a:pt x="65" y="148"/>
                        </a:cubicBezTo>
                        <a:cubicBezTo>
                          <a:pt x="62" y="143"/>
                          <a:pt x="0" y="9"/>
                          <a:pt x="0" y="9"/>
                        </a:cubicBezTo>
                        <a:cubicBezTo>
                          <a:pt x="0" y="9"/>
                          <a:pt x="64" y="0"/>
                          <a:pt x="76" y="19"/>
                        </a:cubicBezTo>
                        <a:cubicBezTo>
                          <a:pt x="91" y="45"/>
                          <a:pt x="92" y="106"/>
                          <a:pt x="93" y="134"/>
                        </a:cubicBezTo>
                        <a:cubicBezTo>
                          <a:pt x="105" y="124"/>
                          <a:pt x="196" y="133"/>
                          <a:pt x="251" y="132"/>
                        </a:cubicBezTo>
                        <a:cubicBezTo>
                          <a:pt x="253" y="132"/>
                          <a:pt x="257" y="132"/>
                          <a:pt x="257" y="132"/>
                        </a:cubicBezTo>
                        <a:cubicBezTo>
                          <a:pt x="270" y="133"/>
                          <a:pt x="270" y="133"/>
                          <a:pt x="270" y="133"/>
                        </a:cubicBezTo>
                        <a:lnTo>
                          <a:pt x="270" y="136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" name="Freeform 261">
                    <a:extLst>
                      <a:ext uri="{FF2B5EF4-FFF2-40B4-BE49-F238E27FC236}">
                        <a16:creationId xmlns:a16="http://schemas.microsoft.com/office/drawing/2014/main" id="{4664AA24-1EB2-4E3A-0B02-D89C31A5D0E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52517" y="5516564"/>
                    <a:ext cx="41275" cy="57150"/>
                  </a:xfrm>
                  <a:custGeom>
                    <a:avLst/>
                    <a:gdLst>
                      <a:gd name="T0" fmla="*/ 14 w 21"/>
                      <a:gd name="T1" fmla="*/ 19 h 29"/>
                      <a:gd name="T2" fmla="*/ 18 w 21"/>
                      <a:gd name="T3" fmla="*/ 26 h 29"/>
                      <a:gd name="T4" fmla="*/ 21 w 21"/>
                      <a:gd name="T5" fmla="*/ 27 h 29"/>
                      <a:gd name="T6" fmla="*/ 20 w 21"/>
                      <a:gd name="T7" fmla="*/ 15 h 29"/>
                      <a:gd name="T8" fmla="*/ 11 w 21"/>
                      <a:gd name="T9" fmla="*/ 7 h 29"/>
                      <a:gd name="T10" fmla="*/ 19 w 21"/>
                      <a:gd name="T11" fmla="*/ 5 h 29"/>
                      <a:gd name="T12" fmla="*/ 19 w 21"/>
                      <a:gd name="T13" fmla="*/ 1 h 29"/>
                      <a:gd name="T14" fmla="*/ 6 w 21"/>
                      <a:gd name="T15" fmla="*/ 1 h 29"/>
                      <a:gd name="T16" fmla="*/ 0 w 21"/>
                      <a:gd name="T17" fmla="*/ 1 h 29"/>
                      <a:gd name="T18" fmla="*/ 6 w 21"/>
                      <a:gd name="T19" fmla="*/ 8 h 29"/>
                      <a:gd name="T20" fmla="*/ 14 w 21"/>
                      <a:gd name="T21" fmla="*/ 19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1" h="29">
                        <a:moveTo>
                          <a:pt x="14" y="19"/>
                        </a:moveTo>
                        <a:cubicBezTo>
                          <a:pt x="15" y="21"/>
                          <a:pt x="18" y="26"/>
                          <a:pt x="18" y="26"/>
                        </a:cubicBezTo>
                        <a:cubicBezTo>
                          <a:pt x="19" y="29"/>
                          <a:pt x="21" y="27"/>
                          <a:pt x="21" y="27"/>
                        </a:cubicBezTo>
                        <a:cubicBezTo>
                          <a:pt x="21" y="27"/>
                          <a:pt x="20" y="17"/>
                          <a:pt x="20" y="15"/>
                        </a:cubicBezTo>
                        <a:cubicBezTo>
                          <a:pt x="20" y="12"/>
                          <a:pt x="11" y="7"/>
                          <a:pt x="11" y="7"/>
                        </a:cubicBezTo>
                        <a:cubicBezTo>
                          <a:pt x="19" y="5"/>
                          <a:pt x="19" y="5"/>
                          <a:pt x="19" y="5"/>
                        </a:cubicBezTo>
                        <a:cubicBezTo>
                          <a:pt x="19" y="1"/>
                          <a:pt x="19" y="1"/>
                          <a:pt x="19" y="1"/>
                        </a:cubicBezTo>
                        <a:cubicBezTo>
                          <a:pt x="19" y="1"/>
                          <a:pt x="11" y="1"/>
                          <a:pt x="6" y="1"/>
                        </a:cubicBezTo>
                        <a:cubicBezTo>
                          <a:pt x="2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6" y="8"/>
                        </a:cubicBezTo>
                        <a:cubicBezTo>
                          <a:pt x="14" y="12"/>
                          <a:pt x="13" y="17"/>
                          <a:pt x="14" y="1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" name="Freeform 262">
                    <a:extLst>
                      <a:ext uri="{FF2B5EF4-FFF2-40B4-BE49-F238E27FC236}">
                        <a16:creationId xmlns:a16="http://schemas.microsoft.com/office/drawing/2014/main" id="{9AAC5633-F6E7-B320-417E-AA2A46C48ED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39692" y="4965701"/>
                    <a:ext cx="346075" cy="90488"/>
                  </a:xfrm>
                  <a:custGeom>
                    <a:avLst/>
                    <a:gdLst>
                      <a:gd name="T0" fmla="*/ 3 w 176"/>
                      <a:gd name="T1" fmla="*/ 0 h 46"/>
                      <a:gd name="T2" fmla="*/ 47 w 176"/>
                      <a:gd name="T3" fmla="*/ 6 h 46"/>
                      <a:gd name="T4" fmla="*/ 133 w 176"/>
                      <a:gd name="T5" fmla="*/ 5 h 46"/>
                      <a:gd name="T6" fmla="*/ 167 w 176"/>
                      <a:gd name="T7" fmla="*/ 22 h 46"/>
                      <a:gd name="T8" fmla="*/ 145 w 176"/>
                      <a:gd name="T9" fmla="*/ 46 h 46"/>
                      <a:gd name="T10" fmla="*/ 0 w 176"/>
                      <a:gd name="T11" fmla="*/ 19 h 46"/>
                      <a:gd name="T12" fmla="*/ 3 w 176"/>
                      <a:gd name="T13" fmla="*/ 0 h 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76" h="46">
                        <a:moveTo>
                          <a:pt x="3" y="0"/>
                        </a:moveTo>
                        <a:cubicBezTo>
                          <a:pt x="10" y="1"/>
                          <a:pt x="29" y="5"/>
                          <a:pt x="47" y="6"/>
                        </a:cubicBezTo>
                        <a:cubicBezTo>
                          <a:pt x="79" y="8"/>
                          <a:pt x="93" y="6"/>
                          <a:pt x="133" y="5"/>
                        </a:cubicBezTo>
                        <a:cubicBezTo>
                          <a:pt x="176" y="3"/>
                          <a:pt x="167" y="22"/>
                          <a:pt x="167" y="22"/>
                        </a:cubicBezTo>
                        <a:cubicBezTo>
                          <a:pt x="167" y="22"/>
                          <a:pt x="152" y="40"/>
                          <a:pt x="145" y="46"/>
                        </a:cubicBezTo>
                        <a:cubicBezTo>
                          <a:pt x="68" y="36"/>
                          <a:pt x="21" y="25"/>
                          <a:pt x="0" y="19"/>
                        </a:cubicBezTo>
                        <a:cubicBezTo>
                          <a:pt x="0" y="19"/>
                          <a:pt x="1" y="4"/>
                          <a:pt x="3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" name="Freeform 263">
                    <a:extLst>
                      <a:ext uri="{FF2B5EF4-FFF2-40B4-BE49-F238E27FC236}">
                        <a16:creationId xmlns:a16="http://schemas.microsoft.com/office/drawing/2014/main" id="{37B59261-54E1-7395-7A54-1EDA68D705A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74642" y="4941889"/>
                    <a:ext cx="420688" cy="288925"/>
                  </a:xfrm>
                  <a:custGeom>
                    <a:avLst/>
                    <a:gdLst>
                      <a:gd name="T0" fmla="*/ 126 w 214"/>
                      <a:gd name="T1" fmla="*/ 147 h 147"/>
                      <a:gd name="T2" fmla="*/ 63 w 214"/>
                      <a:gd name="T3" fmla="*/ 110 h 147"/>
                      <a:gd name="T4" fmla="*/ 7 w 214"/>
                      <a:gd name="T5" fmla="*/ 22 h 147"/>
                      <a:gd name="T6" fmla="*/ 28 w 214"/>
                      <a:gd name="T7" fmla="*/ 8 h 147"/>
                      <a:gd name="T8" fmla="*/ 130 w 214"/>
                      <a:gd name="T9" fmla="*/ 44 h 147"/>
                      <a:gd name="T10" fmla="*/ 214 w 214"/>
                      <a:gd name="T11" fmla="*/ 136 h 147"/>
                      <a:gd name="T12" fmla="*/ 126 w 214"/>
                      <a:gd name="T13" fmla="*/ 147 h 1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14" h="147">
                        <a:moveTo>
                          <a:pt x="126" y="147"/>
                        </a:moveTo>
                        <a:cubicBezTo>
                          <a:pt x="123" y="141"/>
                          <a:pt x="112" y="111"/>
                          <a:pt x="63" y="110"/>
                        </a:cubicBezTo>
                        <a:cubicBezTo>
                          <a:pt x="0" y="108"/>
                          <a:pt x="7" y="22"/>
                          <a:pt x="7" y="22"/>
                        </a:cubicBezTo>
                        <a:cubicBezTo>
                          <a:pt x="7" y="22"/>
                          <a:pt x="18" y="11"/>
                          <a:pt x="28" y="8"/>
                        </a:cubicBezTo>
                        <a:cubicBezTo>
                          <a:pt x="53" y="0"/>
                          <a:pt x="94" y="11"/>
                          <a:pt x="130" y="44"/>
                        </a:cubicBezTo>
                        <a:cubicBezTo>
                          <a:pt x="181" y="90"/>
                          <a:pt x="214" y="136"/>
                          <a:pt x="214" y="136"/>
                        </a:cubicBezTo>
                        <a:cubicBezTo>
                          <a:pt x="214" y="136"/>
                          <a:pt x="175" y="134"/>
                          <a:pt x="126" y="147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" name="Freeform 264">
                    <a:extLst>
                      <a:ext uri="{FF2B5EF4-FFF2-40B4-BE49-F238E27FC236}">
                        <a16:creationId xmlns:a16="http://schemas.microsoft.com/office/drawing/2014/main" id="{5F688178-5CAF-181B-F65E-F988295ED04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5580" y="5221289"/>
                    <a:ext cx="611188" cy="523875"/>
                  </a:xfrm>
                  <a:custGeom>
                    <a:avLst/>
                    <a:gdLst>
                      <a:gd name="T0" fmla="*/ 2 w 311"/>
                      <a:gd name="T1" fmla="*/ 259 h 267"/>
                      <a:gd name="T2" fmla="*/ 10 w 311"/>
                      <a:gd name="T3" fmla="*/ 257 h 267"/>
                      <a:gd name="T4" fmla="*/ 22 w 311"/>
                      <a:gd name="T5" fmla="*/ 247 h 267"/>
                      <a:gd name="T6" fmla="*/ 44 w 311"/>
                      <a:gd name="T7" fmla="*/ 81 h 267"/>
                      <a:gd name="T8" fmla="*/ 44 w 311"/>
                      <a:gd name="T9" fmla="*/ 81 h 267"/>
                      <a:gd name="T10" fmla="*/ 66 w 311"/>
                      <a:gd name="T11" fmla="*/ 42 h 267"/>
                      <a:gd name="T12" fmla="*/ 276 w 311"/>
                      <a:gd name="T13" fmla="*/ 0 h 267"/>
                      <a:gd name="T14" fmla="*/ 213 w 311"/>
                      <a:gd name="T15" fmla="*/ 71 h 267"/>
                      <a:gd name="T16" fmla="*/ 82 w 311"/>
                      <a:gd name="T17" fmla="*/ 79 h 267"/>
                      <a:gd name="T18" fmla="*/ 31 w 311"/>
                      <a:gd name="T19" fmla="*/ 249 h 267"/>
                      <a:gd name="T20" fmla="*/ 29 w 311"/>
                      <a:gd name="T21" fmla="*/ 255 h 267"/>
                      <a:gd name="T22" fmla="*/ 25 w 311"/>
                      <a:gd name="T23" fmla="*/ 267 h 267"/>
                      <a:gd name="T24" fmla="*/ 22 w 311"/>
                      <a:gd name="T25" fmla="*/ 266 h 267"/>
                      <a:gd name="T26" fmla="*/ 22 w 311"/>
                      <a:gd name="T27" fmla="*/ 259 h 267"/>
                      <a:gd name="T28" fmla="*/ 11 w 311"/>
                      <a:gd name="T29" fmla="*/ 264 h 267"/>
                      <a:gd name="T30" fmla="*/ 1 w 311"/>
                      <a:gd name="T31" fmla="*/ 262 h 267"/>
                      <a:gd name="T32" fmla="*/ 2 w 311"/>
                      <a:gd name="T33" fmla="*/ 259 h 2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11" h="267">
                        <a:moveTo>
                          <a:pt x="2" y="259"/>
                        </a:moveTo>
                        <a:cubicBezTo>
                          <a:pt x="3" y="259"/>
                          <a:pt x="10" y="257"/>
                          <a:pt x="10" y="257"/>
                        </a:cubicBezTo>
                        <a:cubicBezTo>
                          <a:pt x="22" y="247"/>
                          <a:pt x="22" y="247"/>
                          <a:pt x="22" y="247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2" y="52"/>
                          <a:pt x="66" y="42"/>
                          <a:pt x="66" y="42"/>
                        </a:cubicBezTo>
                        <a:cubicBezTo>
                          <a:pt x="276" y="0"/>
                          <a:pt x="276" y="0"/>
                          <a:pt x="276" y="0"/>
                        </a:cubicBezTo>
                        <a:cubicBezTo>
                          <a:pt x="276" y="0"/>
                          <a:pt x="311" y="59"/>
                          <a:pt x="213" y="71"/>
                        </a:cubicBezTo>
                        <a:cubicBezTo>
                          <a:pt x="182" y="74"/>
                          <a:pt x="161" y="70"/>
                          <a:pt x="82" y="79"/>
                        </a:cubicBezTo>
                        <a:cubicBezTo>
                          <a:pt x="99" y="107"/>
                          <a:pt x="31" y="249"/>
                          <a:pt x="31" y="249"/>
                        </a:cubicBezTo>
                        <a:cubicBezTo>
                          <a:pt x="29" y="255"/>
                          <a:pt x="29" y="255"/>
                          <a:pt x="29" y="255"/>
                        </a:cubicBezTo>
                        <a:cubicBezTo>
                          <a:pt x="25" y="267"/>
                          <a:pt x="25" y="267"/>
                          <a:pt x="25" y="267"/>
                        </a:cubicBezTo>
                        <a:cubicBezTo>
                          <a:pt x="22" y="266"/>
                          <a:pt x="22" y="266"/>
                          <a:pt x="22" y="266"/>
                        </a:cubicBezTo>
                        <a:cubicBezTo>
                          <a:pt x="22" y="259"/>
                          <a:pt x="22" y="259"/>
                          <a:pt x="22" y="259"/>
                        </a:cubicBezTo>
                        <a:cubicBezTo>
                          <a:pt x="11" y="264"/>
                          <a:pt x="11" y="264"/>
                          <a:pt x="11" y="264"/>
                        </a:cubicBezTo>
                        <a:cubicBezTo>
                          <a:pt x="1" y="262"/>
                          <a:pt x="1" y="262"/>
                          <a:pt x="1" y="262"/>
                        </a:cubicBezTo>
                        <a:cubicBezTo>
                          <a:pt x="1" y="262"/>
                          <a:pt x="0" y="259"/>
                          <a:pt x="2" y="25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" name="Freeform 265">
                    <a:extLst>
                      <a:ext uri="{FF2B5EF4-FFF2-40B4-BE49-F238E27FC236}">
                        <a16:creationId xmlns:a16="http://schemas.microsoft.com/office/drawing/2014/main" id="{53CD5D49-AB54-3D63-89FE-98AEC8CA320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4167" y="5197476"/>
                    <a:ext cx="487363" cy="219075"/>
                  </a:xfrm>
                  <a:custGeom>
                    <a:avLst/>
                    <a:gdLst>
                      <a:gd name="T0" fmla="*/ 206 w 248"/>
                      <a:gd name="T1" fmla="*/ 0 h 112"/>
                      <a:gd name="T2" fmla="*/ 248 w 248"/>
                      <a:gd name="T3" fmla="*/ 97 h 112"/>
                      <a:gd name="T4" fmla="*/ 26 w 248"/>
                      <a:gd name="T5" fmla="*/ 83 h 112"/>
                      <a:gd name="T6" fmla="*/ 0 w 248"/>
                      <a:gd name="T7" fmla="*/ 52 h 112"/>
                      <a:gd name="T8" fmla="*/ 206 w 248"/>
                      <a:gd name="T9" fmla="*/ 0 h 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8" h="112">
                        <a:moveTo>
                          <a:pt x="206" y="0"/>
                        </a:moveTo>
                        <a:cubicBezTo>
                          <a:pt x="240" y="22"/>
                          <a:pt x="215" y="69"/>
                          <a:pt x="248" y="97"/>
                        </a:cubicBezTo>
                        <a:cubicBezTo>
                          <a:pt x="219" y="112"/>
                          <a:pt x="79" y="112"/>
                          <a:pt x="26" y="83"/>
                        </a:cubicBezTo>
                        <a:cubicBezTo>
                          <a:pt x="4" y="71"/>
                          <a:pt x="0" y="52"/>
                          <a:pt x="0" y="52"/>
                        </a:cubicBezTo>
                        <a:cubicBezTo>
                          <a:pt x="0" y="52"/>
                          <a:pt x="177" y="6"/>
                          <a:pt x="206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" name="Freeform 266">
                    <a:extLst>
                      <a:ext uri="{FF2B5EF4-FFF2-40B4-BE49-F238E27FC236}">
                        <a16:creationId xmlns:a16="http://schemas.microsoft.com/office/drawing/2014/main" id="{8EC919D3-1739-A132-756D-F5DDCC07F13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2105" y="4964114"/>
                    <a:ext cx="63500" cy="134938"/>
                  </a:xfrm>
                  <a:custGeom>
                    <a:avLst/>
                    <a:gdLst>
                      <a:gd name="T0" fmla="*/ 32 w 32"/>
                      <a:gd name="T1" fmla="*/ 69 h 69"/>
                      <a:gd name="T2" fmla="*/ 20 w 32"/>
                      <a:gd name="T3" fmla="*/ 0 h 69"/>
                      <a:gd name="T4" fmla="*/ 4 w 32"/>
                      <a:gd name="T5" fmla="*/ 14 h 69"/>
                      <a:gd name="T6" fmla="*/ 32 w 32"/>
                      <a:gd name="T7" fmla="*/ 69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2" h="69">
                        <a:moveTo>
                          <a:pt x="32" y="69"/>
                        </a:moveTo>
                        <a:cubicBezTo>
                          <a:pt x="32" y="69"/>
                          <a:pt x="7" y="24"/>
                          <a:pt x="20" y="0"/>
                        </a:cubicBezTo>
                        <a:cubicBezTo>
                          <a:pt x="17" y="5"/>
                          <a:pt x="12" y="15"/>
                          <a:pt x="4" y="14"/>
                        </a:cubicBezTo>
                        <a:cubicBezTo>
                          <a:pt x="0" y="41"/>
                          <a:pt x="32" y="69"/>
                          <a:pt x="32" y="6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" name="Freeform 267">
                    <a:extLst>
                      <a:ext uri="{FF2B5EF4-FFF2-40B4-BE49-F238E27FC236}">
                        <a16:creationId xmlns:a16="http://schemas.microsoft.com/office/drawing/2014/main" id="{071E0F1A-EEDB-1B7E-F643-985B5156CB1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69880" y="4946651"/>
                    <a:ext cx="88900" cy="160338"/>
                  </a:xfrm>
                  <a:custGeom>
                    <a:avLst/>
                    <a:gdLst>
                      <a:gd name="T0" fmla="*/ 45 w 45"/>
                      <a:gd name="T1" fmla="*/ 82 h 82"/>
                      <a:gd name="T2" fmla="*/ 17 w 45"/>
                      <a:gd name="T3" fmla="*/ 19 h 82"/>
                      <a:gd name="T4" fmla="*/ 12 w 45"/>
                      <a:gd name="T5" fmla="*/ 12 h 82"/>
                      <a:gd name="T6" fmla="*/ 45 w 45"/>
                      <a:gd name="T7" fmla="*/ 82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5" h="82">
                        <a:moveTo>
                          <a:pt x="45" y="82"/>
                        </a:moveTo>
                        <a:cubicBezTo>
                          <a:pt x="45" y="82"/>
                          <a:pt x="15" y="54"/>
                          <a:pt x="17" y="19"/>
                        </a:cubicBezTo>
                        <a:cubicBezTo>
                          <a:pt x="17" y="9"/>
                          <a:pt x="15" y="0"/>
                          <a:pt x="12" y="12"/>
                        </a:cubicBezTo>
                        <a:cubicBezTo>
                          <a:pt x="0" y="63"/>
                          <a:pt x="45" y="82"/>
                          <a:pt x="45" y="8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" name="Freeform 268">
                    <a:extLst>
                      <a:ext uri="{FF2B5EF4-FFF2-40B4-BE49-F238E27FC236}">
                        <a16:creationId xmlns:a16="http://schemas.microsoft.com/office/drawing/2014/main" id="{396D9514-4A38-1425-AB4C-0614FBF7EA2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3367" y="4899026"/>
                    <a:ext cx="103188" cy="93663"/>
                  </a:xfrm>
                  <a:custGeom>
                    <a:avLst/>
                    <a:gdLst>
                      <a:gd name="T0" fmla="*/ 52 w 53"/>
                      <a:gd name="T1" fmla="*/ 27 h 48"/>
                      <a:gd name="T2" fmla="*/ 42 w 53"/>
                      <a:gd name="T3" fmla="*/ 12 h 48"/>
                      <a:gd name="T4" fmla="*/ 30 w 53"/>
                      <a:gd name="T5" fmla="*/ 0 h 48"/>
                      <a:gd name="T6" fmla="*/ 24 w 53"/>
                      <a:gd name="T7" fmla="*/ 18 h 48"/>
                      <a:gd name="T8" fmla="*/ 13 w 53"/>
                      <a:gd name="T9" fmla="*/ 28 h 48"/>
                      <a:gd name="T10" fmla="*/ 0 w 53"/>
                      <a:gd name="T11" fmla="*/ 29 h 48"/>
                      <a:gd name="T12" fmla="*/ 36 w 53"/>
                      <a:gd name="T13" fmla="*/ 48 h 48"/>
                      <a:gd name="T14" fmla="*/ 52 w 53"/>
                      <a:gd name="T15" fmla="*/ 27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3" h="48">
                        <a:moveTo>
                          <a:pt x="52" y="27"/>
                        </a:moveTo>
                        <a:cubicBezTo>
                          <a:pt x="42" y="23"/>
                          <a:pt x="42" y="12"/>
                          <a:pt x="42" y="12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30" y="0"/>
                          <a:pt x="25" y="11"/>
                          <a:pt x="24" y="18"/>
                        </a:cubicBezTo>
                        <a:cubicBezTo>
                          <a:pt x="22" y="25"/>
                          <a:pt x="16" y="27"/>
                          <a:pt x="13" y="28"/>
                        </a:cubicBezTo>
                        <a:cubicBezTo>
                          <a:pt x="7" y="29"/>
                          <a:pt x="0" y="29"/>
                          <a:pt x="0" y="29"/>
                        </a:cubicBezTo>
                        <a:cubicBezTo>
                          <a:pt x="0" y="29"/>
                          <a:pt x="26" y="31"/>
                          <a:pt x="36" y="48"/>
                        </a:cubicBezTo>
                        <a:cubicBezTo>
                          <a:pt x="53" y="47"/>
                          <a:pt x="48" y="32"/>
                          <a:pt x="52" y="27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" name="Freeform 269">
                    <a:extLst>
                      <a:ext uri="{FF2B5EF4-FFF2-40B4-BE49-F238E27FC236}">
                        <a16:creationId xmlns:a16="http://schemas.microsoft.com/office/drawing/2014/main" id="{75E11B62-7626-F204-8802-E94AF4731C0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20667" y="4848226"/>
                    <a:ext cx="80963" cy="107950"/>
                  </a:xfrm>
                  <a:custGeom>
                    <a:avLst/>
                    <a:gdLst>
                      <a:gd name="T0" fmla="*/ 9 w 41"/>
                      <a:gd name="T1" fmla="*/ 55 h 55"/>
                      <a:gd name="T2" fmla="*/ 22 w 41"/>
                      <a:gd name="T3" fmla="*/ 55 h 55"/>
                      <a:gd name="T4" fmla="*/ 30 w 41"/>
                      <a:gd name="T5" fmla="*/ 48 h 55"/>
                      <a:gd name="T6" fmla="*/ 33 w 41"/>
                      <a:gd name="T7" fmla="*/ 36 h 55"/>
                      <a:gd name="T8" fmla="*/ 38 w 41"/>
                      <a:gd name="T9" fmla="*/ 32 h 55"/>
                      <a:gd name="T10" fmla="*/ 36 w 41"/>
                      <a:gd name="T11" fmla="*/ 24 h 55"/>
                      <a:gd name="T12" fmla="*/ 34 w 41"/>
                      <a:gd name="T13" fmla="*/ 3 h 55"/>
                      <a:gd name="T14" fmla="*/ 23 w 41"/>
                      <a:gd name="T15" fmla="*/ 0 h 55"/>
                      <a:gd name="T16" fmla="*/ 12 w 41"/>
                      <a:gd name="T17" fmla="*/ 8 h 55"/>
                      <a:gd name="T18" fmla="*/ 0 w 41"/>
                      <a:gd name="T19" fmla="*/ 30 h 55"/>
                      <a:gd name="T20" fmla="*/ 2 w 41"/>
                      <a:gd name="T21" fmla="*/ 32 h 55"/>
                      <a:gd name="T22" fmla="*/ 5 w 41"/>
                      <a:gd name="T23" fmla="*/ 33 h 55"/>
                      <a:gd name="T24" fmla="*/ 5 w 41"/>
                      <a:gd name="T25" fmla="*/ 54 h 55"/>
                      <a:gd name="T26" fmla="*/ 9 w 41"/>
                      <a:gd name="T27" fmla="*/ 55 h 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1" h="55">
                        <a:moveTo>
                          <a:pt x="9" y="55"/>
                        </a:moveTo>
                        <a:cubicBezTo>
                          <a:pt x="12" y="55"/>
                          <a:pt x="17" y="55"/>
                          <a:pt x="22" y="55"/>
                        </a:cubicBezTo>
                        <a:cubicBezTo>
                          <a:pt x="29" y="54"/>
                          <a:pt x="30" y="48"/>
                          <a:pt x="30" y="48"/>
                        </a:cubicBezTo>
                        <a:cubicBezTo>
                          <a:pt x="33" y="36"/>
                          <a:pt x="33" y="36"/>
                          <a:pt x="33" y="36"/>
                        </a:cubicBezTo>
                        <a:cubicBezTo>
                          <a:pt x="33" y="36"/>
                          <a:pt x="36" y="35"/>
                          <a:pt x="38" y="32"/>
                        </a:cubicBezTo>
                        <a:cubicBezTo>
                          <a:pt x="39" y="31"/>
                          <a:pt x="41" y="26"/>
                          <a:pt x="36" y="24"/>
                        </a:cubicBezTo>
                        <a:cubicBezTo>
                          <a:pt x="28" y="21"/>
                          <a:pt x="34" y="3"/>
                          <a:pt x="34" y="3"/>
                        </a:cubicBezTo>
                        <a:cubicBezTo>
                          <a:pt x="23" y="0"/>
                          <a:pt x="23" y="0"/>
                          <a:pt x="23" y="0"/>
                        </a:cubicBezTo>
                        <a:cubicBezTo>
                          <a:pt x="12" y="8"/>
                          <a:pt x="12" y="8"/>
                          <a:pt x="12" y="8"/>
                        </a:cubicBezTo>
                        <a:cubicBezTo>
                          <a:pt x="0" y="30"/>
                          <a:pt x="0" y="30"/>
                          <a:pt x="0" y="30"/>
                        </a:cubicBezTo>
                        <a:cubicBezTo>
                          <a:pt x="0" y="30"/>
                          <a:pt x="0" y="31"/>
                          <a:pt x="2" y="32"/>
                        </a:cubicBezTo>
                        <a:cubicBezTo>
                          <a:pt x="4" y="32"/>
                          <a:pt x="5" y="33"/>
                          <a:pt x="5" y="33"/>
                        </a:cubicBezTo>
                        <a:cubicBezTo>
                          <a:pt x="5" y="33"/>
                          <a:pt x="5" y="53"/>
                          <a:pt x="5" y="54"/>
                        </a:cubicBezTo>
                        <a:cubicBezTo>
                          <a:pt x="5" y="55"/>
                          <a:pt x="7" y="55"/>
                          <a:pt x="9" y="55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" name="Freeform 270">
                    <a:extLst>
                      <a:ext uri="{FF2B5EF4-FFF2-40B4-BE49-F238E27FC236}">
                        <a16:creationId xmlns:a16="http://schemas.microsoft.com/office/drawing/2014/main" id="{3E4EA852-F773-FE41-4626-D7D3ABEEC3F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44480" y="4838701"/>
                    <a:ext cx="92075" cy="85725"/>
                  </a:xfrm>
                  <a:custGeom>
                    <a:avLst/>
                    <a:gdLst>
                      <a:gd name="T0" fmla="*/ 45 w 47"/>
                      <a:gd name="T1" fmla="*/ 22 h 44"/>
                      <a:gd name="T2" fmla="*/ 44 w 47"/>
                      <a:gd name="T3" fmla="*/ 18 h 44"/>
                      <a:gd name="T4" fmla="*/ 25 w 47"/>
                      <a:gd name="T5" fmla="*/ 3 h 44"/>
                      <a:gd name="T6" fmla="*/ 0 w 47"/>
                      <a:gd name="T7" fmla="*/ 14 h 44"/>
                      <a:gd name="T8" fmla="*/ 14 w 47"/>
                      <a:gd name="T9" fmla="*/ 21 h 44"/>
                      <a:gd name="T10" fmla="*/ 21 w 47"/>
                      <a:gd name="T11" fmla="*/ 30 h 44"/>
                      <a:gd name="T12" fmla="*/ 27 w 47"/>
                      <a:gd name="T13" fmla="*/ 35 h 44"/>
                      <a:gd name="T14" fmla="*/ 36 w 47"/>
                      <a:gd name="T15" fmla="*/ 44 h 44"/>
                      <a:gd name="T16" fmla="*/ 45 w 47"/>
                      <a:gd name="T17" fmla="*/ 22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7" h="44">
                        <a:moveTo>
                          <a:pt x="45" y="22"/>
                        </a:moveTo>
                        <a:cubicBezTo>
                          <a:pt x="44" y="18"/>
                          <a:pt x="44" y="18"/>
                          <a:pt x="44" y="18"/>
                        </a:cubicBezTo>
                        <a:cubicBezTo>
                          <a:pt x="44" y="18"/>
                          <a:pt x="42" y="7"/>
                          <a:pt x="25" y="3"/>
                        </a:cubicBezTo>
                        <a:cubicBezTo>
                          <a:pt x="6" y="0"/>
                          <a:pt x="0" y="14"/>
                          <a:pt x="0" y="14"/>
                        </a:cubicBezTo>
                        <a:cubicBezTo>
                          <a:pt x="0" y="14"/>
                          <a:pt x="14" y="12"/>
                          <a:pt x="14" y="21"/>
                        </a:cubicBezTo>
                        <a:cubicBezTo>
                          <a:pt x="14" y="31"/>
                          <a:pt x="20" y="30"/>
                          <a:pt x="21" y="30"/>
                        </a:cubicBezTo>
                        <a:cubicBezTo>
                          <a:pt x="22" y="30"/>
                          <a:pt x="26" y="31"/>
                          <a:pt x="27" y="35"/>
                        </a:cubicBezTo>
                        <a:cubicBezTo>
                          <a:pt x="27" y="41"/>
                          <a:pt x="33" y="44"/>
                          <a:pt x="36" y="44"/>
                        </a:cubicBezTo>
                        <a:cubicBezTo>
                          <a:pt x="47" y="32"/>
                          <a:pt x="45" y="22"/>
                          <a:pt x="45" y="22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" name="Freeform 271">
                    <a:extLst>
                      <a:ext uri="{FF2B5EF4-FFF2-40B4-BE49-F238E27FC236}">
                        <a16:creationId xmlns:a16="http://schemas.microsoft.com/office/drawing/2014/main" id="{AE75019B-14B3-D1E0-92DE-A42D43A9700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6542" y="4886326"/>
                    <a:ext cx="15875" cy="7938"/>
                  </a:xfrm>
                  <a:custGeom>
                    <a:avLst/>
                    <a:gdLst>
                      <a:gd name="T0" fmla="*/ 1 w 8"/>
                      <a:gd name="T1" fmla="*/ 3 h 4"/>
                      <a:gd name="T2" fmla="*/ 2 w 8"/>
                      <a:gd name="T3" fmla="*/ 4 h 4"/>
                      <a:gd name="T4" fmla="*/ 8 w 8"/>
                      <a:gd name="T5" fmla="*/ 4 h 4"/>
                      <a:gd name="T6" fmla="*/ 1 w 8"/>
                      <a:gd name="T7" fmla="*/ 1 h 4"/>
                      <a:gd name="T8" fmla="*/ 1 w 8"/>
                      <a:gd name="T9" fmla="*/ 3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" h="4">
                        <a:moveTo>
                          <a:pt x="1" y="3"/>
                        </a:moveTo>
                        <a:cubicBezTo>
                          <a:pt x="1" y="4"/>
                          <a:pt x="1" y="4"/>
                          <a:pt x="2" y="4"/>
                        </a:cubicBezTo>
                        <a:cubicBezTo>
                          <a:pt x="4" y="4"/>
                          <a:pt x="6" y="4"/>
                          <a:pt x="8" y="4"/>
                        </a:cubicBezTo>
                        <a:cubicBezTo>
                          <a:pt x="8" y="4"/>
                          <a:pt x="6" y="3"/>
                          <a:pt x="1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" name="Freeform 272">
                    <a:extLst>
                      <a:ext uri="{FF2B5EF4-FFF2-40B4-BE49-F238E27FC236}">
                        <a16:creationId xmlns:a16="http://schemas.microsoft.com/office/drawing/2014/main" id="{A5305223-B440-E94C-ACBD-3A42B890F3E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1792" y="4857751"/>
                    <a:ext cx="217488" cy="93663"/>
                  </a:xfrm>
                  <a:custGeom>
                    <a:avLst/>
                    <a:gdLst>
                      <a:gd name="T0" fmla="*/ 0 w 111"/>
                      <a:gd name="T1" fmla="*/ 8 h 48"/>
                      <a:gd name="T2" fmla="*/ 17 w 111"/>
                      <a:gd name="T3" fmla="*/ 1 h 48"/>
                      <a:gd name="T4" fmla="*/ 42 w 111"/>
                      <a:gd name="T5" fmla="*/ 11 h 48"/>
                      <a:gd name="T6" fmla="*/ 75 w 111"/>
                      <a:gd name="T7" fmla="*/ 12 h 48"/>
                      <a:gd name="T8" fmla="*/ 94 w 111"/>
                      <a:gd name="T9" fmla="*/ 19 h 48"/>
                      <a:gd name="T10" fmla="*/ 111 w 111"/>
                      <a:gd name="T11" fmla="*/ 34 h 48"/>
                      <a:gd name="T12" fmla="*/ 79 w 111"/>
                      <a:gd name="T13" fmla="*/ 42 h 48"/>
                      <a:gd name="T14" fmla="*/ 50 w 111"/>
                      <a:gd name="T15" fmla="*/ 34 h 48"/>
                      <a:gd name="T16" fmla="*/ 28 w 111"/>
                      <a:gd name="T17" fmla="*/ 22 h 48"/>
                      <a:gd name="T18" fmla="*/ 14 w 111"/>
                      <a:gd name="T19" fmla="*/ 13 h 48"/>
                      <a:gd name="T20" fmla="*/ 1 w 111"/>
                      <a:gd name="T21" fmla="*/ 13 h 48"/>
                      <a:gd name="T22" fmla="*/ 0 w 111"/>
                      <a:gd name="T23" fmla="*/ 8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11" h="48">
                        <a:moveTo>
                          <a:pt x="0" y="8"/>
                        </a:moveTo>
                        <a:cubicBezTo>
                          <a:pt x="0" y="8"/>
                          <a:pt x="7" y="0"/>
                          <a:pt x="17" y="1"/>
                        </a:cubicBezTo>
                        <a:cubicBezTo>
                          <a:pt x="27" y="2"/>
                          <a:pt x="30" y="5"/>
                          <a:pt x="42" y="11"/>
                        </a:cubicBezTo>
                        <a:cubicBezTo>
                          <a:pt x="54" y="16"/>
                          <a:pt x="62" y="11"/>
                          <a:pt x="75" y="12"/>
                        </a:cubicBezTo>
                        <a:cubicBezTo>
                          <a:pt x="88" y="13"/>
                          <a:pt x="92" y="17"/>
                          <a:pt x="94" y="19"/>
                        </a:cubicBezTo>
                        <a:cubicBezTo>
                          <a:pt x="102" y="24"/>
                          <a:pt x="111" y="34"/>
                          <a:pt x="111" y="34"/>
                        </a:cubicBezTo>
                        <a:cubicBezTo>
                          <a:pt x="111" y="34"/>
                          <a:pt x="94" y="48"/>
                          <a:pt x="79" y="42"/>
                        </a:cubicBezTo>
                        <a:cubicBezTo>
                          <a:pt x="74" y="40"/>
                          <a:pt x="66" y="31"/>
                          <a:pt x="50" y="34"/>
                        </a:cubicBezTo>
                        <a:cubicBezTo>
                          <a:pt x="39" y="36"/>
                          <a:pt x="33" y="29"/>
                          <a:pt x="28" y="22"/>
                        </a:cubicBezTo>
                        <a:cubicBezTo>
                          <a:pt x="25" y="18"/>
                          <a:pt x="19" y="14"/>
                          <a:pt x="14" y="13"/>
                        </a:cubicBezTo>
                        <a:cubicBezTo>
                          <a:pt x="9" y="11"/>
                          <a:pt x="1" y="13"/>
                          <a:pt x="1" y="13"/>
                        </a:cubicBez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" name="Freeform 273">
                    <a:extLst>
                      <a:ext uri="{FF2B5EF4-FFF2-40B4-BE49-F238E27FC236}">
                        <a16:creationId xmlns:a16="http://schemas.microsoft.com/office/drawing/2014/main" id="{9B15002A-147B-911A-00BA-1715C8FE849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8617" y="4868864"/>
                    <a:ext cx="7938" cy="15875"/>
                  </a:xfrm>
                  <a:custGeom>
                    <a:avLst/>
                    <a:gdLst>
                      <a:gd name="T0" fmla="*/ 1 w 4"/>
                      <a:gd name="T1" fmla="*/ 6 h 8"/>
                      <a:gd name="T2" fmla="*/ 3 w 4"/>
                      <a:gd name="T3" fmla="*/ 8 h 8"/>
                      <a:gd name="T4" fmla="*/ 4 w 4"/>
                      <a:gd name="T5" fmla="*/ 5 h 8"/>
                      <a:gd name="T6" fmla="*/ 3 w 4"/>
                      <a:gd name="T7" fmla="*/ 2 h 8"/>
                      <a:gd name="T8" fmla="*/ 1 w 4"/>
                      <a:gd name="T9" fmla="*/ 0 h 8"/>
                      <a:gd name="T10" fmla="*/ 0 w 4"/>
                      <a:gd name="T11" fmla="*/ 2 h 8"/>
                      <a:gd name="T12" fmla="*/ 1 w 4"/>
                      <a:gd name="T13" fmla="*/ 6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" h="8">
                        <a:moveTo>
                          <a:pt x="1" y="6"/>
                        </a:moveTo>
                        <a:cubicBezTo>
                          <a:pt x="1" y="7"/>
                          <a:pt x="2" y="8"/>
                          <a:pt x="3" y="8"/>
                        </a:cubicBezTo>
                        <a:cubicBezTo>
                          <a:pt x="4" y="7"/>
                          <a:pt x="4" y="6"/>
                          <a:pt x="4" y="5"/>
                        </a:cubicBezTo>
                        <a:cubicBezTo>
                          <a:pt x="3" y="2"/>
                          <a:pt x="3" y="2"/>
                          <a:pt x="3" y="2"/>
                        </a:cubicBezTo>
                        <a:cubicBezTo>
                          <a:pt x="3" y="1"/>
                          <a:pt x="2" y="0"/>
                          <a:pt x="1" y="0"/>
                        </a:cubicBezTo>
                        <a:cubicBezTo>
                          <a:pt x="0" y="1"/>
                          <a:pt x="0" y="1"/>
                          <a:pt x="0" y="2"/>
                        </a:cubicBezTo>
                        <a:lnTo>
                          <a:pt x="1" y="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" name="Freeform 274">
                    <a:extLst>
                      <a:ext uri="{FF2B5EF4-FFF2-40B4-BE49-F238E27FC236}">
                        <a16:creationId xmlns:a16="http://schemas.microsoft.com/office/drawing/2014/main" id="{13FB30F4-CCB7-439A-EF91-10B3EE9FF93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7505" y="4951414"/>
                    <a:ext cx="50800" cy="150813"/>
                  </a:xfrm>
                  <a:custGeom>
                    <a:avLst/>
                    <a:gdLst>
                      <a:gd name="T0" fmla="*/ 8 w 26"/>
                      <a:gd name="T1" fmla="*/ 0 h 77"/>
                      <a:gd name="T2" fmla="*/ 1 w 26"/>
                      <a:gd name="T3" fmla="*/ 34 h 77"/>
                      <a:gd name="T4" fmla="*/ 26 w 26"/>
                      <a:gd name="T5" fmla="*/ 77 h 77"/>
                      <a:gd name="T6" fmla="*/ 12 w 26"/>
                      <a:gd name="T7" fmla="*/ 31 h 77"/>
                      <a:gd name="T8" fmla="*/ 5 w 26"/>
                      <a:gd name="T9" fmla="*/ 28 h 77"/>
                      <a:gd name="T10" fmla="*/ 12 w 26"/>
                      <a:gd name="T11" fmla="*/ 23 h 77"/>
                      <a:gd name="T12" fmla="*/ 12 w 26"/>
                      <a:gd name="T13" fmla="*/ 1 h 77"/>
                      <a:gd name="T14" fmla="*/ 8 w 26"/>
                      <a:gd name="T15" fmla="*/ 0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6" h="77">
                        <a:moveTo>
                          <a:pt x="8" y="0"/>
                        </a:moveTo>
                        <a:cubicBezTo>
                          <a:pt x="8" y="0"/>
                          <a:pt x="0" y="15"/>
                          <a:pt x="1" y="34"/>
                        </a:cubicBezTo>
                        <a:cubicBezTo>
                          <a:pt x="2" y="54"/>
                          <a:pt x="22" y="73"/>
                          <a:pt x="26" y="77"/>
                        </a:cubicBezTo>
                        <a:cubicBezTo>
                          <a:pt x="16" y="59"/>
                          <a:pt x="12" y="31"/>
                          <a:pt x="12" y="31"/>
                        </a:cubicBezTo>
                        <a:cubicBezTo>
                          <a:pt x="5" y="28"/>
                          <a:pt x="5" y="28"/>
                          <a:pt x="5" y="28"/>
                        </a:cubicBezTo>
                        <a:cubicBezTo>
                          <a:pt x="12" y="23"/>
                          <a:pt x="12" y="23"/>
                          <a:pt x="12" y="23"/>
                        </a:cubicBezTo>
                        <a:cubicBezTo>
                          <a:pt x="12" y="1"/>
                          <a:pt x="12" y="1"/>
                          <a:pt x="12" y="1"/>
                        </a:cubicBezTo>
                        <a:lnTo>
                          <a:pt x="8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" name="Freeform 275">
                    <a:extLst>
                      <a:ext uri="{FF2B5EF4-FFF2-40B4-BE49-F238E27FC236}">
                        <a16:creationId xmlns:a16="http://schemas.microsoft.com/office/drawing/2014/main" id="{74090CDD-5212-59D0-0F32-BED9F745488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87317" y="5113339"/>
                    <a:ext cx="174625" cy="79375"/>
                  </a:xfrm>
                  <a:custGeom>
                    <a:avLst/>
                    <a:gdLst>
                      <a:gd name="T0" fmla="*/ 1 w 110"/>
                      <a:gd name="T1" fmla="*/ 0 h 50"/>
                      <a:gd name="T2" fmla="*/ 110 w 110"/>
                      <a:gd name="T3" fmla="*/ 22 h 50"/>
                      <a:gd name="T4" fmla="*/ 95 w 110"/>
                      <a:gd name="T5" fmla="*/ 50 h 50"/>
                      <a:gd name="T6" fmla="*/ 0 w 110"/>
                      <a:gd name="T7" fmla="*/ 12 h 50"/>
                      <a:gd name="T8" fmla="*/ 1 w 110"/>
                      <a:gd name="T9" fmla="*/ 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0" h="50">
                        <a:moveTo>
                          <a:pt x="1" y="0"/>
                        </a:moveTo>
                        <a:lnTo>
                          <a:pt x="110" y="22"/>
                        </a:lnTo>
                        <a:lnTo>
                          <a:pt x="95" y="50"/>
                        </a:lnTo>
                        <a:lnTo>
                          <a:pt x="0" y="12"/>
                        </a:ln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" name="Freeform 276">
                    <a:extLst>
                      <a:ext uri="{FF2B5EF4-FFF2-40B4-BE49-F238E27FC236}">
                        <a16:creationId xmlns:a16="http://schemas.microsoft.com/office/drawing/2014/main" id="{A45A07D2-8A6B-F123-0FAC-64D331A2329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77805" y="4949826"/>
                    <a:ext cx="252413" cy="258763"/>
                  </a:xfrm>
                  <a:custGeom>
                    <a:avLst/>
                    <a:gdLst>
                      <a:gd name="T0" fmla="*/ 7 w 128"/>
                      <a:gd name="T1" fmla="*/ 93 h 132"/>
                      <a:gd name="T2" fmla="*/ 49 w 128"/>
                      <a:gd name="T3" fmla="*/ 102 h 132"/>
                      <a:gd name="T4" fmla="*/ 91 w 128"/>
                      <a:gd name="T5" fmla="*/ 24 h 132"/>
                      <a:gd name="T6" fmla="*/ 121 w 128"/>
                      <a:gd name="T7" fmla="*/ 53 h 132"/>
                      <a:gd name="T8" fmla="*/ 70 w 128"/>
                      <a:gd name="T9" fmla="*/ 119 h 132"/>
                      <a:gd name="T10" fmla="*/ 38 w 128"/>
                      <a:gd name="T11" fmla="*/ 127 h 132"/>
                      <a:gd name="T12" fmla="*/ 0 w 128"/>
                      <a:gd name="T13" fmla="*/ 112 h 132"/>
                      <a:gd name="T14" fmla="*/ 7 w 128"/>
                      <a:gd name="T15" fmla="*/ 93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8" h="132">
                        <a:moveTo>
                          <a:pt x="7" y="93"/>
                        </a:moveTo>
                        <a:cubicBezTo>
                          <a:pt x="49" y="102"/>
                          <a:pt x="49" y="102"/>
                          <a:pt x="49" y="102"/>
                        </a:cubicBezTo>
                        <a:cubicBezTo>
                          <a:pt x="49" y="102"/>
                          <a:pt x="81" y="54"/>
                          <a:pt x="91" y="24"/>
                        </a:cubicBezTo>
                        <a:cubicBezTo>
                          <a:pt x="109" y="0"/>
                          <a:pt x="128" y="26"/>
                          <a:pt x="121" y="53"/>
                        </a:cubicBezTo>
                        <a:cubicBezTo>
                          <a:pt x="101" y="86"/>
                          <a:pt x="82" y="108"/>
                          <a:pt x="70" y="119"/>
                        </a:cubicBezTo>
                        <a:cubicBezTo>
                          <a:pt x="55" y="132"/>
                          <a:pt x="38" y="127"/>
                          <a:pt x="38" y="127"/>
                        </a:cubicBezTo>
                        <a:cubicBezTo>
                          <a:pt x="38" y="127"/>
                          <a:pt x="14" y="117"/>
                          <a:pt x="0" y="112"/>
                        </a:cubicBezTo>
                        <a:lnTo>
                          <a:pt x="7" y="93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" name="Freeform 278">
                    <a:extLst>
                      <a:ext uri="{FF2B5EF4-FFF2-40B4-BE49-F238E27FC236}">
                        <a16:creationId xmlns:a16="http://schemas.microsoft.com/office/drawing/2014/main" id="{DAB7486D-8FAE-D0DB-8344-182AD3AC805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12705" y="5087939"/>
                    <a:ext cx="79375" cy="46038"/>
                  </a:xfrm>
                  <a:custGeom>
                    <a:avLst/>
                    <a:gdLst>
                      <a:gd name="T0" fmla="*/ 40 w 40"/>
                      <a:gd name="T1" fmla="*/ 14 h 24"/>
                      <a:gd name="T2" fmla="*/ 31 w 40"/>
                      <a:gd name="T3" fmla="*/ 9 h 24"/>
                      <a:gd name="T4" fmla="*/ 24 w 40"/>
                      <a:gd name="T5" fmla="*/ 4 h 24"/>
                      <a:gd name="T6" fmla="*/ 21 w 40"/>
                      <a:gd name="T7" fmla="*/ 2 h 24"/>
                      <a:gd name="T8" fmla="*/ 4 w 40"/>
                      <a:gd name="T9" fmla="*/ 1 h 24"/>
                      <a:gd name="T10" fmla="*/ 4 w 40"/>
                      <a:gd name="T11" fmla="*/ 2 h 24"/>
                      <a:gd name="T12" fmla="*/ 12 w 40"/>
                      <a:gd name="T13" fmla="*/ 4 h 24"/>
                      <a:gd name="T14" fmla="*/ 1 w 40"/>
                      <a:gd name="T15" fmla="*/ 7 h 24"/>
                      <a:gd name="T16" fmla="*/ 3 w 40"/>
                      <a:gd name="T17" fmla="*/ 9 h 24"/>
                      <a:gd name="T18" fmla="*/ 11 w 40"/>
                      <a:gd name="T19" fmla="*/ 8 h 24"/>
                      <a:gd name="T20" fmla="*/ 25 w 40"/>
                      <a:gd name="T21" fmla="*/ 20 h 24"/>
                      <a:gd name="T22" fmla="*/ 19 w 40"/>
                      <a:gd name="T23" fmla="*/ 21 h 24"/>
                      <a:gd name="T24" fmla="*/ 22 w 40"/>
                      <a:gd name="T25" fmla="*/ 24 h 24"/>
                      <a:gd name="T26" fmla="*/ 39 w 40"/>
                      <a:gd name="T27" fmla="*/ 23 h 24"/>
                      <a:gd name="T28" fmla="*/ 40 w 40"/>
                      <a:gd name="T29" fmla="*/ 14 h 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0" h="24">
                        <a:moveTo>
                          <a:pt x="40" y="14"/>
                        </a:moveTo>
                        <a:cubicBezTo>
                          <a:pt x="40" y="14"/>
                          <a:pt x="35" y="12"/>
                          <a:pt x="31" y="9"/>
                        </a:cubicBezTo>
                        <a:cubicBezTo>
                          <a:pt x="28" y="7"/>
                          <a:pt x="24" y="4"/>
                          <a:pt x="24" y="4"/>
                        </a:cubicBezTo>
                        <a:cubicBezTo>
                          <a:pt x="24" y="4"/>
                          <a:pt x="23" y="3"/>
                          <a:pt x="21" y="2"/>
                        </a:cubicBezTo>
                        <a:cubicBezTo>
                          <a:pt x="20" y="1"/>
                          <a:pt x="12" y="0"/>
                          <a:pt x="4" y="1"/>
                        </a:cubicBezTo>
                        <a:cubicBezTo>
                          <a:pt x="3" y="1"/>
                          <a:pt x="3" y="2"/>
                          <a:pt x="4" y="2"/>
                        </a:cubicBezTo>
                        <a:cubicBezTo>
                          <a:pt x="5" y="3"/>
                          <a:pt x="12" y="4"/>
                          <a:pt x="12" y="4"/>
                        </a:cubicBezTo>
                        <a:cubicBezTo>
                          <a:pt x="12" y="4"/>
                          <a:pt x="3" y="6"/>
                          <a:pt x="1" y="7"/>
                        </a:cubicBezTo>
                        <a:cubicBezTo>
                          <a:pt x="0" y="7"/>
                          <a:pt x="1" y="9"/>
                          <a:pt x="3" y="9"/>
                        </a:cubicBezTo>
                        <a:cubicBezTo>
                          <a:pt x="4" y="9"/>
                          <a:pt x="11" y="8"/>
                          <a:pt x="11" y="8"/>
                        </a:cubicBezTo>
                        <a:cubicBezTo>
                          <a:pt x="25" y="20"/>
                          <a:pt x="25" y="20"/>
                          <a:pt x="25" y="20"/>
                        </a:cubicBezTo>
                        <a:cubicBezTo>
                          <a:pt x="19" y="21"/>
                          <a:pt x="19" y="21"/>
                          <a:pt x="19" y="21"/>
                        </a:cubicBezTo>
                        <a:cubicBezTo>
                          <a:pt x="22" y="24"/>
                          <a:pt x="22" y="24"/>
                          <a:pt x="22" y="24"/>
                        </a:cubicBezTo>
                        <a:cubicBezTo>
                          <a:pt x="22" y="24"/>
                          <a:pt x="30" y="24"/>
                          <a:pt x="39" y="23"/>
                        </a:cubicBezTo>
                        <a:lnTo>
                          <a:pt x="40" y="14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" name="Freeform 279">
                    <a:extLst>
                      <a:ext uri="{FF2B5EF4-FFF2-40B4-BE49-F238E27FC236}">
                        <a16:creationId xmlns:a16="http://schemas.microsoft.com/office/drawing/2014/main" id="{0D925157-4ED6-698E-6434-049E4D82AAA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2405" y="5707064"/>
                    <a:ext cx="63500" cy="38100"/>
                  </a:xfrm>
                  <a:custGeom>
                    <a:avLst/>
                    <a:gdLst>
                      <a:gd name="T0" fmla="*/ 11 w 32"/>
                      <a:gd name="T1" fmla="*/ 9 h 19"/>
                      <a:gd name="T2" fmla="*/ 2 w 32"/>
                      <a:gd name="T3" fmla="*/ 11 h 19"/>
                      <a:gd name="T4" fmla="*/ 1 w 32"/>
                      <a:gd name="T5" fmla="*/ 14 h 19"/>
                      <a:gd name="T6" fmla="*/ 13 w 32"/>
                      <a:gd name="T7" fmla="*/ 16 h 19"/>
                      <a:gd name="T8" fmla="*/ 23 w 32"/>
                      <a:gd name="T9" fmla="*/ 10 h 19"/>
                      <a:gd name="T10" fmla="*/ 22 w 32"/>
                      <a:gd name="T11" fmla="*/ 18 h 19"/>
                      <a:gd name="T12" fmla="*/ 26 w 32"/>
                      <a:gd name="T13" fmla="*/ 19 h 19"/>
                      <a:gd name="T14" fmla="*/ 30 w 32"/>
                      <a:gd name="T15" fmla="*/ 6 h 19"/>
                      <a:gd name="T16" fmla="*/ 31 w 32"/>
                      <a:gd name="T17" fmla="*/ 0 h 19"/>
                      <a:gd name="T18" fmla="*/ 23 w 32"/>
                      <a:gd name="T19" fmla="*/ 5 h 19"/>
                      <a:gd name="T20" fmla="*/ 11 w 32"/>
                      <a:gd name="T21" fmla="*/ 9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2" h="19">
                        <a:moveTo>
                          <a:pt x="11" y="9"/>
                        </a:moveTo>
                        <a:cubicBezTo>
                          <a:pt x="8" y="9"/>
                          <a:pt x="3" y="11"/>
                          <a:pt x="2" y="11"/>
                        </a:cubicBezTo>
                        <a:cubicBezTo>
                          <a:pt x="0" y="11"/>
                          <a:pt x="1" y="14"/>
                          <a:pt x="1" y="14"/>
                        </a:cubicBezTo>
                        <a:cubicBezTo>
                          <a:pt x="1" y="14"/>
                          <a:pt x="11" y="15"/>
                          <a:pt x="13" y="16"/>
                        </a:cubicBezTo>
                        <a:cubicBezTo>
                          <a:pt x="15" y="16"/>
                          <a:pt x="23" y="10"/>
                          <a:pt x="23" y="10"/>
                        </a:cubicBezTo>
                        <a:cubicBezTo>
                          <a:pt x="22" y="18"/>
                          <a:pt x="22" y="18"/>
                          <a:pt x="22" y="18"/>
                        </a:cubicBezTo>
                        <a:cubicBezTo>
                          <a:pt x="26" y="19"/>
                          <a:pt x="26" y="19"/>
                          <a:pt x="26" y="19"/>
                        </a:cubicBezTo>
                        <a:cubicBezTo>
                          <a:pt x="26" y="19"/>
                          <a:pt x="28" y="12"/>
                          <a:pt x="30" y="6"/>
                        </a:cubicBezTo>
                        <a:cubicBezTo>
                          <a:pt x="32" y="3"/>
                          <a:pt x="31" y="0"/>
                          <a:pt x="31" y="0"/>
                        </a:cubicBezTo>
                        <a:cubicBezTo>
                          <a:pt x="31" y="0"/>
                          <a:pt x="29" y="0"/>
                          <a:pt x="23" y="5"/>
                        </a:cubicBezTo>
                        <a:cubicBezTo>
                          <a:pt x="17" y="11"/>
                          <a:pt x="13" y="9"/>
                          <a:pt x="11" y="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7" name="Freeform 179">
                  <a:extLst>
                    <a:ext uri="{FF2B5EF4-FFF2-40B4-BE49-F238E27FC236}">
                      <a16:creationId xmlns:a16="http://schemas.microsoft.com/office/drawing/2014/main" id="{E0B7C43D-1977-E318-F794-0FB829A0B69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81113" y="4808808"/>
                  <a:ext cx="566968" cy="273800"/>
                </a:xfrm>
                <a:custGeom>
                  <a:avLst/>
                  <a:gdLst>
                    <a:gd name="T0" fmla="*/ 262 w 551"/>
                    <a:gd name="T1" fmla="*/ 0 h 266"/>
                    <a:gd name="T2" fmla="*/ 238 w 551"/>
                    <a:gd name="T3" fmla="*/ 1 h 266"/>
                    <a:gd name="T4" fmla="*/ 240 w 551"/>
                    <a:gd name="T5" fmla="*/ 6 h 266"/>
                    <a:gd name="T6" fmla="*/ 264 w 551"/>
                    <a:gd name="T7" fmla="*/ 12 h 266"/>
                    <a:gd name="T8" fmla="*/ 282 w 551"/>
                    <a:gd name="T9" fmla="*/ 24 h 266"/>
                    <a:gd name="T10" fmla="*/ 281 w 551"/>
                    <a:gd name="T11" fmla="*/ 24 h 266"/>
                    <a:gd name="T12" fmla="*/ 280 w 551"/>
                    <a:gd name="T13" fmla="*/ 111 h 266"/>
                    <a:gd name="T14" fmla="*/ 218 w 551"/>
                    <a:gd name="T15" fmla="*/ 100 h 266"/>
                    <a:gd name="T16" fmla="*/ 166 w 551"/>
                    <a:gd name="T17" fmla="*/ 128 h 266"/>
                    <a:gd name="T18" fmla="*/ 94 w 551"/>
                    <a:gd name="T19" fmla="*/ 246 h 266"/>
                    <a:gd name="T20" fmla="*/ 0 w 551"/>
                    <a:gd name="T21" fmla="*/ 266 h 266"/>
                    <a:gd name="T22" fmla="*/ 224 w 551"/>
                    <a:gd name="T23" fmla="*/ 266 h 266"/>
                    <a:gd name="T24" fmla="*/ 241 w 551"/>
                    <a:gd name="T25" fmla="*/ 240 h 266"/>
                    <a:gd name="T26" fmla="*/ 212 w 551"/>
                    <a:gd name="T27" fmla="*/ 236 h 266"/>
                    <a:gd name="T28" fmla="*/ 217 w 551"/>
                    <a:gd name="T29" fmla="*/ 156 h 266"/>
                    <a:gd name="T30" fmla="*/ 280 w 551"/>
                    <a:gd name="T31" fmla="*/ 166 h 266"/>
                    <a:gd name="T32" fmla="*/ 279 w 551"/>
                    <a:gd name="T33" fmla="*/ 266 h 266"/>
                    <a:gd name="T34" fmla="*/ 364 w 551"/>
                    <a:gd name="T35" fmla="*/ 266 h 266"/>
                    <a:gd name="T36" fmla="*/ 348 w 551"/>
                    <a:gd name="T37" fmla="*/ 167 h 266"/>
                    <a:gd name="T38" fmla="*/ 451 w 551"/>
                    <a:gd name="T39" fmla="*/ 166 h 266"/>
                    <a:gd name="T40" fmla="*/ 510 w 551"/>
                    <a:gd name="T41" fmla="*/ 167 h 266"/>
                    <a:gd name="T42" fmla="*/ 519 w 551"/>
                    <a:gd name="T43" fmla="*/ 168 h 266"/>
                    <a:gd name="T44" fmla="*/ 521 w 551"/>
                    <a:gd name="T45" fmla="*/ 168 h 266"/>
                    <a:gd name="T46" fmla="*/ 545 w 551"/>
                    <a:gd name="T47" fmla="*/ 168 h 266"/>
                    <a:gd name="T48" fmla="*/ 546 w 551"/>
                    <a:gd name="T49" fmla="*/ 160 h 266"/>
                    <a:gd name="T50" fmla="*/ 532 w 551"/>
                    <a:gd name="T51" fmla="*/ 158 h 266"/>
                    <a:gd name="T52" fmla="*/ 548 w 551"/>
                    <a:gd name="T53" fmla="*/ 143 h 266"/>
                    <a:gd name="T54" fmla="*/ 551 w 551"/>
                    <a:gd name="T55" fmla="*/ 121 h 266"/>
                    <a:gd name="T56" fmla="*/ 548 w 551"/>
                    <a:gd name="T57" fmla="*/ 119 h 266"/>
                    <a:gd name="T58" fmla="*/ 545 w 551"/>
                    <a:gd name="T59" fmla="*/ 121 h 266"/>
                    <a:gd name="T60" fmla="*/ 537 w 551"/>
                    <a:gd name="T61" fmla="*/ 135 h 266"/>
                    <a:gd name="T62" fmla="*/ 511 w 551"/>
                    <a:gd name="T63" fmla="*/ 150 h 266"/>
                    <a:gd name="T64" fmla="*/ 338 w 551"/>
                    <a:gd name="T65" fmla="*/ 121 h 266"/>
                    <a:gd name="T66" fmla="*/ 315 w 551"/>
                    <a:gd name="T67" fmla="*/ 27 h 266"/>
                    <a:gd name="T68" fmla="*/ 306 w 551"/>
                    <a:gd name="T69" fmla="*/ 25 h 266"/>
                    <a:gd name="T70" fmla="*/ 306 w 551"/>
                    <a:gd name="T71" fmla="*/ 22 h 266"/>
                    <a:gd name="T72" fmla="*/ 306 w 551"/>
                    <a:gd name="T73" fmla="*/ 0 h 266"/>
                    <a:gd name="T74" fmla="*/ 288 w 551"/>
                    <a:gd name="T75" fmla="*/ 0 h 266"/>
                    <a:gd name="T76" fmla="*/ 287 w 551"/>
                    <a:gd name="T77" fmla="*/ 8 h 266"/>
                    <a:gd name="T78" fmla="*/ 262 w 551"/>
                    <a:gd name="T79" fmla="*/ 0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551" h="266">
                      <a:moveTo>
                        <a:pt x="262" y="0"/>
                      </a:moveTo>
                      <a:cubicBezTo>
                        <a:pt x="238" y="1"/>
                        <a:pt x="238" y="1"/>
                        <a:pt x="238" y="1"/>
                      </a:cubicBezTo>
                      <a:cubicBezTo>
                        <a:pt x="238" y="1"/>
                        <a:pt x="235" y="5"/>
                        <a:pt x="240" y="6"/>
                      </a:cubicBezTo>
                      <a:cubicBezTo>
                        <a:pt x="241" y="6"/>
                        <a:pt x="264" y="12"/>
                        <a:pt x="264" y="12"/>
                      </a:cubicBezTo>
                      <a:cubicBezTo>
                        <a:pt x="282" y="24"/>
                        <a:pt x="282" y="24"/>
                        <a:pt x="282" y="24"/>
                      </a:cubicBezTo>
                      <a:cubicBezTo>
                        <a:pt x="281" y="24"/>
                        <a:pt x="281" y="24"/>
                        <a:pt x="281" y="24"/>
                      </a:cubicBezTo>
                      <a:cubicBezTo>
                        <a:pt x="280" y="111"/>
                        <a:pt x="280" y="111"/>
                        <a:pt x="280" y="111"/>
                      </a:cubicBezTo>
                      <a:cubicBezTo>
                        <a:pt x="218" y="100"/>
                        <a:pt x="218" y="100"/>
                        <a:pt x="218" y="100"/>
                      </a:cubicBezTo>
                      <a:cubicBezTo>
                        <a:pt x="218" y="100"/>
                        <a:pt x="187" y="101"/>
                        <a:pt x="166" y="128"/>
                      </a:cubicBezTo>
                      <a:cubicBezTo>
                        <a:pt x="163" y="132"/>
                        <a:pt x="129" y="188"/>
                        <a:pt x="94" y="246"/>
                      </a:cubicBezTo>
                      <a:cubicBezTo>
                        <a:pt x="63" y="251"/>
                        <a:pt x="31" y="258"/>
                        <a:pt x="0" y="266"/>
                      </a:cubicBezTo>
                      <a:cubicBezTo>
                        <a:pt x="224" y="266"/>
                        <a:pt x="224" y="266"/>
                        <a:pt x="224" y="266"/>
                      </a:cubicBezTo>
                      <a:cubicBezTo>
                        <a:pt x="228" y="258"/>
                        <a:pt x="233" y="249"/>
                        <a:pt x="241" y="240"/>
                      </a:cubicBezTo>
                      <a:cubicBezTo>
                        <a:pt x="234" y="238"/>
                        <a:pt x="224" y="237"/>
                        <a:pt x="212" y="236"/>
                      </a:cubicBezTo>
                      <a:cubicBezTo>
                        <a:pt x="215" y="205"/>
                        <a:pt x="216" y="176"/>
                        <a:pt x="217" y="156"/>
                      </a:cubicBezTo>
                      <a:cubicBezTo>
                        <a:pt x="224" y="162"/>
                        <a:pt x="248" y="165"/>
                        <a:pt x="280" y="166"/>
                      </a:cubicBezTo>
                      <a:cubicBezTo>
                        <a:pt x="279" y="266"/>
                        <a:pt x="279" y="266"/>
                        <a:pt x="279" y="266"/>
                      </a:cubicBezTo>
                      <a:cubicBezTo>
                        <a:pt x="364" y="266"/>
                        <a:pt x="364" y="266"/>
                        <a:pt x="364" y="266"/>
                      </a:cubicBezTo>
                      <a:cubicBezTo>
                        <a:pt x="362" y="236"/>
                        <a:pt x="356" y="201"/>
                        <a:pt x="348" y="167"/>
                      </a:cubicBezTo>
                      <a:cubicBezTo>
                        <a:pt x="382" y="166"/>
                        <a:pt x="417" y="166"/>
                        <a:pt x="451" y="166"/>
                      </a:cubicBezTo>
                      <a:cubicBezTo>
                        <a:pt x="472" y="166"/>
                        <a:pt x="492" y="166"/>
                        <a:pt x="510" y="167"/>
                      </a:cubicBezTo>
                      <a:cubicBezTo>
                        <a:pt x="510" y="167"/>
                        <a:pt x="514" y="168"/>
                        <a:pt x="519" y="168"/>
                      </a:cubicBezTo>
                      <a:cubicBezTo>
                        <a:pt x="520" y="168"/>
                        <a:pt x="520" y="168"/>
                        <a:pt x="521" y="168"/>
                      </a:cubicBezTo>
                      <a:cubicBezTo>
                        <a:pt x="532" y="168"/>
                        <a:pt x="545" y="168"/>
                        <a:pt x="545" y="168"/>
                      </a:cubicBezTo>
                      <a:cubicBezTo>
                        <a:pt x="546" y="160"/>
                        <a:pt x="546" y="160"/>
                        <a:pt x="546" y="160"/>
                      </a:cubicBezTo>
                      <a:cubicBezTo>
                        <a:pt x="532" y="158"/>
                        <a:pt x="532" y="158"/>
                        <a:pt x="532" y="158"/>
                      </a:cubicBezTo>
                      <a:cubicBezTo>
                        <a:pt x="532" y="158"/>
                        <a:pt x="547" y="147"/>
                        <a:pt x="548" y="143"/>
                      </a:cubicBezTo>
                      <a:cubicBezTo>
                        <a:pt x="548" y="139"/>
                        <a:pt x="551" y="121"/>
                        <a:pt x="551" y="121"/>
                      </a:cubicBezTo>
                      <a:cubicBezTo>
                        <a:pt x="551" y="121"/>
                        <a:pt x="549" y="119"/>
                        <a:pt x="548" y="119"/>
                      </a:cubicBezTo>
                      <a:cubicBezTo>
                        <a:pt x="547" y="119"/>
                        <a:pt x="546" y="120"/>
                        <a:pt x="545" y="121"/>
                      </a:cubicBezTo>
                      <a:cubicBezTo>
                        <a:pt x="545" y="123"/>
                        <a:pt x="539" y="131"/>
                        <a:pt x="537" y="135"/>
                      </a:cubicBezTo>
                      <a:cubicBezTo>
                        <a:pt x="511" y="150"/>
                        <a:pt x="511" y="150"/>
                        <a:pt x="511" y="150"/>
                      </a:cubicBezTo>
                      <a:cubicBezTo>
                        <a:pt x="338" y="121"/>
                        <a:pt x="338" y="121"/>
                        <a:pt x="338" y="121"/>
                      </a:cubicBezTo>
                      <a:cubicBezTo>
                        <a:pt x="326" y="73"/>
                        <a:pt x="315" y="27"/>
                        <a:pt x="315" y="27"/>
                      </a:cubicBezTo>
                      <a:cubicBezTo>
                        <a:pt x="306" y="25"/>
                        <a:pt x="306" y="25"/>
                        <a:pt x="306" y="25"/>
                      </a:cubicBezTo>
                      <a:cubicBezTo>
                        <a:pt x="306" y="22"/>
                        <a:pt x="306" y="22"/>
                        <a:pt x="306" y="22"/>
                      </a:cubicBezTo>
                      <a:cubicBezTo>
                        <a:pt x="306" y="0"/>
                        <a:pt x="306" y="0"/>
                        <a:pt x="306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87" y="8"/>
                        <a:pt x="287" y="8"/>
                        <a:pt x="287" y="8"/>
                      </a:cubicBezTo>
                      <a:cubicBezTo>
                        <a:pt x="262" y="0"/>
                        <a:pt x="262" y="0"/>
                        <a:pt x="262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8" name="Freeform 178">
                  <a:extLst>
                    <a:ext uri="{FF2B5EF4-FFF2-40B4-BE49-F238E27FC236}">
                      <a16:creationId xmlns:a16="http://schemas.microsoft.com/office/drawing/2014/main" id="{58C836AA-AD36-552C-8E56-190168C24A9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695018" y="4798755"/>
                  <a:ext cx="340636" cy="295218"/>
                </a:xfrm>
                <a:custGeom>
                  <a:avLst/>
                  <a:gdLst>
                    <a:gd name="T0" fmla="*/ 214 w 308"/>
                    <a:gd name="T1" fmla="*/ 0 h 267"/>
                    <a:gd name="T2" fmla="*/ 208 w 308"/>
                    <a:gd name="T3" fmla="*/ 1 h 267"/>
                    <a:gd name="T4" fmla="*/ 210 w 308"/>
                    <a:gd name="T5" fmla="*/ 13 h 267"/>
                    <a:gd name="T6" fmla="*/ 195 w 308"/>
                    <a:gd name="T7" fmla="*/ 4 h 267"/>
                    <a:gd name="T8" fmla="*/ 194 w 308"/>
                    <a:gd name="T9" fmla="*/ 4 h 267"/>
                    <a:gd name="T10" fmla="*/ 175 w 308"/>
                    <a:gd name="T11" fmla="*/ 8 h 267"/>
                    <a:gd name="T12" fmla="*/ 177 w 308"/>
                    <a:gd name="T13" fmla="*/ 12 h 267"/>
                    <a:gd name="T14" fmla="*/ 190 w 308"/>
                    <a:gd name="T15" fmla="*/ 16 h 267"/>
                    <a:gd name="T16" fmla="*/ 210 w 308"/>
                    <a:gd name="T17" fmla="*/ 32 h 267"/>
                    <a:gd name="T18" fmla="*/ 230 w 308"/>
                    <a:gd name="T19" fmla="*/ 190 h 267"/>
                    <a:gd name="T20" fmla="*/ 172 w 308"/>
                    <a:gd name="T21" fmla="*/ 119 h 267"/>
                    <a:gd name="T22" fmla="*/ 124 w 308"/>
                    <a:gd name="T23" fmla="*/ 94 h 267"/>
                    <a:gd name="T24" fmla="*/ 74 w 308"/>
                    <a:gd name="T25" fmla="*/ 128 h 267"/>
                    <a:gd name="T26" fmla="*/ 0 w 308"/>
                    <a:gd name="T27" fmla="*/ 267 h 267"/>
                    <a:gd name="T28" fmla="*/ 135 w 308"/>
                    <a:gd name="T29" fmla="*/ 267 h 267"/>
                    <a:gd name="T30" fmla="*/ 139 w 308"/>
                    <a:gd name="T31" fmla="*/ 192 h 267"/>
                    <a:gd name="T32" fmla="*/ 218 w 308"/>
                    <a:gd name="T33" fmla="*/ 267 h 267"/>
                    <a:gd name="T34" fmla="*/ 308 w 308"/>
                    <a:gd name="T35" fmla="*/ 267 h 267"/>
                    <a:gd name="T36" fmla="*/ 223 w 308"/>
                    <a:gd name="T37" fmla="*/ 29 h 267"/>
                    <a:gd name="T38" fmla="*/ 222 w 308"/>
                    <a:gd name="T39" fmla="*/ 20 h 267"/>
                    <a:gd name="T40" fmla="*/ 214 w 308"/>
                    <a:gd name="T41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08" h="267">
                      <a:moveTo>
                        <a:pt x="214" y="0"/>
                      </a:moveTo>
                      <a:cubicBezTo>
                        <a:pt x="208" y="1"/>
                        <a:pt x="208" y="1"/>
                        <a:pt x="208" y="1"/>
                      </a:cubicBezTo>
                      <a:cubicBezTo>
                        <a:pt x="210" y="13"/>
                        <a:pt x="210" y="13"/>
                        <a:pt x="210" y="13"/>
                      </a:cubicBezTo>
                      <a:cubicBezTo>
                        <a:pt x="210" y="13"/>
                        <a:pt x="198" y="4"/>
                        <a:pt x="195" y="4"/>
                      </a:cubicBezTo>
                      <a:cubicBezTo>
                        <a:pt x="194" y="4"/>
                        <a:pt x="194" y="4"/>
                        <a:pt x="194" y="4"/>
                      </a:cubicBezTo>
                      <a:cubicBezTo>
                        <a:pt x="191" y="5"/>
                        <a:pt x="175" y="8"/>
                        <a:pt x="175" y="8"/>
                      </a:cubicBezTo>
                      <a:cubicBezTo>
                        <a:pt x="175" y="8"/>
                        <a:pt x="173" y="12"/>
                        <a:pt x="177" y="12"/>
                      </a:cubicBezTo>
                      <a:cubicBezTo>
                        <a:pt x="178" y="12"/>
                        <a:pt x="187" y="15"/>
                        <a:pt x="190" y="16"/>
                      </a:cubicBezTo>
                      <a:cubicBezTo>
                        <a:pt x="210" y="32"/>
                        <a:pt x="210" y="32"/>
                        <a:pt x="210" y="32"/>
                      </a:cubicBezTo>
                      <a:cubicBezTo>
                        <a:pt x="230" y="190"/>
                        <a:pt x="230" y="190"/>
                        <a:pt x="230" y="190"/>
                      </a:cubicBezTo>
                      <a:cubicBezTo>
                        <a:pt x="200" y="154"/>
                        <a:pt x="177" y="125"/>
                        <a:pt x="172" y="119"/>
                      </a:cubicBezTo>
                      <a:cubicBezTo>
                        <a:pt x="164" y="107"/>
                        <a:pt x="145" y="94"/>
                        <a:pt x="124" y="94"/>
                      </a:cubicBezTo>
                      <a:cubicBezTo>
                        <a:pt x="107" y="94"/>
                        <a:pt x="89" y="102"/>
                        <a:pt x="74" y="128"/>
                      </a:cubicBezTo>
                      <a:cubicBezTo>
                        <a:pt x="54" y="164"/>
                        <a:pt x="24" y="222"/>
                        <a:pt x="0" y="267"/>
                      </a:cubicBezTo>
                      <a:cubicBezTo>
                        <a:pt x="135" y="267"/>
                        <a:pt x="135" y="267"/>
                        <a:pt x="135" y="267"/>
                      </a:cubicBezTo>
                      <a:cubicBezTo>
                        <a:pt x="138" y="241"/>
                        <a:pt x="139" y="214"/>
                        <a:pt x="139" y="192"/>
                      </a:cubicBezTo>
                      <a:cubicBezTo>
                        <a:pt x="218" y="267"/>
                        <a:pt x="218" y="267"/>
                        <a:pt x="218" y="267"/>
                      </a:cubicBezTo>
                      <a:cubicBezTo>
                        <a:pt x="308" y="267"/>
                        <a:pt x="308" y="267"/>
                        <a:pt x="308" y="267"/>
                      </a:cubicBezTo>
                      <a:cubicBezTo>
                        <a:pt x="297" y="187"/>
                        <a:pt x="223" y="29"/>
                        <a:pt x="223" y="29"/>
                      </a:cubicBezTo>
                      <a:cubicBezTo>
                        <a:pt x="223" y="29"/>
                        <a:pt x="223" y="24"/>
                        <a:pt x="222" y="20"/>
                      </a:cubicBezTo>
                      <a:cubicBezTo>
                        <a:pt x="218" y="11"/>
                        <a:pt x="214" y="0"/>
                        <a:pt x="214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9" name="Freeform 176">
                  <a:extLst>
                    <a:ext uri="{FF2B5EF4-FFF2-40B4-BE49-F238E27FC236}">
                      <a16:creationId xmlns:a16="http://schemas.microsoft.com/office/drawing/2014/main" id="{C6B4691C-D6E7-EFB4-FC20-CD8FB2D9810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36034" y="4916018"/>
                  <a:ext cx="541027" cy="181578"/>
                </a:xfrm>
                <a:custGeom>
                  <a:avLst/>
                  <a:gdLst>
                    <a:gd name="T0" fmla="*/ 91 w 375"/>
                    <a:gd name="T1" fmla="*/ 0 h 126"/>
                    <a:gd name="T2" fmla="*/ 48 w 375"/>
                    <a:gd name="T3" fmla="*/ 25 h 126"/>
                    <a:gd name="T4" fmla="*/ 0 w 375"/>
                    <a:gd name="T5" fmla="*/ 126 h 126"/>
                    <a:gd name="T6" fmla="*/ 88 w 375"/>
                    <a:gd name="T7" fmla="*/ 126 h 126"/>
                    <a:gd name="T8" fmla="*/ 92 w 375"/>
                    <a:gd name="T9" fmla="*/ 48 h 126"/>
                    <a:gd name="T10" fmla="*/ 152 w 375"/>
                    <a:gd name="T11" fmla="*/ 55 h 126"/>
                    <a:gd name="T12" fmla="*/ 240 w 375"/>
                    <a:gd name="T13" fmla="*/ 52 h 126"/>
                    <a:gd name="T14" fmla="*/ 331 w 375"/>
                    <a:gd name="T15" fmla="*/ 50 h 126"/>
                    <a:gd name="T16" fmla="*/ 341 w 375"/>
                    <a:gd name="T17" fmla="*/ 50 h 126"/>
                    <a:gd name="T18" fmla="*/ 349 w 375"/>
                    <a:gd name="T19" fmla="*/ 51 h 126"/>
                    <a:gd name="T20" fmla="*/ 351 w 375"/>
                    <a:gd name="T21" fmla="*/ 51 h 126"/>
                    <a:gd name="T22" fmla="*/ 371 w 375"/>
                    <a:gd name="T23" fmla="*/ 50 h 126"/>
                    <a:gd name="T24" fmla="*/ 372 w 375"/>
                    <a:gd name="T25" fmla="*/ 44 h 126"/>
                    <a:gd name="T26" fmla="*/ 360 w 375"/>
                    <a:gd name="T27" fmla="*/ 42 h 126"/>
                    <a:gd name="T28" fmla="*/ 373 w 375"/>
                    <a:gd name="T29" fmla="*/ 29 h 126"/>
                    <a:gd name="T30" fmla="*/ 375 w 375"/>
                    <a:gd name="T31" fmla="*/ 10 h 126"/>
                    <a:gd name="T32" fmla="*/ 372 w 375"/>
                    <a:gd name="T33" fmla="*/ 9 h 126"/>
                    <a:gd name="T34" fmla="*/ 370 w 375"/>
                    <a:gd name="T35" fmla="*/ 10 h 126"/>
                    <a:gd name="T36" fmla="*/ 363 w 375"/>
                    <a:gd name="T37" fmla="*/ 22 h 126"/>
                    <a:gd name="T38" fmla="*/ 342 w 375"/>
                    <a:gd name="T39" fmla="*/ 36 h 126"/>
                    <a:gd name="T40" fmla="*/ 176 w 375"/>
                    <a:gd name="T41" fmla="*/ 13 h 126"/>
                    <a:gd name="T42" fmla="*/ 91 w 375"/>
                    <a:gd name="T43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75" h="126">
                      <a:moveTo>
                        <a:pt x="91" y="0"/>
                      </a:moveTo>
                      <a:cubicBezTo>
                        <a:pt x="91" y="0"/>
                        <a:pt x="65" y="2"/>
                        <a:pt x="48" y="25"/>
                      </a:cubicBezTo>
                      <a:cubicBezTo>
                        <a:pt x="46" y="29"/>
                        <a:pt x="23" y="76"/>
                        <a:pt x="0" y="126"/>
                      </a:cubicBezTo>
                      <a:cubicBezTo>
                        <a:pt x="88" y="126"/>
                        <a:pt x="88" y="126"/>
                        <a:pt x="88" y="126"/>
                      </a:cubicBezTo>
                      <a:cubicBezTo>
                        <a:pt x="91" y="96"/>
                        <a:pt x="92" y="67"/>
                        <a:pt x="92" y="48"/>
                      </a:cubicBezTo>
                      <a:cubicBezTo>
                        <a:pt x="99" y="53"/>
                        <a:pt x="121" y="55"/>
                        <a:pt x="152" y="55"/>
                      </a:cubicBezTo>
                      <a:cubicBezTo>
                        <a:pt x="177" y="55"/>
                        <a:pt x="208" y="53"/>
                        <a:pt x="240" y="52"/>
                      </a:cubicBezTo>
                      <a:cubicBezTo>
                        <a:pt x="271" y="51"/>
                        <a:pt x="303" y="50"/>
                        <a:pt x="331" y="50"/>
                      </a:cubicBezTo>
                      <a:cubicBezTo>
                        <a:pt x="334" y="50"/>
                        <a:pt x="338" y="50"/>
                        <a:pt x="341" y="50"/>
                      </a:cubicBezTo>
                      <a:cubicBezTo>
                        <a:pt x="341" y="50"/>
                        <a:pt x="345" y="51"/>
                        <a:pt x="349" y="51"/>
                      </a:cubicBezTo>
                      <a:cubicBezTo>
                        <a:pt x="349" y="51"/>
                        <a:pt x="350" y="51"/>
                        <a:pt x="351" y="51"/>
                      </a:cubicBezTo>
                      <a:cubicBezTo>
                        <a:pt x="360" y="50"/>
                        <a:pt x="371" y="50"/>
                        <a:pt x="371" y="50"/>
                      </a:cubicBezTo>
                      <a:cubicBezTo>
                        <a:pt x="372" y="44"/>
                        <a:pt x="372" y="44"/>
                        <a:pt x="372" y="44"/>
                      </a:cubicBezTo>
                      <a:cubicBezTo>
                        <a:pt x="360" y="42"/>
                        <a:pt x="360" y="42"/>
                        <a:pt x="360" y="42"/>
                      </a:cubicBezTo>
                      <a:cubicBezTo>
                        <a:pt x="360" y="42"/>
                        <a:pt x="373" y="33"/>
                        <a:pt x="373" y="29"/>
                      </a:cubicBezTo>
                      <a:cubicBezTo>
                        <a:pt x="373" y="26"/>
                        <a:pt x="375" y="10"/>
                        <a:pt x="375" y="10"/>
                      </a:cubicBezTo>
                      <a:cubicBezTo>
                        <a:pt x="375" y="10"/>
                        <a:pt x="374" y="9"/>
                        <a:pt x="372" y="9"/>
                      </a:cubicBezTo>
                      <a:cubicBezTo>
                        <a:pt x="372" y="9"/>
                        <a:pt x="371" y="9"/>
                        <a:pt x="370" y="10"/>
                      </a:cubicBezTo>
                      <a:cubicBezTo>
                        <a:pt x="370" y="11"/>
                        <a:pt x="365" y="19"/>
                        <a:pt x="363" y="22"/>
                      </a:cubicBezTo>
                      <a:cubicBezTo>
                        <a:pt x="342" y="36"/>
                        <a:pt x="342" y="36"/>
                        <a:pt x="342" y="36"/>
                      </a:cubicBezTo>
                      <a:cubicBezTo>
                        <a:pt x="176" y="13"/>
                        <a:pt x="176" y="13"/>
                        <a:pt x="176" y="13"/>
                      </a:cubicBezTo>
                      <a:cubicBezTo>
                        <a:pt x="91" y="0"/>
                        <a:pt x="91" y="0"/>
                        <a:pt x="91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1255667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6799D0-82D0-022D-D661-969907272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" name="think-cell data - do not delete" hidden="1">
            <a:extLst>
              <a:ext uri="{FF2B5EF4-FFF2-40B4-BE49-F238E27FC236}">
                <a16:creationId xmlns:a16="http://schemas.microsoft.com/office/drawing/2014/main" id="{566E022D-E5F2-47FC-7732-C7EC2FC3E2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2852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06" imgH="608" progId="TCLayout.ActiveDocument.1">
                  <p:embed/>
                </p:oleObj>
              </mc:Choice>
              <mc:Fallback>
                <p:oleObj name="think-cell Folie" r:id="rId3" imgW="606" imgH="608" progId="TCLayout.ActiveDocument.1">
                  <p:embed/>
                  <p:pic>
                    <p:nvPicPr>
                      <p:cNvPr id="26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7E903E-5AEB-5DA9-7BB2-E3CD5FA33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E7589E91-CC94-C813-0B68-E3EE7B23C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ESG-Them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0E3E0A0-0034-A64F-A414-EB7DA0F6CA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04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7E4D75-CD17-9194-EA4C-98F72D02A76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28048" y="5265203"/>
            <a:ext cx="5220581" cy="1367371"/>
          </a:xfrm>
        </p:spPr>
        <p:txBody>
          <a:bodyPr/>
          <a:lstStyle/>
          <a:p>
            <a:r>
              <a:rPr lang="de-DE" dirty="0"/>
              <a:t>Lieferkettensorgfaltspflichtengesetz (</a:t>
            </a:r>
            <a:r>
              <a:rPr lang="de-DE" dirty="0" err="1"/>
              <a:t>LkSG</a:t>
            </a:r>
            <a:r>
              <a:rPr lang="de-DE" dirty="0"/>
              <a:t>) </a:t>
            </a:r>
            <a:br>
              <a:rPr lang="de-DE" dirty="0"/>
            </a:br>
            <a:r>
              <a:rPr lang="de-DE" dirty="0"/>
              <a:t>Umweltgesetzgebung (weltweit)</a:t>
            </a:r>
            <a:br>
              <a:rPr lang="de-DE" dirty="0"/>
            </a:br>
            <a:r>
              <a:rPr lang="de-DE" dirty="0"/>
              <a:t>„Klimaklagen“</a:t>
            </a:r>
            <a:br>
              <a:rPr lang="de-DE" dirty="0"/>
            </a:br>
            <a:r>
              <a:rPr lang="de-DE" dirty="0"/>
              <a:t>PFAS</a:t>
            </a:r>
          </a:p>
        </p:txBody>
      </p:sp>
      <p:grpSp>
        <p:nvGrpSpPr>
          <p:cNvPr id="6" name="Group 8">
            <a:extLst>
              <a:ext uri="{FF2B5EF4-FFF2-40B4-BE49-F238E27FC236}">
                <a16:creationId xmlns:a16="http://schemas.microsoft.com/office/drawing/2014/main" id="{14AEBEEC-640D-2072-3F30-2B5D4E4B8869}"/>
              </a:ext>
            </a:extLst>
          </p:cNvPr>
          <p:cNvGrpSpPr/>
          <p:nvPr/>
        </p:nvGrpSpPr>
        <p:grpSpPr>
          <a:xfrm>
            <a:off x="335360" y="1694602"/>
            <a:ext cx="5113637" cy="4188876"/>
            <a:chOff x="445135" y="1549065"/>
            <a:chExt cx="4331926" cy="3548531"/>
          </a:xfrm>
        </p:grpSpPr>
        <p:grpSp>
          <p:nvGrpSpPr>
            <p:cNvPr id="7" name="Group 7">
              <a:extLst>
                <a:ext uri="{FF2B5EF4-FFF2-40B4-BE49-F238E27FC236}">
                  <a16:creationId xmlns:a16="http://schemas.microsoft.com/office/drawing/2014/main" id="{D7DBDE44-F2D9-F039-5056-D27C243A5930}"/>
                </a:ext>
              </a:extLst>
            </p:cNvPr>
            <p:cNvGrpSpPr/>
            <p:nvPr/>
          </p:nvGrpSpPr>
          <p:grpSpPr>
            <a:xfrm>
              <a:off x="445135" y="1549065"/>
              <a:ext cx="3558677" cy="3191816"/>
              <a:chOff x="445135" y="1549065"/>
              <a:chExt cx="3558677" cy="3191816"/>
            </a:xfrm>
          </p:grpSpPr>
          <p:sp>
            <p:nvSpPr>
              <p:cNvPr id="95" name="Block Arc 1015">
                <a:extLst>
                  <a:ext uri="{FF2B5EF4-FFF2-40B4-BE49-F238E27FC236}">
                    <a16:creationId xmlns:a16="http://schemas.microsoft.com/office/drawing/2014/main" id="{AE1F402E-DB05-EDD8-8B72-32B28FF6C3A2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20207308">
                <a:off x="725875" y="1982498"/>
                <a:ext cx="3010427" cy="2737514"/>
              </a:xfrm>
              <a:prstGeom prst="blockArc">
                <a:avLst>
                  <a:gd name="adj1" fmla="val 12006639"/>
                  <a:gd name="adj2" fmla="val 0"/>
                  <a:gd name="adj3" fmla="val 25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solidFill>
                    <a:schemeClr val="tx1"/>
                  </a:solidFill>
                </a:endParaRPr>
              </a:p>
            </p:txBody>
          </p:sp>
          <p:pic>
            <p:nvPicPr>
              <p:cNvPr id="96" name="Picture 8">
                <a:extLst>
                  <a:ext uri="{FF2B5EF4-FFF2-40B4-BE49-F238E27FC236}">
                    <a16:creationId xmlns:a16="http://schemas.microsoft.com/office/drawing/2014/main" id="{1D2523DA-6598-32BB-C5A6-3709F2422C2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34972" y="1928279"/>
                <a:ext cx="9882" cy="61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97" name="Group 1018">
                <a:extLst>
                  <a:ext uri="{FF2B5EF4-FFF2-40B4-BE49-F238E27FC236}">
                    <a16:creationId xmlns:a16="http://schemas.microsoft.com/office/drawing/2014/main" id="{AC9891A2-61BB-2C2D-BEFA-9310C3C1CC9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45135" y="1549065"/>
                <a:ext cx="3106586" cy="2757018"/>
                <a:chOff x="528638" y="2306638"/>
                <a:chExt cx="3992563" cy="3543301"/>
              </a:xfrm>
            </p:grpSpPr>
            <p:sp>
              <p:nvSpPr>
                <p:cNvPr id="227" name="Freeform 38">
                  <a:extLst>
                    <a:ext uri="{FF2B5EF4-FFF2-40B4-BE49-F238E27FC236}">
                      <a16:creationId xmlns:a16="http://schemas.microsoft.com/office/drawing/2014/main" id="{37417FDE-4B1C-25BB-D1F6-E64E48C1CBC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58800" y="4167188"/>
                  <a:ext cx="139700" cy="38100"/>
                </a:xfrm>
                <a:custGeom>
                  <a:avLst/>
                  <a:gdLst>
                    <a:gd name="T0" fmla="*/ 75 w 76"/>
                    <a:gd name="T1" fmla="*/ 21 h 21"/>
                    <a:gd name="T2" fmla="*/ 76 w 76"/>
                    <a:gd name="T3" fmla="*/ 13 h 21"/>
                    <a:gd name="T4" fmla="*/ 2 w 76"/>
                    <a:gd name="T5" fmla="*/ 0 h 21"/>
                    <a:gd name="T6" fmla="*/ 0 w 76"/>
                    <a:gd name="T7" fmla="*/ 8 h 21"/>
                    <a:gd name="T8" fmla="*/ 75 w 76"/>
                    <a:gd name="T9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6" h="21">
                      <a:moveTo>
                        <a:pt x="75" y="21"/>
                      </a:moveTo>
                      <a:cubicBezTo>
                        <a:pt x="75" y="18"/>
                        <a:pt x="76" y="15"/>
                        <a:pt x="76" y="13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2"/>
                        <a:pt x="1" y="5"/>
                        <a:pt x="0" y="8"/>
                      </a:cubicBezTo>
                      <a:lnTo>
                        <a:pt x="75" y="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 45">
                  <a:extLst>
                    <a:ext uri="{FF2B5EF4-FFF2-40B4-BE49-F238E27FC236}">
                      <a16:creationId xmlns:a16="http://schemas.microsoft.com/office/drawing/2014/main" id="{29B31582-DEC8-B10D-F872-2AA2FF412BA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95313" y="3963988"/>
                  <a:ext cx="177800" cy="80963"/>
                </a:xfrm>
                <a:custGeom>
                  <a:avLst/>
                  <a:gdLst>
                    <a:gd name="T0" fmla="*/ 0 w 96"/>
                    <a:gd name="T1" fmla="*/ 19 h 44"/>
                    <a:gd name="T2" fmla="*/ 91 w 96"/>
                    <a:gd name="T3" fmla="*/ 44 h 44"/>
                    <a:gd name="T4" fmla="*/ 93 w 96"/>
                    <a:gd name="T5" fmla="*/ 35 h 44"/>
                    <a:gd name="T6" fmla="*/ 96 w 96"/>
                    <a:gd name="T7" fmla="*/ 25 h 44"/>
                    <a:gd name="T8" fmla="*/ 6 w 96"/>
                    <a:gd name="T9" fmla="*/ 0 h 44"/>
                    <a:gd name="T10" fmla="*/ 3 w 96"/>
                    <a:gd name="T11" fmla="*/ 10 h 44"/>
                    <a:gd name="T12" fmla="*/ 0 w 96"/>
                    <a:gd name="T13" fmla="*/ 19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6" h="44">
                      <a:moveTo>
                        <a:pt x="0" y="19"/>
                      </a:moveTo>
                      <a:cubicBezTo>
                        <a:pt x="91" y="44"/>
                        <a:pt x="91" y="44"/>
                        <a:pt x="91" y="44"/>
                      </a:cubicBezTo>
                      <a:cubicBezTo>
                        <a:pt x="91" y="43"/>
                        <a:pt x="93" y="36"/>
                        <a:pt x="93" y="35"/>
                      </a:cubicBezTo>
                      <a:cubicBezTo>
                        <a:pt x="94" y="33"/>
                        <a:pt x="96" y="26"/>
                        <a:pt x="96" y="25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5" y="1"/>
                        <a:pt x="3" y="8"/>
                        <a:pt x="3" y="10"/>
                      </a:cubicBezTo>
                      <a:cubicBezTo>
                        <a:pt x="3" y="11"/>
                        <a:pt x="1" y="18"/>
                        <a:pt x="0" y="1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229" name="Group 1238">
                  <a:extLst>
                    <a:ext uri="{FF2B5EF4-FFF2-40B4-BE49-F238E27FC236}">
                      <a16:creationId xmlns:a16="http://schemas.microsoft.com/office/drawing/2014/main" id="{F61AFCEB-B838-2DAD-9A58-F120F0ABBACC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528638" y="2306638"/>
                  <a:ext cx="3992563" cy="3543301"/>
                  <a:chOff x="528638" y="2306638"/>
                  <a:chExt cx="3992563" cy="3543301"/>
                </a:xfrm>
              </p:grpSpPr>
              <p:sp>
                <p:nvSpPr>
                  <p:cNvPr id="230" name="Oval 10">
                    <a:extLst>
                      <a:ext uri="{FF2B5EF4-FFF2-40B4-BE49-F238E27FC236}">
                        <a16:creationId xmlns:a16="http://schemas.microsoft.com/office/drawing/2014/main" id="{66186E9F-3772-BE40-D4E1-5330D44A5005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957263" y="5762626"/>
                    <a:ext cx="87313" cy="8731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1" name="Freeform 11">
                    <a:extLst>
                      <a:ext uri="{FF2B5EF4-FFF2-40B4-BE49-F238E27FC236}">
                        <a16:creationId xmlns:a16="http://schemas.microsoft.com/office/drawing/2014/main" id="{AD2C6DC4-B431-879F-7590-8868F1E8C05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008188" y="2438401"/>
                    <a:ext cx="63500" cy="136525"/>
                  </a:xfrm>
                  <a:custGeom>
                    <a:avLst/>
                    <a:gdLst>
                      <a:gd name="T0" fmla="*/ 26 w 34"/>
                      <a:gd name="T1" fmla="*/ 74 h 74"/>
                      <a:gd name="T2" fmla="*/ 34 w 34"/>
                      <a:gd name="T3" fmla="*/ 71 h 74"/>
                      <a:gd name="T4" fmla="*/ 8 w 34"/>
                      <a:gd name="T5" fmla="*/ 0 h 74"/>
                      <a:gd name="T6" fmla="*/ 0 w 34"/>
                      <a:gd name="T7" fmla="*/ 2 h 74"/>
                      <a:gd name="T8" fmla="*/ 26 w 34"/>
                      <a:gd name="T9" fmla="*/ 7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" h="74">
                        <a:moveTo>
                          <a:pt x="26" y="74"/>
                        </a:moveTo>
                        <a:cubicBezTo>
                          <a:pt x="28" y="73"/>
                          <a:pt x="31" y="72"/>
                          <a:pt x="34" y="71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3" y="1"/>
                          <a:pt x="0" y="2"/>
                        </a:cubicBezTo>
                        <a:lnTo>
                          <a:pt x="26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2" name="Freeform 12">
                    <a:extLst>
                      <a:ext uri="{FF2B5EF4-FFF2-40B4-BE49-F238E27FC236}">
                        <a16:creationId xmlns:a16="http://schemas.microsoft.com/office/drawing/2014/main" id="{C0D60A0E-F772-F48B-264F-013DF623A01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389188" y="2338388"/>
                    <a:ext cx="39688" cy="139700"/>
                  </a:xfrm>
                  <a:custGeom>
                    <a:avLst/>
                    <a:gdLst>
                      <a:gd name="T0" fmla="*/ 13 w 21"/>
                      <a:gd name="T1" fmla="*/ 76 h 76"/>
                      <a:gd name="T2" fmla="*/ 21 w 21"/>
                      <a:gd name="T3" fmla="*/ 75 h 76"/>
                      <a:gd name="T4" fmla="*/ 8 w 21"/>
                      <a:gd name="T5" fmla="*/ 0 h 76"/>
                      <a:gd name="T6" fmla="*/ 0 w 21"/>
                      <a:gd name="T7" fmla="*/ 1 h 76"/>
                      <a:gd name="T8" fmla="*/ 13 w 21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6">
                        <a:moveTo>
                          <a:pt x="13" y="76"/>
                        </a:moveTo>
                        <a:cubicBezTo>
                          <a:pt x="15" y="75"/>
                          <a:pt x="18" y="75"/>
                          <a:pt x="21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2" y="1"/>
                          <a:pt x="0" y="1"/>
                        </a:cubicBezTo>
                        <a:lnTo>
                          <a:pt x="13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3" name="Freeform 13">
                    <a:extLst>
                      <a:ext uri="{FF2B5EF4-FFF2-40B4-BE49-F238E27FC236}">
                        <a16:creationId xmlns:a16="http://schemas.microsoft.com/office/drawing/2014/main" id="{4D457887-0EA7-087F-985E-9516417197D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584450" y="2314576"/>
                    <a:ext cx="28575" cy="139700"/>
                  </a:xfrm>
                  <a:custGeom>
                    <a:avLst/>
                    <a:gdLst>
                      <a:gd name="T0" fmla="*/ 7 w 15"/>
                      <a:gd name="T1" fmla="*/ 76 h 76"/>
                      <a:gd name="T2" fmla="*/ 15 w 15"/>
                      <a:gd name="T3" fmla="*/ 75 h 76"/>
                      <a:gd name="T4" fmla="*/ 8 w 15"/>
                      <a:gd name="T5" fmla="*/ 0 h 76"/>
                      <a:gd name="T6" fmla="*/ 0 w 15"/>
                      <a:gd name="T7" fmla="*/ 1 h 76"/>
                      <a:gd name="T8" fmla="*/ 7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7" y="76"/>
                        </a:moveTo>
                        <a:cubicBezTo>
                          <a:pt x="9" y="76"/>
                          <a:pt x="12" y="75"/>
                          <a:pt x="15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6" y="0"/>
                          <a:pt x="3" y="0"/>
                          <a:pt x="0" y="1"/>
                        </a:cubicBezTo>
                        <a:lnTo>
                          <a:pt x="7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4" name="Freeform 14">
                    <a:extLst>
                      <a:ext uri="{FF2B5EF4-FFF2-40B4-BE49-F238E27FC236}">
                        <a16:creationId xmlns:a16="http://schemas.microsoft.com/office/drawing/2014/main" id="{3861654F-22FA-5859-9486-94B3AFC5FF8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197100" y="2378076"/>
                    <a:ext cx="49213" cy="141288"/>
                  </a:xfrm>
                  <a:custGeom>
                    <a:avLst/>
                    <a:gdLst>
                      <a:gd name="T0" fmla="*/ 19 w 27"/>
                      <a:gd name="T1" fmla="*/ 76 h 76"/>
                      <a:gd name="T2" fmla="*/ 27 w 27"/>
                      <a:gd name="T3" fmla="*/ 73 h 76"/>
                      <a:gd name="T4" fmla="*/ 7 w 27"/>
                      <a:gd name="T5" fmla="*/ 0 h 76"/>
                      <a:gd name="T6" fmla="*/ 0 w 27"/>
                      <a:gd name="T7" fmla="*/ 2 h 76"/>
                      <a:gd name="T8" fmla="*/ 19 w 27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6">
                        <a:moveTo>
                          <a:pt x="19" y="76"/>
                        </a:moveTo>
                        <a:cubicBezTo>
                          <a:pt x="22" y="75"/>
                          <a:pt x="24" y="74"/>
                          <a:pt x="27" y="73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2" y="2"/>
                          <a:pt x="0" y="2"/>
                        </a:cubicBezTo>
                        <a:lnTo>
                          <a:pt x="19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5" name="Freeform 15">
                    <a:extLst>
                      <a:ext uri="{FF2B5EF4-FFF2-40B4-BE49-F238E27FC236}">
                        <a16:creationId xmlns:a16="http://schemas.microsoft.com/office/drawing/2014/main" id="{3A770A46-FDB8-EA32-3A40-92845CA9207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322638" y="2381251"/>
                    <a:ext cx="49213" cy="138113"/>
                  </a:xfrm>
                  <a:custGeom>
                    <a:avLst/>
                    <a:gdLst>
                      <a:gd name="T0" fmla="*/ 0 w 27"/>
                      <a:gd name="T1" fmla="*/ 73 h 75"/>
                      <a:gd name="T2" fmla="*/ 8 w 27"/>
                      <a:gd name="T3" fmla="*/ 75 h 75"/>
                      <a:gd name="T4" fmla="*/ 27 w 27"/>
                      <a:gd name="T5" fmla="*/ 2 h 75"/>
                      <a:gd name="T6" fmla="*/ 20 w 27"/>
                      <a:gd name="T7" fmla="*/ 0 h 75"/>
                      <a:gd name="T8" fmla="*/ 0 w 27"/>
                      <a:gd name="T9" fmla="*/ 73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5">
                        <a:moveTo>
                          <a:pt x="0" y="73"/>
                        </a:moveTo>
                        <a:cubicBezTo>
                          <a:pt x="3" y="74"/>
                          <a:pt x="5" y="75"/>
                          <a:pt x="8" y="75"/>
                        </a:cubicBezTo>
                        <a:cubicBezTo>
                          <a:pt x="27" y="2"/>
                          <a:pt x="27" y="2"/>
                          <a:pt x="27" y="2"/>
                        </a:cubicBezTo>
                        <a:cubicBezTo>
                          <a:pt x="25" y="1"/>
                          <a:pt x="22" y="1"/>
                          <a:pt x="20" y="0"/>
                        </a:cubicBezTo>
                        <a:lnTo>
                          <a:pt x="0" y="7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6" name="Freeform 16">
                    <a:extLst>
                      <a:ext uri="{FF2B5EF4-FFF2-40B4-BE49-F238E27FC236}">
                        <a16:creationId xmlns:a16="http://schemas.microsoft.com/office/drawing/2014/main" id="{0B9C7873-F599-D6FE-B04A-C723B519CBB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763838" y="2306638"/>
                    <a:ext cx="38100" cy="174625"/>
                  </a:xfrm>
                  <a:custGeom>
                    <a:avLst/>
                    <a:gdLst>
                      <a:gd name="T0" fmla="*/ 0 w 20"/>
                      <a:gd name="T1" fmla="*/ 0 h 94"/>
                      <a:gd name="T2" fmla="*/ 0 w 20"/>
                      <a:gd name="T3" fmla="*/ 94 h 94"/>
                      <a:gd name="T4" fmla="*/ 10 w 20"/>
                      <a:gd name="T5" fmla="*/ 94 h 94"/>
                      <a:gd name="T6" fmla="*/ 20 w 20"/>
                      <a:gd name="T7" fmla="*/ 94 h 94"/>
                      <a:gd name="T8" fmla="*/ 20 w 20"/>
                      <a:gd name="T9" fmla="*/ 0 h 94"/>
                      <a:gd name="T10" fmla="*/ 10 w 20"/>
                      <a:gd name="T11" fmla="*/ 0 h 94"/>
                      <a:gd name="T12" fmla="*/ 0 w 20"/>
                      <a:gd name="T13" fmla="*/ 0 h 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" h="94">
                        <a:moveTo>
                          <a:pt x="0" y="0"/>
                        </a:moveTo>
                        <a:cubicBezTo>
                          <a:pt x="0" y="94"/>
                          <a:pt x="0" y="94"/>
                          <a:pt x="0" y="94"/>
                        </a:cubicBezTo>
                        <a:cubicBezTo>
                          <a:pt x="1" y="94"/>
                          <a:pt x="8" y="94"/>
                          <a:pt x="10" y="94"/>
                        </a:cubicBezTo>
                        <a:cubicBezTo>
                          <a:pt x="11" y="94"/>
                          <a:pt x="18" y="94"/>
                          <a:pt x="20" y="94"/>
                        </a:cubicBezTo>
                        <a:cubicBezTo>
                          <a:pt x="20" y="0"/>
                          <a:pt x="20" y="0"/>
                          <a:pt x="20" y="0"/>
                        </a:cubicBezTo>
                        <a:cubicBezTo>
                          <a:pt x="18" y="0"/>
                          <a:pt x="11" y="0"/>
                          <a:pt x="10" y="0"/>
                        </a:cubicBezTo>
                        <a:cubicBezTo>
                          <a:pt x="8" y="0"/>
                          <a:pt x="1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7" name="Freeform 17">
                    <a:extLst>
                      <a:ext uri="{FF2B5EF4-FFF2-40B4-BE49-F238E27FC236}">
                        <a16:creationId xmlns:a16="http://schemas.microsoft.com/office/drawing/2014/main" id="{3ABCCB16-A3E6-A1A2-2E93-643DCA511B9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143250" y="2339976"/>
                    <a:ext cx="38100" cy="138113"/>
                  </a:xfrm>
                  <a:custGeom>
                    <a:avLst/>
                    <a:gdLst>
                      <a:gd name="T0" fmla="*/ 0 w 21"/>
                      <a:gd name="T1" fmla="*/ 74 h 75"/>
                      <a:gd name="T2" fmla="*/ 8 w 21"/>
                      <a:gd name="T3" fmla="*/ 75 h 75"/>
                      <a:gd name="T4" fmla="*/ 21 w 21"/>
                      <a:gd name="T5" fmla="*/ 1 h 75"/>
                      <a:gd name="T6" fmla="*/ 13 w 21"/>
                      <a:gd name="T7" fmla="*/ 0 h 75"/>
                      <a:gd name="T8" fmla="*/ 0 w 21"/>
                      <a:gd name="T9" fmla="*/ 74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5">
                        <a:moveTo>
                          <a:pt x="0" y="74"/>
                        </a:moveTo>
                        <a:cubicBezTo>
                          <a:pt x="2" y="75"/>
                          <a:pt x="5" y="75"/>
                          <a:pt x="8" y="75"/>
                        </a:cubicBezTo>
                        <a:cubicBezTo>
                          <a:pt x="21" y="1"/>
                          <a:pt x="21" y="1"/>
                          <a:pt x="21" y="1"/>
                        </a:cubicBezTo>
                        <a:cubicBezTo>
                          <a:pt x="18" y="0"/>
                          <a:pt x="15" y="0"/>
                          <a:pt x="13" y="0"/>
                        </a:cubicBezTo>
                        <a:lnTo>
                          <a:pt x="0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8" name="Freeform 18">
                    <a:extLst>
                      <a:ext uri="{FF2B5EF4-FFF2-40B4-BE49-F238E27FC236}">
                        <a16:creationId xmlns:a16="http://schemas.microsoft.com/office/drawing/2014/main" id="{E07B0296-3CF6-C7A9-942F-E8ADE881699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959100" y="2314576"/>
                    <a:ext cx="26988" cy="139700"/>
                  </a:xfrm>
                  <a:custGeom>
                    <a:avLst/>
                    <a:gdLst>
                      <a:gd name="T0" fmla="*/ 0 w 15"/>
                      <a:gd name="T1" fmla="*/ 76 h 76"/>
                      <a:gd name="T2" fmla="*/ 8 w 15"/>
                      <a:gd name="T3" fmla="*/ 76 h 76"/>
                      <a:gd name="T4" fmla="*/ 15 w 15"/>
                      <a:gd name="T5" fmla="*/ 1 h 76"/>
                      <a:gd name="T6" fmla="*/ 7 w 15"/>
                      <a:gd name="T7" fmla="*/ 0 h 76"/>
                      <a:gd name="T8" fmla="*/ 0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0" y="76"/>
                        </a:moveTo>
                        <a:cubicBezTo>
                          <a:pt x="3" y="76"/>
                          <a:pt x="5" y="76"/>
                          <a:pt x="8" y="76"/>
                        </a:cubicBezTo>
                        <a:cubicBezTo>
                          <a:pt x="15" y="1"/>
                          <a:pt x="15" y="1"/>
                          <a:pt x="15" y="1"/>
                        </a:cubicBezTo>
                        <a:cubicBezTo>
                          <a:pt x="12" y="1"/>
                          <a:pt x="9" y="0"/>
                          <a:pt x="7" y="0"/>
                        </a:cubicBezTo>
                        <a:lnTo>
                          <a:pt x="0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9" name="Freeform 19">
                    <a:extLst>
                      <a:ext uri="{FF2B5EF4-FFF2-40B4-BE49-F238E27FC236}">
                        <a16:creationId xmlns:a16="http://schemas.microsoft.com/office/drawing/2014/main" id="{A6DA091D-A161-C485-8F81-F2186BFD234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27100" y="3265488"/>
                    <a:ext cx="123825" cy="92075"/>
                  </a:xfrm>
                  <a:custGeom>
                    <a:avLst/>
                    <a:gdLst>
                      <a:gd name="T0" fmla="*/ 63 w 67"/>
                      <a:gd name="T1" fmla="*/ 50 h 50"/>
                      <a:gd name="T2" fmla="*/ 67 w 67"/>
                      <a:gd name="T3" fmla="*/ 43 h 50"/>
                      <a:gd name="T4" fmla="*/ 5 w 67"/>
                      <a:gd name="T5" fmla="*/ 0 h 50"/>
                      <a:gd name="T6" fmla="*/ 0 w 67"/>
                      <a:gd name="T7" fmla="*/ 6 h 50"/>
                      <a:gd name="T8" fmla="*/ 63 w 67"/>
                      <a:gd name="T9" fmla="*/ 5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7" h="50">
                        <a:moveTo>
                          <a:pt x="63" y="50"/>
                        </a:moveTo>
                        <a:cubicBezTo>
                          <a:pt x="64" y="48"/>
                          <a:pt x="66" y="46"/>
                          <a:pt x="67" y="43"/>
                        </a:cubicBezTo>
                        <a:cubicBezTo>
                          <a:pt x="5" y="0"/>
                          <a:pt x="5" y="0"/>
                          <a:pt x="5" y="0"/>
                        </a:cubicBezTo>
                        <a:cubicBezTo>
                          <a:pt x="3" y="2"/>
                          <a:pt x="2" y="4"/>
                          <a:pt x="0" y="6"/>
                        </a:cubicBezTo>
                        <a:lnTo>
                          <a:pt x="63" y="5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0" name="Freeform 20">
                    <a:extLst>
                      <a:ext uri="{FF2B5EF4-FFF2-40B4-BE49-F238E27FC236}">
                        <a16:creationId xmlns:a16="http://schemas.microsoft.com/office/drawing/2014/main" id="{FF66F2DA-3D64-6352-41E3-5D8DFD08FBA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0738" y="3430588"/>
                    <a:ext cx="130175" cy="82550"/>
                  </a:xfrm>
                  <a:custGeom>
                    <a:avLst/>
                    <a:gdLst>
                      <a:gd name="T0" fmla="*/ 66 w 70"/>
                      <a:gd name="T1" fmla="*/ 45 h 45"/>
                      <a:gd name="T2" fmla="*/ 70 w 70"/>
                      <a:gd name="T3" fmla="*/ 38 h 45"/>
                      <a:gd name="T4" fmla="*/ 4 w 70"/>
                      <a:gd name="T5" fmla="*/ 0 h 45"/>
                      <a:gd name="T6" fmla="*/ 0 w 70"/>
                      <a:gd name="T7" fmla="*/ 7 h 45"/>
                      <a:gd name="T8" fmla="*/ 66 w 70"/>
                      <a:gd name="T9" fmla="*/ 45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66" y="45"/>
                        </a:moveTo>
                        <a:cubicBezTo>
                          <a:pt x="68" y="43"/>
                          <a:pt x="69" y="41"/>
                          <a:pt x="70" y="38"/>
                        </a:cubicBez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3" y="3"/>
                          <a:pt x="2" y="5"/>
                          <a:pt x="0" y="7"/>
                        </a:cubicBezTo>
                        <a:lnTo>
                          <a:pt x="66" y="4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1" name="Freeform 21">
                    <a:extLst>
                      <a:ext uri="{FF2B5EF4-FFF2-40B4-BE49-F238E27FC236}">
                        <a16:creationId xmlns:a16="http://schemas.microsoft.com/office/drawing/2014/main" id="{90A2C15F-4BBF-1323-B148-F34D2869282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1838" y="3606801"/>
                    <a:ext cx="133350" cy="71438"/>
                  </a:xfrm>
                  <a:custGeom>
                    <a:avLst/>
                    <a:gdLst>
                      <a:gd name="T0" fmla="*/ 69 w 72"/>
                      <a:gd name="T1" fmla="*/ 39 h 39"/>
                      <a:gd name="T2" fmla="*/ 72 w 72"/>
                      <a:gd name="T3" fmla="*/ 32 h 39"/>
                      <a:gd name="T4" fmla="*/ 3 w 72"/>
                      <a:gd name="T5" fmla="*/ 0 h 39"/>
                      <a:gd name="T6" fmla="*/ 0 w 72"/>
                      <a:gd name="T7" fmla="*/ 7 h 39"/>
                      <a:gd name="T8" fmla="*/ 69 w 72"/>
                      <a:gd name="T9" fmla="*/ 39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69" y="39"/>
                        </a:moveTo>
                        <a:cubicBezTo>
                          <a:pt x="70" y="37"/>
                          <a:pt x="71" y="34"/>
                          <a:pt x="72" y="32"/>
                        </a:cubicBezTo>
                        <a:cubicBezTo>
                          <a:pt x="3" y="0"/>
                          <a:pt x="3" y="0"/>
                          <a:pt x="3" y="0"/>
                        </a:cubicBezTo>
                        <a:cubicBezTo>
                          <a:pt x="2" y="2"/>
                          <a:pt x="1" y="4"/>
                          <a:pt x="0" y="7"/>
                        </a:cubicBezTo>
                        <a:lnTo>
                          <a:pt x="69" y="3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2" name="Freeform 22">
                    <a:extLst>
                      <a:ext uri="{FF2B5EF4-FFF2-40B4-BE49-F238E27FC236}">
                        <a16:creationId xmlns:a16="http://schemas.microsoft.com/office/drawing/2014/main" id="{5D2839EF-1DBC-F6D1-FF07-EAE0AF0E365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498850" y="2438401"/>
                    <a:ext cx="60325" cy="138113"/>
                  </a:xfrm>
                  <a:custGeom>
                    <a:avLst/>
                    <a:gdLst>
                      <a:gd name="T0" fmla="*/ 0 w 33"/>
                      <a:gd name="T1" fmla="*/ 72 h 75"/>
                      <a:gd name="T2" fmla="*/ 7 w 33"/>
                      <a:gd name="T3" fmla="*/ 75 h 75"/>
                      <a:gd name="T4" fmla="*/ 33 w 33"/>
                      <a:gd name="T5" fmla="*/ 3 h 75"/>
                      <a:gd name="T6" fmla="*/ 26 w 33"/>
                      <a:gd name="T7" fmla="*/ 0 h 75"/>
                      <a:gd name="T8" fmla="*/ 0 w 33"/>
                      <a:gd name="T9" fmla="*/ 72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3" h="75">
                        <a:moveTo>
                          <a:pt x="0" y="72"/>
                        </a:moveTo>
                        <a:cubicBezTo>
                          <a:pt x="2" y="73"/>
                          <a:pt x="5" y="74"/>
                          <a:pt x="7" y="75"/>
                        </a:cubicBezTo>
                        <a:cubicBezTo>
                          <a:pt x="33" y="3"/>
                          <a:pt x="33" y="3"/>
                          <a:pt x="33" y="3"/>
                        </a:cubicBezTo>
                        <a:cubicBezTo>
                          <a:pt x="31" y="2"/>
                          <a:pt x="28" y="1"/>
                          <a:pt x="26" y="0"/>
                        </a:cubicBezTo>
                        <a:lnTo>
                          <a:pt x="0" y="7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3" name="Freeform 23">
                    <a:extLst>
                      <a:ext uri="{FF2B5EF4-FFF2-40B4-BE49-F238E27FC236}">
                        <a16:creationId xmlns:a16="http://schemas.microsoft.com/office/drawing/2014/main" id="{42DDFE74-FCD0-26F9-B878-3BE3384ECFE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649413" y="2601913"/>
                    <a:ext cx="84138" cy="130175"/>
                  </a:xfrm>
                  <a:custGeom>
                    <a:avLst/>
                    <a:gdLst>
                      <a:gd name="T0" fmla="*/ 38 w 45"/>
                      <a:gd name="T1" fmla="*/ 70 h 70"/>
                      <a:gd name="T2" fmla="*/ 45 w 45"/>
                      <a:gd name="T3" fmla="*/ 66 h 70"/>
                      <a:gd name="T4" fmla="*/ 7 w 45"/>
                      <a:gd name="T5" fmla="*/ 0 h 70"/>
                      <a:gd name="T6" fmla="*/ 0 w 45"/>
                      <a:gd name="T7" fmla="*/ 4 h 70"/>
                      <a:gd name="T8" fmla="*/ 38 w 45"/>
                      <a:gd name="T9" fmla="*/ 70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38" y="70"/>
                        </a:moveTo>
                        <a:cubicBezTo>
                          <a:pt x="41" y="68"/>
                          <a:pt x="43" y="67"/>
                          <a:pt x="45" y="66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3" y="2"/>
                          <a:pt x="0" y="4"/>
                        </a:cubicBezTo>
                        <a:lnTo>
                          <a:pt x="38" y="7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4" name="Freeform 24">
                    <a:extLst>
                      <a:ext uri="{FF2B5EF4-FFF2-40B4-BE49-F238E27FC236}">
                        <a16:creationId xmlns:a16="http://schemas.microsoft.com/office/drawing/2014/main" id="{DB124885-62BF-06F0-7E1E-4ED3DD13A7E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323975" y="2832101"/>
                    <a:ext cx="101600" cy="117475"/>
                  </a:xfrm>
                  <a:custGeom>
                    <a:avLst/>
                    <a:gdLst>
                      <a:gd name="T0" fmla="*/ 49 w 55"/>
                      <a:gd name="T1" fmla="*/ 63 h 63"/>
                      <a:gd name="T2" fmla="*/ 55 w 55"/>
                      <a:gd name="T3" fmla="*/ 58 h 63"/>
                      <a:gd name="T4" fmla="*/ 6 w 55"/>
                      <a:gd name="T5" fmla="*/ 0 h 63"/>
                      <a:gd name="T6" fmla="*/ 0 w 55"/>
                      <a:gd name="T7" fmla="*/ 5 h 63"/>
                      <a:gd name="T8" fmla="*/ 49 w 55"/>
                      <a:gd name="T9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49" y="63"/>
                        </a:moveTo>
                        <a:cubicBezTo>
                          <a:pt x="51" y="61"/>
                          <a:pt x="53" y="60"/>
                          <a:pt x="55" y="58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5"/>
                        </a:cubicBezTo>
                        <a:lnTo>
                          <a:pt x="49" y="6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5" name="Freeform 25">
                    <a:extLst>
                      <a:ext uri="{FF2B5EF4-FFF2-40B4-BE49-F238E27FC236}">
                        <a16:creationId xmlns:a16="http://schemas.microsoft.com/office/drawing/2014/main" id="{657F754C-8F9A-9AD4-9B88-1618FAE956F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479550" y="2711451"/>
                    <a:ext cx="92075" cy="123825"/>
                  </a:xfrm>
                  <a:custGeom>
                    <a:avLst/>
                    <a:gdLst>
                      <a:gd name="T0" fmla="*/ 44 w 50"/>
                      <a:gd name="T1" fmla="*/ 67 h 67"/>
                      <a:gd name="T2" fmla="*/ 50 w 50"/>
                      <a:gd name="T3" fmla="*/ 62 h 67"/>
                      <a:gd name="T4" fmla="*/ 6 w 50"/>
                      <a:gd name="T5" fmla="*/ 0 h 67"/>
                      <a:gd name="T6" fmla="*/ 0 w 50"/>
                      <a:gd name="T7" fmla="*/ 4 h 67"/>
                      <a:gd name="T8" fmla="*/ 44 w 50"/>
                      <a:gd name="T9" fmla="*/ 67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0" h="67">
                        <a:moveTo>
                          <a:pt x="44" y="67"/>
                        </a:moveTo>
                        <a:cubicBezTo>
                          <a:pt x="46" y="65"/>
                          <a:pt x="48" y="64"/>
                          <a:pt x="50" y="62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4"/>
                        </a:cubicBezTo>
                        <a:lnTo>
                          <a:pt x="44" y="6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6" name="Freeform 26">
                    <a:extLst>
                      <a:ext uri="{FF2B5EF4-FFF2-40B4-BE49-F238E27FC236}">
                        <a16:creationId xmlns:a16="http://schemas.microsoft.com/office/drawing/2014/main" id="{408ADFCB-CEF9-1EA0-D9B5-8E19BC22D9A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271963" y="2960688"/>
                    <a:ext cx="109538" cy="111125"/>
                  </a:xfrm>
                  <a:custGeom>
                    <a:avLst/>
                    <a:gdLst>
                      <a:gd name="T0" fmla="*/ 5 w 59"/>
                      <a:gd name="T1" fmla="*/ 60 h 60"/>
                      <a:gd name="T2" fmla="*/ 59 w 59"/>
                      <a:gd name="T3" fmla="*/ 6 h 60"/>
                      <a:gd name="T4" fmla="*/ 56 w 59"/>
                      <a:gd name="T5" fmla="*/ 3 h 60"/>
                      <a:gd name="T6" fmla="*/ 54 w 59"/>
                      <a:gd name="T7" fmla="*/ 0 h 60"/>
                      <a:gd name="T8" fmla="*/ 0 w 59"/>
                      <a:gd name="T9" fmla="*/ 54 h 60"/>
                      <a:gd name="T10" fmla="*/ 5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" y="60"/>
                        </a:moveTo>
                        <a:cubicBezTo>
                          <a:pt x="59" y="6"/>
                          <a:pt x="59" y="6"/>
                          <a:pt x="59" y="6"/>
                        </a:cubicBezTo>
                        <a:cubicBezTo>
                          <a:pt x="58" y="5"/>
                          <a:pt x="57" y="4"/>
                          <a:pt x="56" y="3"/>
                        </a:cubicBezTo>
                        <a:cubicBezTo>
                          <a:pt x="55" y="2"/>
                          <a:pt x="55" y="1"/>
                          <a:pt x="54" y="0"/>
                        </a:cubicBezTo>
                        <a:cubicBezTo>
                          <a:pt x="0" y="54"/>
                          <a:pt x="0" y="54"/>
                          <a:pt x="0" y="54"/>
                        </a:cubicBezTo>
                        <a:cubicBezTo>
                          <a:pt x="2" y="56"/>
                          <a:pt x="4" y="58"/>
                          <a:pt x="5" y="6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7" name="Freeform 27">
                    <a:extLst>
                      <a:ext uri="{FF2B5EF4-FFF2-40B4-BE49-F238E27FC236}">
                        <a16:creationId xmlns:a16="http://schemas.microsoft.com/office/drawing/2014/main" id="{C9883BF8-6697-5569-36C0-435B545394B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79513" y="2963863"/>
                    <a:ext cx="109538" cy="111125"/>
                  </a:xfrm>
                  <a:custGeom>
                    <a:avLst/>
                    <a:gdLst>
                      <a:gd name="T0" fmla="*/ 54 w 59"/>
                      <a:gd name="T1" fmla="*/ 60 h 60"/>
                      <a:gd name="T2" fmla="*/ 59 w 59"/>
                      <a:gd name="T3" fmla="*/ 54 h 60"/>
                      <a:gd name="T4" fmla="*/ 6 w 59"/>
                      <a:gd name="T5" fmla="*/ 0 h 60"/>
                      <a:gd name="T6" fmla="*/ 5 w 59"/>
                      <a:gd name="T7" fmla="*/ 1 h 60"/>
                      <a:gd name="T8" fmla="*/ 0 w 59"/>
                      <a:gd name="T9" fmla="*/ 6 h 60"/>
                      <a:gd name="T10" fmla="*/ 54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4" y="60"/>
                        </a:moveTo>
                        <a:cubicBezTo>
                          <a:pt x="56" y="58"/>
                          <a:pt x="57" y="56"/>
                          <a:pt x="59" y="54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5" y="1"/>
                          <a:pt x="5" y="1"/>
                          <a:pt x="5" y="1"/>
                        </a:cubicBezTo>
                        <a:cubicBezTo>
                          <a:pt x="3" y="3"/>
                          <a:pt x="2" y="4"/>
                          <a:pt x="0" y="6"/>
                        </a:cubicBezTo>
                        <a:lnTo>
                          <a:pt x="54" y="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8" name="Freeform 28">
                    <a:extLst>
                      <a:ext uri="{FF2B5EF4-FFF2-40B4-BE49-F238E27FC236}">
                        <a16:creationId xmlns:a16="http://schemas.microsoft.com/office/drawing/2014/main" id="{B78657C6-0BFC-DE87-9FA8-FA3C5CC6041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28638" y="4557713"/>
                    <a:ext cx="138113" cy="14288"/>
                  </a:xfrm>
                  <a:custGeom>
                    <a:avLst/>
                    <a:gdLst>
                      <a:gd name="T0" fmla="*/ 75 w 75"/>
                      <a:gd name="T1" fmla="*/ 0 h 8"/>
                      <a:gd name="T2" fmla="*/ 0 w 75"/>
                      <a:gd name="T3" fmla="*/ 0 h 8"/>
                      <a:gd name="T4" fmla="*/ 0 w 75"/>
                      <a:gd name="T5" fmla="*/ 8 h 8"/>
                      <a:gd name="T6" fmla="*/ 75 w 75"/>
                      <a:gd name="T7" fmla="*/ 8 h 8"/>
                      <a:gd name="T8" fmla="*/ 75 w 75"/>
                      <a:gd name="T9" fmla="*/ 0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8">
                        <a:moveTo>
                          <a:pt x="75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cubicBezTo>
                          <a:pt x="75" y="8"/>
                          <a:pt x="75" y="8"/>
                          <a:pt x="75" y="8"/>
                        </a:cubicBezTo>
                        <a:cubicBezTo>
                          <a:pt x="75" y="5"/>
                          <a:pt x="75" y="3"/>
                          <a:pt x="75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9" name="Freeform 29">
                    <a:extLst>
                      <a:ext uri="{FF2B5EF4-FFF2-40B4-BE49-F238E27FC236}">
                        <a16:creationId xmlns:a16="http://schemas.microsoft.com/office/drawing/2014/main" id="{00ACF9E7-1BB3-D8D9-09F1-5F49F921CF1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133850" y="2828926"/>
                    <a:ext cx="103188" cy="115888"/>
                  </a:xfrm>
                  <a:custGeom>
                    <a:avLst/>
                    <a:gdLst>
                      <a:gd name="T0" fmla="*/ 0 w 55"/>
                      <a:gd name="T1" fmla="*/ 58 h 63"/>
                      <a:gd name="T2" fmla="*/ 6 w 55"/>
                      <a:gd name="T3" fmla="*/ 63 h 63"/>
                      <a:gd name="T4" fmla="*/ 55 w 55"/>
                      <a:gd name="T5" fmla="*/ 5 h 63"/>
                      <a:gd name="T6" fmla="*/ 49 w 55"/>
                      <a:gd name="T7" fmla="*/ 0 h 63"/>
                      <a:gd name="T8" fmla="*/ 0 w 55"/>
                      <a:gd name="T9" fmla="*/ 58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0" y="58"/>
                        </a:moveTo>
                        <a:cubicBezTo>
                          <a:pt x="2" y="60"/>
                          <a:pt x="4" y="62"/>
                          <a:pt x="6" y="63"/>
                        </a:cubicBezTo>
                        <a:cubicBezTo>
                          <a:pt x="55" y="5"/>
                          <a:pt x="55" y="5"/>
                          <a:pt x="55" y="5"/>
                        </a:cubicBezTo>
                        <a:cubicBezTo>
                          <a:pt x="53" y="3"/>
                          <a:pt x="51" y="2"/>
                          <a:pt x="49" y="0"/>
                        </a:cubicBezTo>
                        <a:lnTo>
                          <a:pt x="0" y="58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0" name="Freeform 30">
                    <a:extLst>
                      <a:ext uri="{FF2B5EF4-FFF2-40B4-BE49-F238E27FC236}">
                        <a16:creationId xmlns:a16="http://schemas.microsoft.com/office/drawing/2014/main" id="{23567B3C-99AC-57A9-DD31-22D8E7FAA30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58813" y="3787776"/>
                    <a:ext cx="136525" cy="60325"/>
                  </a:xfrm>
                  <a:custGeom>
                    <a:avLst/>
                    <a:gdLst>
                      <a:gd name="T0" fmla="*/ 71 w 74"/>
                      <a:gd name="T1" fmla="*/ 33 h 33"/>
                      <a:gd name="T2" fmla="*/ 74 w 74"/>
                      <a:gd name="T3" fmla="*/ 26 h 33"/>
                      <a:gd name="T4" fmla="*/ 2 w 74"/>
                      <a:gd name="T5" fmla="*/ 0 h 33"/>
                      <a:gd name="T6" fmla="*/ 0 w 74"/>
                      <a:gd name="T7" fmla="*/ 7 h 33"/>
                      <a:gd name="T8" fmla="*/ 71 w 74"/>
                      <a:gd name="T9" fmla="*/ 33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4" h="33">
                        <a:moveTo>
                          <a:pt x="71" y="33"/>
                        </a:moveTo>
                        <a:cubicBezTo>
                          <a:pt x="72" y="31"/>
                          <a:pt x="73" y="28"/>
                          <a:pt x="74" y="26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2" y="2"/>
                          <a:pt x="1" y="5"/>
                          <a:pt x="0" y="7"/>
                        </a:cubicBezTo>
                        <a:lnTo>
                          <a:pt x="71" y="3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1" name="Freeform 31">
                    <a:extLst>
                      <a:ext uri="{FF2B5EF4-FFF2-40B4-BE49-F238E27FC236}">
                        <a16:creationId xmlns:a16="http://schemas.microsoft.com/office/drawing/2014/main" id="{1F470959-DBAA-9998-5737-96CF88B4E7E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832225" y="2605088"/>
                    <a:ext cx="84138" cy="128588"/>
                  </a:xfrm>
                  <a:custGeom>
                    <a:avLst/>
                    <a:gdLst>
                      <a:gd name="T0" fmla="*/ 0 w 45"/>
                      <a:gd name="T1" fmla="*/ 65 h 70"/>
                      <a:gd name="T2" fmla="*/ 7 w 45"/>
                      <a:gd name="T3" fmla="*/ 70 h 70"/>
                      <a:gd name="T4" fmla="*/ 45 w 45"/>
                      <a:gd name="T5" fmla="*/ 4 h 70"/>
                      <a:gd name="T6" fmla="*/ 38 w 45"/>
                      <a:gd name="T7" fmla="*/ 0 h 70"/>
                      <a:gd name="T8" fmla="*/ 0 w 45"/>
                      <a:gd name="T9" fmla="*/ 65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0" y="65"/>
                        </a:moveTo>
                        <a:cubicBezTo>
                          <a:pt x="3" y="67"/>
                          <a:pt x="5" y="68"/>
                          <a:pt x="7" y="70"/>
                        </a:cubicBezTo>
                        <a:cubicBezTo>
                          <a:pt x="45" y="4"/>
                          <a:pt x="45" y="4"/>
                          <a:pt x="45" y="4"/>
                        </a:cubicBezTo>
                        <a:cubicBezTo>
                          <a:pt x="43" y="2"/>
                          <a:pt x="41" y="1"/>
                          <a:pt x="38" y="0"/>
                        </a:cubicBezTo>
                        <a:lnTo>
                          <a:pt x="0" y="65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2" name="Freeform 32">
                    <a:extLst>
                      <a:ext uri="{FF2B5EF4-FFF2-40B4-BE49-F238E27FC236}">
                        <a16:creationId xmlns:a16="http://schemas.microsoft.com/office/drawing/2014/main" id="{21C665B5-69C6-DFA4-1E51-1427C31FDC7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987800" y="2708276"/>
                    <a:ext cx="95250" cy="123825"/>
                  </a:xfrm>
                  <a:custGeom>
                    <a:avLst/>
                    <a:gdLst>
                      <a:gd name="T0" fmla="*/ 0 w 51"/>
                      <a:gd name="T1" fmla="*/ 63 h 67"/>
                      <a:gd name="T2" fmla="*/ 7 w 51"/>
                      <a:gd name="T3" fmla="*/ 67 h 67"/>
                      <a:gd name="T4" fmla="*/ 51 w 51"/>
                      <a:gd name="T5" fmla="*/ 5 h 67"/>
                      <a:gd name="T6" fmla="*/ 44 w 51"/>
                      <a:gd name="T7" fmla="*/ 0 h 67"/>
                      <a:gd name="T8" fmla="*/ 0 w 51"/>
                      <a:gd name="T9" fmla="*/ 63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1" h="67">
                        <a:moveTo>
                          <a:pt x="0" y="63"/>
                        </a:moveTo>
                        <a:cubicBezTo>
                          <a:pt x="2" y="64"/>
                          <a:pt x="5" y="66"/>
                          <a:pt x="7" y="67"/>
                        </a:cubicBezTo>
                        <a:cubicBezTo>
                          <a:pt x="51" y="5"/>
                          <a:pt x="51" y="5"/>
                          <a:pt x="51" y="5"/>
                        </a:cubicBezTo>
                        <a:cubicBezTo>
                          <a:pt x="48" y="3"/>
                          <a:pt x="46" y="2"/>
                          <a:pt x="44" y="0"/>
                        </a:cubicBezTo>
                        <a:lnTo>
                          <a:pt x="0" y="63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3" name="Freeform 33">
                    <a:extLst>
                      <a:ext uri="{FF2B5EF4-FFF2-40B4-BE49-F238E27FC236}">
                        <a16:creationId xmlns:a16="http://schemas.microsoft.com/office/drawing/2014/main" id="{A1680B38-EC90-FDE2-609E-F49E64F6389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61988" y="5280026"/>
                    <a:ext cx="139700" cy="60325"/>
                  </a:xfrm>
                  <a:custGeom>
                    <a:avLst/>
                    <a:gdLst>
                      <a:gd name="T0" fmla="*/ 75 w 75"/>
                      <a:gd name="T1" fmla="*/ 7 h 33"/>
                      <a:gd name="T2" fmla="*/ 72 w 75"/>
                      <a:gd name="T3" fmla="*/ 0 h 33"/>
                      <a:gd name="T4" fmla="*/ 0 w 75"/>
                      <a:gd name="T5" fmla="*/ 26 h 33"/>
                      <a:gd name="T6" fmla="*/ 3 w 75"/>
                      <a:gd name="T7" fmla="*/ 33 h 33"/>
                      <a:gd name="T8" fmla="*/ 75 w 75"/>
                      <a:gd name="T9" fmla="*/ 7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33">
                        <a:moveTo>
                          <a:pt x="75" y="7"/>
                        </a:moveTo>
                        <a:cubicBezTo>
                          <a:pt x="74" y="5"/>
                          <a:pt x="73" y="2"/>
                          <a:pt x="72" y="0"/>
                        </a:cubicBezTo>
                        <a:cubicBezTo>
                          <a:pt x="0" y="26"/>
                          <a:pt x="0" y="26"/>
                          <a:pt x="0" y="26"/>
                        </a:cubicBezTo>
                        <a:cubicBezTo>
                          <a:pt x="1" y="28"/>
                          <a:pt x="2" y="31"/>
                          <a:pt x="3" y="33"/>
                        </a:cubicBezTo>
                        <a:lnTo>
                          <a:pt x="75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4" name="Freeform 34">
                    <a:extLst>
                      <a:ext uri="{FF2B5EF4-FFF2-40B4-BE49-F238E27FC236}">
                        <a16:creationId xmlns:a16="http://schemas.microsoft.com/office/drawing/2014/main" id="{9D569EA9-E39D-A3AA-BF98-E1BCF1D3457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04838" y="5103813"/>
                    <a:ext cx="138113" cy="50800"/>
                  </a:xfrm>
                  <a:custGeom>
                    <a:avLst/>
                    <a:gdLst>
                      <a:gd name="T0" fmla="*/ 75 w 75"/>
                      <a:gd name="T1" fmla="*/ 8 h 27"/>
                      <a:gd name="T2" fmla="*/ 73 w 75"/>
                      <a:gd name="T3" fmla="*/ 0 h 27"/>
                      <a:gd name="T4" fmla="*/ 0 w 75"/>
                      <a:gd name="T5" fmla="*/ 20 h 27"/>
                      <a:gd name="T6" fmla="*/ 2 w 75"/>
                      <a:gd name="T7" fmla="*/ 27 h 27"/>
                      <a:gd name="T8" fmla="*/ 75 w 75"/>
                      <a:gd name="T9" fmla="*/ 8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27">
                        <a:moveTo>
                          <a:pt x="75" y="8"/>
                        </a:moveTo>
                        <a:cubicBezTo>
                          <a:pt x="74" y="5"/>
                          <a:pt x="74" y="3"/>
                          <a:pt x="73" y="0"/>
                        </a:cubicBezTo>
                        <a:cubicBezTo>
                          <a:pt x="0" y="20"/>
                          <a:pt x="0" y="20"/>
                          <a:pt x="0" y="20"/>
                        </a:cubicBezTo>
                        <a:cubicBezTo>
                          <a:pt x="0" y="22"/>
                          <a:pt x="1" y="25"/>
                          <a:pt x="2" y="27"/>
                        </a:cubicBezTo>
                        <a:lnTo>
                          <a:pt x="75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5" name="Freeform 35">
                    <a:extLst>
                      <a:ext uri="{FF2B5EF4-FFF2-40B4-BE49-F238E27FC236}">
                        <a16:creationId xmlns:a16="http://schemas.microsoft.com/office/drawing/2014/main" id="{F26952F0-9E05-1D5D-6B3C-683FA19684B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8675" y="5613401"/>
                    <a:ext cx="130175" cy="82550"/>
                  </a:xfrm>
                  <a:custGeom>
                    <a:avLst/>
                    <a:gdLst>
                      <a:gd name="T0" fmla="*/ 70 w 70"/>
                      <a:gd name="T1" fmla="*/ 7 h 45"/>
                      <a:gd name="T2" fmla="*/ 66 w 70"/>
                      <a:gd name="T3" fmla="*/ 0 h 45"/>
                      <a:gd name="T4" fmla="*/ 0 w 70"/>
                      <a:gd name="T5" fmla="*/ 38 h 45"/>
                      <a:gd name="T6" fmla="*/ 4 w 70"/>
                      <a:gd name="T7" fmla="*/ 45 h 45"/>
                      <a:gd name="T8" fmla="*/ 70 w 70"/>
                      <a:gd name="T9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70" y="7"/>
                        </a:moveTo>
                        <a:cubicBezTo>
                          <a:pt x="69" y="4"/>
                          <a:pt x="67" y="2"/>
                          <a:pt x="66" y="0"/>
                        </a:cubicBezTo>
                        <a:cubicBezTo>
                          <a:pt x="0" y="38"/>
                          <a:pt x="0" y="38"/>
                          <a:pt x="0" y="38"/>
                        </a:cubicBezTo>
                        <a:cubicBezTo>
                          <a:pt x="1" y="40"/>
                          <a:pt x="3" y="42"/>
                          <a:pt x="4" y="45"/>
                        </a:cubicBezTo>
                        <a:lnTo>
                          <a:pt x="70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6" name="Freeform 36">
                    <a:extLst>
                      <a:ext uri="{FF2B5EF4-FFF2-40B4-BE49-F238E27FC236}">
                        <a16:creationId xmlns:a16="http://schemas.microsoft.com/office/drawing/2014/main" id="{D290BA17-046A-D7C7-9E80-53863DF0BA2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61975" y="4924426"/>
                    <a:ext cx="141288" cy="38100"/>
                  </a:xfrm>
                  <a:custGeom>
                    <a:avLst/>
                    <a:gdLst>
                      <a:gd name="T0" fmla="*/ 76 w 76"/>
                      <a:gd name="T1" fmla="*/ 8 h 21"/>
                      <a:gd name="T2" fmla="*/ 74 w 76"/>
                      <a:gd name="T3" fmla="*/ 0 h 21"/>
                      <a:gd name="T4" fmla="*/ 0 w 76"/>
                      <a:gd name="T5" fmla="*/ 13 h 21"/>
                      <a:gd name="T6" fmla="*/ 1 w 76"/>
                      <a:gd name="T7" fmla="*/ 21 h 21"/>
                      <a:gd name="T8" fmla="*/ 76 w 76"/>
                      <a:gd name="T9" fmla="*/ 8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21">
                        <a:moveTo>
                          <a:pt x="76" y="8"/>
                        </a:moveTo>
                        <a:cubicBezTo>
                          <a:pt x="75" y="5"/>
                          <a:pt x="75" y="3"/>
                          <a:pt x="74" y="0"/>
                        </a:cubicBez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0" y="16"/>
                          <a:pt x="1" y="18"/>
                          <a:pt x="1" y="21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7" name="Freeform 37">
                    <a:extLst>
                      <a:ext uri="{FF2B5EF4-FFF2-40B4-BE49-F238E27FC236}">
                        <a16:creationId xmlns:a16="http://schemas.microsoft.com/office/drawing/2014/main" id="{904D7A2A-DF4D-59B2-1AB1-64BC333DBD2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8188" y="5449888"/>
                    <a:ext cx="133350" cy="73025"/>
                  </a:xfrm>
                  <a:custGeom>
                    <a:avLst/>
                    <a:gdLst>
                      <a:gd name="T0" fmla="*/ 72 w 72"/>
                      <a:gd name="T1" fmla="*/ 7 h 39"/>
                      <a:gd name="T2" fmla="*/ 69 w 72"/>
                      <a:gd name="T3" fmla="*/ 0 h 39"/>
                      <a:gd name="T4" fmla="*/ 0 w 72"/>
                      <a:gd name="T5" fmla="*/ 32 h 39"/>
                      <a:gd name="T6" fmla="*/ 3 w 72"/>
                      <a:gd name="T7" fmla="*/ 39 h 39"/>
                      <a:gd name="T8" fmla="*/ 72 w 72"/>
                      <a:gd name="T9" fmla="*/ 7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72" y="7"/>
                        </a:moveTo>
                        <a:cubicBezTo>
                          <a:pt x="71" y="4"/>
                          <a:pt x="70" y="2"/>
                          <a:pt x="69" y="0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1" y="34"/>
                          <a:pt x="2" y="37"/>
                          <a:pt x="3" y="39"/>
                        </a:cubicBezTo>
                        <a:lnTo>
                          <a:pt x="72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8" name="Freeform 39">
                    <a:extLst>
                      <a:ext uri="{FF2B5EF4-FFF2-40B4-BE49-F238E27FC236}">
                        <a16:creationId xmlns:a16="http://schemas.microsoft.com/office/drawing/2014/main" id="{A507E2D7-5FEE-C4AC-4245-1DACEA7A29B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740276"/>
                    <a:ext cx="139700" cy="28575"/>
                  </a:xfrm>
                  <a:custGeom>
                    <a:avLst/>
                    <a:gdLst>
                      <a:gd name="T0" fmla="*/ 76 w 76"/>
                      <a:gd name="T1" fmla="*/ 8 h 15"/>
                      <a:gd name="T2" fmla="*/ 75 w 76"/>
                      <a:gd name="T3" fmla="*/ 0 h 15"/>
                      <a:gd name="T4" fmla="*/ 0 w 76"/>
                      <a:gd name="T5" fmla="*/ 7 h 15"/>
                      <a:gd name="T6" fmla="*/ 1 w 76"/>
                      <a:gd name="T7" fmla="*/ 15 h 15"/>
                      <a:gd name="T8" fmla="*/ 76 w 76"/>
                      <a:gd name="T9" fmla="*/ 8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15">
                        <a:moveTo>
                          <a:pt x="76" y="8"/>
                        </a:moveTo>
                        <a:cubicBezTo>
                          <a:pt x="76" y="6"/>
                          <a:pt x="76" y="3"/>
                          <a:pt x="75" y="0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10"/>
                          <a:pt x="1" y="12"/>
                          <a:pt x="1" y="15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9" name="Freeform 40">
                    <a:extLst>
                      <a:ext uri="{FF2B5EF4-FFF2-40B4-BE49-F238E27FC236}">
                        <a16:creationId xmlns:a16="http://schemas.microsoft.com/office/drawing/2014/main" id="{4829CD68-D24B-DBB9-5888-D456A3148E0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360863"/>
                    <a:ext cx="138113" cy="28575"/>
                  </a:xfrm>
                  <a:custGeom>
                    <a:avLst/>
                    <a:gdLst>
                      <a:gd name="T0" fmla="*/ 75 w 75"/>
                      <a:gd name="T1" fmla="*/ 15 h 15"/>
                      <a:gd name="T2" fmla="*/ 75 w 75"/>
                      <a:gd name="T3" fmla="*/ 7 h 15"/>
                      <a:gd name="T4" fmla="*/ 0 w 75"/>
                      <a:gd name="T5" fmla="*/ 0 h 15"/>
                      <a:gd name="T6" fmla="*/ 0 w 75"/>
                      <a:gd name="T7" fmla="*/ 8 h 15"/>
                      <a:gd name="T8" fmla="*/ 75 w 75"/>
                      <a:gd name="T9" fmla="*/ 15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5">
                        <a:moveTo>
                          <a:pt x="75" y="15"/>
                        </a:moveTo>
                        <a:cubicBezTo>
                          <a:pt x="75" y="12"/>
                          <a:pt x="75" y="9"/>
                          <a:pt x="75" y="7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lnTo>
                          <a:pt x="75" y="1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0" name="Freeform 41">
                    <a:extLst>
                      <a:ext uri="{FF2B5EF4-FFF2-40B4-BE49-F238E27FC236}">
                        <a16:creationId xmlns:a16="http://schemas.microsoft.com/office/drawing/2014/main" id="{5F086B63-AACD-D91E-D16C-AF6ADD21F70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644900" y="2508251"/>
                    <a:ext cx="107950" cy="171450"/>
                  </a:xfrm>
                  <a:custGeom>
                    <a:avLst/>
                    <a:gdLst>
                      <a:gd name="T0" fmla="*/ 39 w 58"/>
                      <a:gd name="T1" fmla="*/ 0 h 93"/>
                      <a:gd name="T2" fmla="*/ 0 w 58"/>
                      <a:gd name="T3" fmla="*/ 85 h 93"/>
                      <a:gd name="T4" fmla="*/ 10 w 58"/>
                      <a:gd name="T5" fmla="*/ 89 h 93"/>
                      <a:gd name="T6" fmla="*/ 19 w 58"/>
                      <a:gd name="T7" fmla="*/ 93 h 93"/>
                      <a:gd name="T8" fmla="*/ 58 w 58"/>
                      <a:gd name="T9" fmla="*/ 8 h 93"/>
                      <a:gd name="T10" fmla="*/ 49 w 58"/>
                      <a:gd name="T11" fmla="*/ 4 h 93"/>
                      <a:gd name="T12" fmla="*/ 39 w 58"/>
                      <a:gd name="T13" fmla="*/ 0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39" y="0"/>
                        </a:moveTo>
                        <a:cubicBezTo>
                          <a:pt x="0" y="85"/>
                          <a:pt x="0" y="85"/>
                          <a:pt x="0" y="85"/>
                        </a:cubicBezTo>
                        <a:cubicBezTo>
                          <a:pt x="2" y="85"/>
                          <a:pt x="8" y="88"/>
                          <a:pt x="10" y="89"/>
                        </a:cubicBezTo>
                        <a:cubicBezTo>
                          <a:pt x="11" y="90"/>
                          <a:pt x="17" y="93"/>
                          <a:pt x="19" y="93"/>
                        </a:cubicBezTo>
                        <a:cubicBezTo>
                          <a:pt x="58" y="8"/>
                          <a:pt x="58" y="8"/>
                          <a:pt x="58" y="8"/>
                        </a:cubicBezTo>
                        <a:cubicBezTo>
                          <a:pt x="56" y="8"/>
                          <a:pt x="50" y="4"/>
                          <a:pt x="49" y="4"/>
                        </a:cubicBezTo>
                        <a:cubicBezTo>
                          <a:pt x="47" y="3"/>
                          <a:pt x="41" y="0"/>
                          <a:pt x="39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1" name="Freeform 42">
                    <a:extLst>
                      <a:ext uri="{FF2B5EF4-FFF2-40B4-BE49-F238E27FC236}">
                        <a16:creationId xmlns:a16="http://schemas.microsoft.com/office/drawing/2014/main" id="{66DEED51-7348-FC6D-D39F-2997D293327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364038" y="3095626"/>
                    <a:ext cx="157163" cy="139700"/>
                  </a:xfrm>
                  <a:custGeom>
                    <a:avLst/>
                    <a:gdLst>
                      <a:gd name="T0" fmla="*/ 72 w 85"/>
                      <a:gd name="T1" fmla="*/ 0 h 76"/>
                      <a:gd name="T2" fmla="*/ 0 w 85"/>
                      <a:gd name="T3" fmla="*/ 60 h 76"/>
                      <a:gd name="T4" fmla="*/ 6 w 85"/>
                      <a:gd name="T5" fmla="*/ 68 h 76"/>
                      <a:gd name="T6" fmla="*/ 13 w 85"/>
                      <a:gd name="T7" fmla="*/ 76 h 76"/>
                      <a:gd name="T8" fmla="*/ 85 w 85"/>
                      <a:gd name="T9" fmla="*/ 16 h 76"/>
                      <a:gd name="T10" fmla="*/ 78 w 85"/>
                      <a:gd name="T11" fmla="*/ 8 h 76"/>
                      <a:gd name="T12" fmla="*/ 72 w 85"/>
                      <a:gd name="T13" fmla="*/ 0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6">
                        <a:moveTo>
                          <a:pt x="72" y="0"/>
                        </a:move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1" y="61"/>
                          <a:pt x="6" y="67"/>
                          <a:pt x="6" y="68"/>
                        </a:cubicBezTo>
                        <a:cubicBezTo>
                          <a:pt x="7" y="69"/>
                          <a:pt x="12" y="75"/>
                          <a:pt x="13" y="76"/>
                        </a:cubicBezTo>
                        <a:cubicBezTo>
                          <a:pt x="85" y="16"/>
                          <a:pt x="85" y="16"/>
                          <a:pt x="85" y="16"/>
                        </a:cubicBezTo>
                        <a:cubicBezTo>
                          <a:pt x="84" y="15"/>
                          <a:pt x="79" y="9"/>
                          <a:pt x="78" y="8"/>
                        </a:cubicBezTo>
                        <a:cubicBezTo>
                          <a:pt x="78" y="7"/>
                          <a:pt x="73" y="1"/>
                          <a:pt x="72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2" name="Freeform 43">
                    <a:extLst>
                      <a:ext uri="{FF2B5EF4-FFF2-40B4-BE49-F238E27FC236}">
                        <a16:creationId xmlns:a16="http://schemas.microsoft.com/office/drawing/2014/main" id="{D844C3AA-1B42-B971-0F73-0E661C9E31B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814513" y="2506663"/>
                    <a:ext cx="107950" cy="171450"/>
                  </a:xfrm>
                  <a:custGeom>
                    <a:avLst/>
                    <a:gdLst>
                      <a:gd name="T0" fmla="*/ 0 w 58"/>
                      <a:gd name="T1" fmla="*/ 9 h 93"/>
                      <a:gd name="T2" fmla="*/ 40 w 58"/>
                      <a:gd name="T3" fmla="*/ 93 h 93"/>
                      <a:gd name="T4" fmla="*/ 49 w 58"/>
                      <a:gd name="T5" fmla="*/ 89 h 93"/>
                      <a:gd name="T6" fmla="*/ 58 w 58"/>
                      <a:gd name="T7" fmla="*/ 85 h 93"/>
                      <a:gd name="T8" fmla="*/ 18 w 58"/>
                      <a:gd name="T9" fmla="*/ 0 h 93"/>
                      <a:gd name="T10" fmla="*/ 9 w 58"/>
                      <a:gd name="T11" fmla="*/ 4 h 93"/>
                      <a:gd name="T12" fmla="*/ 0 w 58"/>
                      <a:gd name="T13" fmla="*/ 9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0" y="9"/>
                        </a:moveTo>
                        <a:cubicBezTo>
                          <a:pt x="40" y="93"/>
                          <a:pt x="40" y="93"/>
                          <a:pt x="40" y="93"/>
                        </a:cubicBezTo>
                        <a:cubicBezTo>
                          <a:pt x="41" y="93"/>
                          <a:pt x="47" y="90"/>
                          <a:pt x="49" y="89"/>
                        </a:cubicBezTo>
                        <a:cubicBezTo>
                          <a:pt x="50" y="88"/>
                          <a:pt x="57" y="85"/>
                          <a:pt x="58" y="85"/>
                        </a:cubicBezTo>
                        <a:cubicBezTo>
                          <a:pt x="18" y="0"/>
                          <a:pt x="18" y="0"/>
                          <a:pt x="18" y="0"/>
                        </a:cubicBezTo>
                        <a:cubicBezTo>
                          <a:pt x="17" y="1"/>
                          <a:pt x="10" y="4"/>
                          <a:pt x="9" y="4"/>
                        </a:cubicBezTo>
                        <a:cubicBezTo>
                          <a:pt x="7" y="5"/>
                          <a:pt x="1" y="8"/>
                          <a:pt x="0" y="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3" name="Freeform 44">
                    <a:extLst>
                      <a:ext uri="{FF2B5EF4-FFF2-40B4-BE49-F238E27FC236}">
                        <a16:creationId xmlns:a16="http://schemas.microsoft.com/office/drawing/2014/main" id="{9B7931EC-E8B7-184C-D82C-BCE4E21FFAA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225" y="3100388"/>
                    <a:ext cx="157163" cy="139700"/>
                  </a:xfrm>
                  <a:custGeom>
                    <a:avLst/>
                    <a:gdLst>
                      <a:gd name="T0" fmla="*/ 0 w 85"/>
                      <a:gd name="T1" fmla="*/ 16 h 75"/>
                      <a:gd name="T2" fmla="*/ 72 w 85"/>
                      <a:gd name="T3" fmla="*/ 75 h 75"/>
                      <a:gd name="T4" fmla="*/ 78 w 85"/>
                      <a:gd name="T5" fmla="*/ 67 h 75"/>
                      <a:gd name="T6" fmla="*/ 85 w 85"/>
                      <a:gd name="T7" fmla="*/ 59 h 75"/>
                      <a:gd name="T8" fmla="*/ 12 w 85"/>
                      <a:gd name="T9" fmla="*/ 0 h 75"/>
                      <a:gd name="T10" fmla="*/ 6 w 85"/>
                      <a:gd name="T11" fmla="*/ 8 h 75"/>
                      <a:gd name="T12" fmla="*/ 0 w 85"/>
                      <a:gd name="T13" fmla="*/ 16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5">
                        <a:moveTo>
                          <a:pt x="0" y="16"/>
                        </a:moveTo>
                        <a:cubicBezTo>
                          <a:pt x="72" y="75"/>
                          <a:pt x="72" y="75"/>
                          <a:pt x="72" y="75"/>
                        </a:cubicBezTo>
                        <a:cubicBezTo>
                          <a:pt x="73" y="74"/>
                          <a:pt x="78" y="68"/>
                          <a:pt x="78" y="67"/>
                        </a:cubicBezTo>
                        <a:cubicBezTo>
                          <a:pt x="79" y="66"/>
                          <a:pt x="84" y="60"/>
                          <a:pt x="85" y="59"/>
                        </a:cubicBezTo>
                        <a:cubicBezTo>
                          <a:pt x="12" y="0"/>
                          <a:pt x="12" y="0"/>
                          <a:pt x="12" y="0"/>
                        </a:cubicBezTo>
                        <a:cubicBezTo>
                          <a:pt x="11" y="1"/>
                          <a:pt x="7" y="7"/>
                          <a:pt x="6" y="8"/>
                        </a:cubicBezTo>
                        <a:cubicBezTo>
                          <a:pt x="5" y="9"/>
                          <a:pt x="0" y="14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4" name="Freeform 46">
                    <a:extLst>
                      <a:ext uri="{FF2B5EF4-FFF2-40B4-BE49-F238E27FC236}">
                        <a16:creationId xmlns:a16="http://schemas.microsoft.com/office/drawing/2014/main" id="{310CB541-D28D-E13D-7BBB-B6CBDAB6D27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58800" y="4906963"/>
                    <a:ext cx="177800" cy="69850"/>
                  </a:xfrm>
                  <a:custGeom>
                    <a:avLst/>
                    <a:gdLst>
                      <a:gd name="T0" fmla="*/ 4 w 96"/>
                      <a:gd name="T1" fmla="*/ 37 h 37"/>
                      <a:gd name="T2" fmla="*/ 96 w 96"/>
                      <a:gd name="T3" fmla="*/ 20 h 37"/>
                      <a:gd name="T4" fmla="*/ 94 w 96"/>
                      <a:gd name="T5" fmla="*/ 10 h 37"/>
                      <a:gd name="T6" fmla="*/ 92 w 96"/>
                      <a:gd name="T7" fmla="*/ 0 h 37"/>
                      <a:gd name="T8" fmla="*/ 0 w 96"/>
                      <a:gd name="T9" fmla="*/ 17 h 37"/>
                      <a:gd name="T10" fmla="*/ 2 w 96"/>
                      <a:gd name="T11" fmla="*/ 27 h 37"/>
                      <a:gd name="T12" fmla="*/ 4 w 96"/>
                      <a:gd name="T13" fmla="*/ 37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6" h="37">
                        <a:moveTo>
                          <a:pt x="4" y="37"/>
                        </a:moveTo>
                        <a:cubicBezTo>
                          <a:pt x="96" y="20"/>
                          <a:pt x="96" y="20"/>
                          <a:pt x="96" y="20"/>
                        </a:cubicBezTo>
                        <a:cubicBezTo>
                          <a:pt x="96" y="19"/>
                          <a:pt x="94" y="12"/>
                          <a:pt x="94" y="10"/>
                        </a:cubicBezTo>
                        <a:cubicBezTo>
                          <a:pt x="94" y="9"/>
                          <a:pt x="93" y="2"/>
                          <a:pt x="92" y="0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1" y="18"/>
                          <a:pt x="2" y="25"/>
                          <a:pt x="2" y="27"/>
                        </a:cubicBezTo>
                        <a:cubicBezTo>
                          <a:pt x="2" y="28"/>
                          <a:pt x="4" y="35"/>
                          <a:pt x="4" y="3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98" name="Group 1019">
                <a:extLst>
                  <a:ext uri="{FF2B5EF4-FFF2-40B4-BE49-F238E27FC236}">
                    <a16:creationId xmlns:a16="http://schemas.microsoft.com/office/drawing/2014/main" id="{B26ED103-F395-630D-6F06-2E8C58328A6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486427" y="2263024"/>
                <a:ext cx="1699667" cy="2477857"/>
                <a:chOff x="1866900" y="3224213"/>
                <a:chExt cx="2184400" cy="3184525"/>
              </a:xfrm>
            </p:grpSpPr>
            <p:sp>
              <p:nvSpPr>
                <p:cNvPr id="223" name="Freeform 47">
                  <a:extLst>
                    <a:ext uri="{FF2B5EF4-FFF2-40B4-BE49-F238E27FC236}">
                      <a16:creationId xmlns:a16="http://schemas.microsoft.com/office/drawing/2014/main" id="{E9FF83FC-E9A4-6ADC-677B-67729E0D98E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933575" y="3373438"/>
                  <a:ext cx="2117725" cy="3035300"/>
                </a:xfrm>
                <a:custGeom>
                  <a:avLst/>
                  <a:gdLst>
                    <a:gd name="T0" fmla="*/ 1142 w 1142"/>
                    <a:gd name="T1" fmla="*/ 0 h 1640"/>
                    <a:gd name="T2" fmla="*/ 883 w 1142"/>
                    <a:gd name="T3" fmla="*/ 142 h 1640"/>
                    <a:gd name="T4" fmla="*/ 947 w 1142"/>
                    <a:gd name="T5" fmla="*/ 186 h 1640"/>
                    <a:gd name="T6" fmla="*/ 619 w 1142"/>
                    <a:gd name="T7" fmla="*/ 667 h 1640"/>
                    <a:gd name="T8" fmla="*/ 588 w 1142"/>
                    <a:gd name="T9" fmla="*/ 663 h 1640"/>
                    <a:gd name="T10" fmla="*/ 465 w 1142"/>
                    <a:gd name="T11" fmla="*/ 729 h 1640"/>
                    <a:gd name="T12" fmla="*/ 463 w 1142"/>
                    <a:gd name="T13" fmla="*/ 895 h 1640"/>
                    <a:gd name="T14" fmla="*/ 0 w 1142"/>
                    <a:gd name="T15" fmla="*/ 1576 h 1640"/>
                    <a:gd name="T16" fmla="*/ 93 w 1142"/>
                    <a:gd name="T17" fmla="*/ 1640 h 1640"/>
                    <a:gd name="T18" fmla="*/ 558 w 1142"/>
                    <a:gd name="T19" fmla="*/ 959 h 1640"/>
                    <a:gd name="T20" fmla="*/ 588 w 1142"/>
                    <a:gd name="T21" fmla="*/ 963 h 1640"/>
                    <a:gd name="T22" fmla="*/ 712 w 1142"/>
                    <a:gd name="T23" fmla="*/ 897 h 1640"/>
                    <a:gd name="T24" fmla="*/ 713 w 1142"/>
                    <a:gd name="T25" fmla="*/ 731 h 1640"/>
                    <a:gd name="T26" fmla="*/ 1041 w 1142"/>
                    <a:gd name="T27" fmla="*/ 250 h 1640"/>
                    <a:gd name="T28" fmla="*/ 1105 w 1142"/>
                    <a:gd name="T29" fmla="*/ 293 h 1640"/>
                    <a:gd name="T30" fmla="*/ 1142 w 1142"/>
                    <a:gd name="T31" fmla="*/ 0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142" h="1640">
                      <a:moveTo>
                        <a:pt x="1142" y="0"/>
                      </a:move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619" y="667"/>
                        <a:pt x="619" y="667"/>
                        <a:pt x="619" y="667"/>
                      </a:cubicBezTo>
                      <a:cubicBezTo>
                        <a:pt x="609" y="665"/>
                        <a:pt x="599" y="663"/>
                        <a:pt x="588" y="663"/>
                      </a:cubicBezTo>
                      <a:cubicBezTo>
                        <a:pt x="541" y="663"/>
                        <a:pt x="494" y="686"/>
                        <a:pt x="465" y="729"/>
                      </a:cubicBezTo>
                      <a:cubicBezTo>
                        <a:pt x="430" y="780"/>
                        <a:pt x="431" y="846"/>
                        <a:pt x="463" y="895"/>
                      </a:cubicBezTo>
                      <a:cubicBezTo>
                        <a:pt x="463" y="895"/>
                        <a:pt x="56" y="1493"/>
                        <a:pt x="0" y="1576"/>
                      </a:cubicBezTo>
                      <a:cubicBezTo>
                        <a:pt x="93" y="1640"/>
                        <a:pt x="93" y="1640"/>
                        <a:pt x="93" y="1640"/>
                      </a:cubicBezTo>
                      <a:cubicBezTo>
                        <a:pt x="153" y="1551"/>
                        <a:pt x="558" y="959"/>
                        <a:pt x="558" y="959"/>
                      </a:cubicBezTo>
                      <a:cubicBezTo>
                        <a:pt x="568" y="961"/>
                        <a:pt x="578" y="963"/>
                        <a:pt x="588" y="963"/>
                      </a:cubicBezTo>
                      <a:cubicBezTo>
                        <a:pt x="636" y="963"/>
                        <a:pt x="683" y="940"/>
                        <a:pt x="712" y="897"/>
                      </a:cubicBezTo>
                      <a:cubicBezTo>
                        <a:pt x="747" y="846"/>
                        <a:pt x="745" y="780"/>
                        <a:pt x="713" y="731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142" y="0"/>
                        <a:pt x="1142" y="0"/>
                        <a:pt x="1142" y="0"/>
                      </a:cubicBezTo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 48">
                  <a:extLst>
                    <a:ext uri="{FF2B5EF4-FFF2-40B4-BE49-F238E27FC236}">
                      <a16:creationId xmlns:a16="http://schemas.microsoft.com/office/drawing/2014/main" id="{3874BD50-A8B3-7D3B-7E37-55FCCB838A2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866900" y="3224213"/>
                  <a:ext cx="2117725" cy="3036888"/>
                </a:xfrm>
                <a:custGeom>
                  <a:avLst/>
                  <a:gdLst>
                    <a:gd name="T0" fmla="*/ 0 w 1142"/>
                    <a:gd name="T1" fmla="*/ 1576 h 1640"/>
                    <a:gd name="T2" fmla="*/ 463 w 1142"/>
                    <a:gd name="T3" fmla="*/ 895 h 1640"/>
                    <a:gd name="T4" fmla="*/ 465 w 1142"/>
                    <a:gd name="T5" fmla="*/ 729 h 1640"/>
                    <a:gd name="T6" fmla="*/ 619 w 1142"/>
                    <a:gd name="T7" fmla="*/ 667 h 1640"/>
                    <a:gd name="T8" fmla="*/ 947 w 1142"/>
                    <a:gd name="T9" fmla="*/ 186 h 1640"/>
                    <a:gd name="T10" fmla="*/ 883 w 1142"/>
                    <a:gd name="T11" fmla="*/ 142 h 1640"/>
                    <a:gd name="T12" fmla="*/ 1142 w 1142"/>
                    <a:gd name="T13" fmla="*/ 0 h 1640"/>
                    <a:gd name="T14" fmla="*/ 1105 w 1142"/>
                    <a:gd name="T15" fmla="*/ 293 h 1640"/>
                    <a:gd name="T16" fmla="*/ 1041 w 1142"/>
                    <a:gd name="T17" fmla="*/ 250 h 1640"/>
                    <a:gd name="T18" fmla="*/ 713 w 1142"/>
                    <a:gd name="T19" fmla="*/ 731 h 1640"/>
                    <a:gd name="T20" fmla="*/ 712 w 1142"/>
                    <a:gd name="T21" fmla="*/ 897 h 1640"/>
                    <a:gd name="T22" fmla="*/ 558 w 1142"/>
                    <a:gd name="T23" fmla="*/ 959 h 1640"/>
                    <a:gd name="T24" fmla="*/ 93 w 1142"/>
                    <a:gd name="T25" fmla="*/ 1640 h 1640"/>
                    <a:gd name="T26" fmla="*/ 0 w 1142"/>
                    <a:gd name="T27" fmla="*/ 1576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42" h="1640">
                      <a:moveTo>
                        <a:pt x="0" y="1576"/>
                      </a:moveTo>
                      <a:cubicBezTo>
                        <a:pt x="56" y="1493"/>
                        <a:pt x="463" y="895"/>
                        <a:pt x="463" y="895"/>
                      </a:cubicBezTo>
                      <a:cubicBezTo>
                        <a:pt x="431" y="846"/>
                        <a:pt x="430" y="780"/>
                        <a:pt x="465" y="729"/>
                      </a:cubicBezTo>
                      <a:cubicBezTo>
                        <a:pt x="500" y="677"/>
                        <a:pt x="562" y="655"/>
                        <a:pt x="619" y="667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1142" y="0"/>
                        <a:pt x="1142" y="0"/>
                        <a:pt x="1142" y="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713" y="731"/>
                        <a:pt x="713" y="731"/>
                        <a:pt x="713" y="731"/>
                      </a:cubicBezTo>
                      <a:cubicBezTo>
                        <a:pt x="745" y="780"/>
                        <a:pt x="747" y="846"/>
                        <a:pt x="712" y="897"/>
                      </a:cubicBezTo>
                      <a:cubicBezTo>
                        <a:pt x="677" y="949"/>
                        <a:pt x="615" y="971"/>
                        <a:pt x="558" y="959"/>
                      </a:cubicBezTo>
                      <a:cubicBezTo>
                        <a:pt x="558" y="959"/>
                        <a:pt x="153" y="1551"/>
                        <a:pt x="93" y="1640"/>
                      </a:cubicBezTo>
                      <a:lnTo>
                        <a:pt x="0" y="157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 49">
                  <a:extLst>
                    <a:ext uri="{FF2B5EF4-FFF2-40B4-BE49-F238E27FC236}">
                      <a16:creationId xmlns:a16="http://schemas.microsoft.com/office/drawing/2014/main" id="{96E015BC-8C35-3C41-5171-7422114B107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849563" y="4622801"/>
                  <a:ext cx="215900" cy="214313"/>
                </a:xfrm>
                <a:custGeom>
                  <a:avLst/>
                  <a:gdLst>
                    <a:gd name="T0" fmla="*/ 100 w 116"/>
                    <a:gd name="T1" fmla="*/ 87 h 116"/>
                    <a:gd name="T2" fmla="*/ 30 w 116"/>
                    <a:gd name="T3" fmla="*/ 100 h 116"/>
                    <a:gd name="T4" fmla="*/ 16 w 116"/>
                    <a:gd name="T5" fmla="*/ 29 h 116"/>
                    <a:gd name="T6" fmla="*/ 87 w 116"/>
                    <a:gd name="T7" fmla="*/ 16 h 116"/>
                    <a:gd name="T8" fmla="*/ 100 w 116"/>
                    <a:gd name="T9" fmla="*/ 87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" h="116">
                      <a:moveTo>
                        <a:pt x="100" y="87"/>
                      </a:moveTo>
                      <a:cubicBezTo>
                        <a:pt x="85" y="110"/>
                        <a:pt x="53" y="116"/>
                        <a:pt x="30" y="100"/>
                      </a:cubicBezTo>
                      <a:cubicBezTo>
                        <a:pt x="6" y="84"/>
                        <a:pt x="0" y="53"/>
                        <a:pt x="16" y="29"/>
                      </a:cubicBezTo>
                      <a:cubicBezTo>
                        <a:pt x="32" y="6"/>
                        <a:pt x="64" y="0"/>
                        <a:pt x="87" y="16"/>
                      </a:cubicBezTo>
                      <a:cubicBezTo>
                        <a:pt x="110" y="32"/>
                        <a:pt x="116" y="63"/>
                        <a:pt x="100" y="87"/>
                      </a:cubicBezTo>
                      <a:close/>
                    </a:path>
                  </a:pathLst>
                </a:custGeom>
                <a:solidFill>
                  <a:srgbClr val="002B6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Oval 50">
                  <a:extLst>
                    <a:ext uri="{FF2B5EF4-FFF2-40B4-BE49-F238E27FC236}">
                      <a16:creationId xmlns:a16="http://schemas.microsoft.com/office/drawing/2014/main" id="{14620216-A99E-9596-F9E7-32859776E63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2919413" y="4694238"/>
                  <a:ext cx="73025" cy="73025"/>
                </a:xfrm>
                <a:prstGeom prst="ellipse">
                  <a:avLst/>
                </a:prstGeom>
                <a:solidFill>
                  <a:srgbClr val="56B9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99" name="Group 1020">
                <a:extLst>
                  <a:ext uri="{FF2B5EF4-FFF2-40B4-BE49-F238E27FC236}">
                    <a16:creationId xmlns:a16="http://schemas.microsoft.com/office/drawing/2014/main" id="{43579587-C58F-7587-9737-C03C110D7E6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163860" y="3516775"/>
                <a:ext cx="839952" cy="104994"/>
                <a:chOff x="4022725" y="4835526"/>
                <a:chExt cx="1079500" cy="134938"/>
              </a:xfrm>
            </p:grpSpPr>
            <p:sp>
              <p:nvSpPr>
                <p:cNvPr id="100" name="Rectangle 53">
                  <a:extLst>
                    <a:ext uri="{FF2B5EF4-FFF2-40B4-BE49-F238E27FC236}">
                      <a16:creationId xmlns:a16="http://schemas.microsoft.com/office/drawing/2014/main" id="{C3DDE4CA-F4F4-13C1-71BB-E5EB30F721D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Rectangle 54">
                  <a:extLst>
                    <a:ext uri="{FF2B5EF4-FFF2-40B4-BE49-F238E27FC236}">
                      <a16:creationId xmlns:a16="http://schemas.microsoft.com/office/drawing/2014/main" id="{963B0E3D-43B1-163D-19C8-48DC9201AFF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Rectangle 55">
                  <a:extLst>
                    <a:ext uri="{FF2B5EF4-FFF2-40B4-BE49-F238E27FC236}">
                      <a16:creationId xmlns:a16="http://schemas.microsoft.com/office/drawing/2014/main" id="{D1739CC0-5A71-BD6F-3205-7D89E69DA3C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Rectangle 56">
                  <a:extLst>
                    <a:ext uri="{FF2B5EF4-FFF2-40B4-BE49-F238E27FC236}">
                      <a16:creationId xmlns:a16="http://schemas.microsoft.com/office/drawing/2014/main" id="{A820FE26-1EF3-9EA8-533D-5012828E754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Rectangle 57">
                  <a:extLst>
                    <a:ext uri="{FF2B5EF4-FFF2-40B4-BE49-F238E27FC236}">
                      <a16:creationId xmlns:a16="http://schemas.microsoft.com/office/drawing/2014/main" id="{1ACA1D59-738B-77C1-BB50-67E7307A724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Rectangle 58">
                  <a:extLst>
                    <a:ext uri="{FF2B5EF4-FFF2-40B4-BE49-F238E27FC236}">
                      <a16:creationId xmlns:a16="http://schemas.microsoft.com/office/drawing/2014/main" id="{56DB90DE-5717-CCB9-39B6-CA8DC654CA7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 59">
                  <a:extLst>
                    <a:ext uri="{FF2B5EF4-FFF2-40B4-BE49-F238E27FC236}">
                      <a16:creationId xmlns:a16="http://schemas.microsoft.com/office/drawing/2014/main" id="{8D4FE88E-22BB-9D32-CBBD-FAD58EE1218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 60">
                  <a:extLst>
                    <a:ext uri="{FF2B5EF4-FFF2-40B4-BE49-F238E27FC236}">
                      <a16:creationId xmlns:a16="http://schemas.microsoft.com/office/drawing/2014/main" id="{35B1B64C-8A21-1DC0-B109-2A8591134E0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reeform 61">
                  <a:extLst>
                    <a:ext uri="{FF2B5EF4-FFF2-40B4-BE49-F238E27FC236}">
                      <a16:creationId xmlns:a16="http://schemas.microsoft.com/office/drawing/2014/main" id="{9D90F53E-2B7C-3C87-A82E-D057BF9852E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 62">
                  <a:extLst>
                    <a:ext uri="{FF2B5EF4-FFF2-40B4-BE49-F238E27FC236}">
                      <a16:creationId xmlns:a16="http://schemas.microsoft.com/office/drawing/2014/main" id="{1AF42846-1C77-AE51-306B-A0522FE0068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Rectangle 63">
                  <a:extLst>
                    <a:ext uri="{FF2B5EF4-FFF2-40B4-BE49-F238E27FC236}">
                      <a16:creationId xmlns:a16="http://schemas.microsoft.com/office/drawing/2014/main" id="{A59B7ECA-A0C6-55C1-0BB8-B7064DBBE40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Rectangle 64">
                  <a:extLst>
                    <a:ext uri="{FF2B5EF4-FFF2-40B4-BE49-F238E27FC236}">
                      <a16:creationId xmlns:a16="http://schemas.microsoft.com/office/drawing/2014/main" id="{0EF28A21-5A90-96D9-9E6D-4F3839206C7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Rectangle 65">
                  <a:extLst>
                    <a:ext uri="{FF2B5EF4-FFF2-40B4-BE49-F238E27FC236}">
                      <a16:creationId xmlns:a16="http://schemas.microsoft.com/office/drawing/2014/main" id="{F272D69E-2FAE-BFC5-38A1-AE7CA62FB28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Rectangle 66">
                  <a:extLst>
                    <a:ext uri="{FF2B5EF4-FFF2-40B4-BE49-F238E27FC236}">
                      <a16:creationId xmlns:a16="http://schemas.microsoft.com/office/drawing/2014/main" id="{0B6A9C02-65C7-E7AD-6F83-4EC7E6CA88F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4" name="Rectangle 67">
                  <a:extLst>
                    <a:ext uri="{FF2B5EF4-FFF2-40B4-BE49-F238E27FC236}">
                      <a16:creationId xmlns:a16="http://schemas.microsoft.com/office/drawing/2014/main" id="{4D19F981-78A2-28F2-6C6E-02EB3311489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Rectangle 68">
                  <a:extLst>
                    <a:ext uri="{FF2B5EF4-FFF2-40B4-BE49-F238E27FC236}">
                      <a16:creationId xmlns:a16="http://schemas.microsoft.com/office/drawing/2014/main" id="{C59160E8-1B2A-0AC5-DF0D-89CF3BE44A0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Rectangle 69">
                  <a:extLst>
                    <a:ext uri="{FF2B5EF4-FFF2-40B4-BE49-F238E27FC236}">
                      <a16:creationId xmlns:a16="http://schemas.microsoft.com/office/drawing/2014/main" id="{881A81D4-4AF9-0AF3-DB4E-B497A8C38D6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Rectangle 70">
                  <a:extLst>
                    <a:ext uri="{FF2B5EF4-FFF2-40B4-BE49-F238E27FC236}">
                      <a16:creationId xmlns:a16="http://schemas.microsoft.com/office/drawing/2014/main" id="{10F9EB00-906E-FE8A-646A-E6292A215D2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Rectangle 71">
                  <a:extLst>
                    <a:ext uri="{FF2B5EF4-FFF2-40B4-BE49-F238E27FC236}">
                      <a16:creationId xmlns:a16="http://schemas.microsoft.com/office/drawing/2014/main" id="{12195E38-3FB9-60ED-B333-3A3BC241432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Rectangle 72">
                  <a:extLst>
                    <a:ext uri="{FF2B5EF4-FFF2-40B4-BE49-F238E27FC236}">
                      <a16:creationId xmlns:a16="http://schemas.microsoft.com/office/drawing/2014/main" id="{BB0C9381-5FB6-AB84-7206-C424F2AC1E7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Rectangle 73">
                  <a:extLst>
                    <a:ext uri="{FF2B5EF4-FFF2-40B4-BE49-F238E27FC236}">
                      <a16:creationId xmlns:a16="http://schemas.microsoft.com/office/drawing/2014/main" id="{4DBFCAFB-FA65-91ED-213A-2EF19FB5753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Rectangle 74">
                  <a:extLst>
                    <a:ext uri="{FF2B5EF4-FFF2-40B4-BE49-F238E27FC236}">
                      <a16:creationId xmlns:a16="http://schemas.microsoft.com/office/drawing/2014/main" id="{5786546A-0199-9B3A-BA89-8EDD154EF13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Rectangle 75">
                  <a:extLst>
                    <a:ext uri="{FF2B5EF4-FFF2-40B4-BE49-F238E27FC236}">
                      <a16:creationId xmlns:a16="http://schemas.microsoft.com/office/drawing/2014/main" id="{1AA6DF79-0BDB-F897-DFFF-3672707D613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Rectangle 76">
                  <a:extLst>
                    <a:ext uri="{FF2B5EF4-FFF2-40B4-BE49-F238E27FC236}">
                      <a16:creationId xmlns:a16="http://schemas.microsoft.com/office/drawing/2014/main" id="{58749E30-C8D3-833C-87E0-CBCA23158AE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Rectangle 77">
                  <a:extLst>
                    <a:ext uri="{FF2B5EF4-FFF2-40B4-BE49-F238E27FC236}">
                      <a16:creationId xmlns:a16="http://schemas.microsoft.com/office/drawing/2014/main" id="{07662CA5-6E4C-F6A7-24B4-0CA4A6D08FA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Rectangle 78">
                  <a:extLst>
                    <a:ext uri="{FF2B5EF4-FFF2-40B4-BE49-F238E27FC236}">
                      <a16:creationId xmlns:a16="http://schemas.microsoft.com/office/drawing/2014/main" id="{4964AC1C-35A9-61A6-BAAB-08F18D4BD33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Rectangle 79">
                  <a:extLst>
                    <a:ext uri="{FF2B5EF4-FFF2-40B4-BE49-F238E27FC236}">
                      <a16:creationId xmlns:a16="http://schemas.microsoft.com/office/drawing/2014/main" id="{E118C29F-B454-1A08-97C5-30401213CDB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Rectangle 80">
                  <a:extLst>
                    <a:ext uri="{FF2B5EF4-FFF2-40B4-BE49-F238E27FC236}">
                      <a16:creationId xmlns:a16="http://schemas.microsoft.com/office/drawing/2014/main" id="{D0656474-5C97-6D99-2ABC-40882F2E940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Rectangle 81">
                  <a:extLst>
                    <a:ext uri="{FF2B5EF4-FFF2-40B4-BE49-F238E27FC236}">
                      <a16:creationId xmlns:a16="http://schemas.microsoft.com/office/drawing/2014/main" id="{EF34ED7B-1EA7-4EA9-204C-B51E4A762D2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Rectangle 82">
                  <a:extLst>
                    <a:ext uri="{FF2B5EF4-FFF2-40B4-BE49-F238E27FC236}">
                      <a16:creationId xmlns:a16="http://schemas.microsoft.com/office/drawing/2014/main" id="{1F586D3C-4FE5-5EA7-0838-B232393AF81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Rectangle 83">
                  <a:extLst>
                    <a:ext uri="{FF2B5EF4-FFF2-40B4-BE49-F238E27FC236}">
                      <a16:creationId xmlns:a16="http://schemas.microsoft.com/office/drawing/2014/main" id="{28ABBF8D-2085-F114-F3F5-1C21BD082AD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Rectangle 84">
                  <a:extLst>
                    <a:ext uri="{FF2B5EF4-FFF2-40B4-BE49-F238E27FC236}">
                      <a16:creationId xmlns:a16="http://schemas.microsoft.com/office/drawing/2014/main" id="{149987F0-E69E-386C-FE29-96EB2406C28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Rectangle 85">
                  <a:extLst>
                    <a:ext uri="{FF2B5EF4-FFF2-40B4-BE49-F238E27FC236}">
                      <a16:creationId xmlns:a16="http://schemas.microsoft.com/office/drawing/2014/main" id="{EA8747DF-86E2-7B56-CA28-C23D05B95F1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Rectangle 86">
                  <a:extLst>
                    <a:ext uri="{FF2B5EF4-FFF2-40B4-BE49-F238E27FC236}">
                      <a16:creationId xmlns:a16="http://schemas.microsoft.com/office/drawing/2014/main" id="{07E37335-91F8-18B8-02D7-35D3FCB89F0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Rectangle 87">
                  <a:extLst>
                    <a:ext uri="{FF2B5EF4-FFF2-40B4-BE49-F238E27FC236}">
                      <a16:creationId xmlns:a16="http://schemas.microsoft.com/office/drawing/2014/main" id="{8DDE3783-006D-9849-C61B-DE47337A105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Rectangle 88">
                  <a:extLst>
                    <a:ext uri="{FF2B5EF4-FFF2-40B4-BE49-F238E27FC236}">
                      <a16:creationId xmlns:a16="http://schemas.microsoft.com/office/drawing/2014/main" id="{7D004174-262F-302E-1035-958E3DDDFA5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 89">
                  <a:extLst>
                    <a:ext uri="{FF2B5EF4-FFF2-40B4-BE49-F238E27FC236}">
                      <a16:creationId xmlns:a16="http://schemas.microsoft.com/office/drawing/2014/main" id="{DE00DEA5-79A3-4335-C7A4-78B088E0382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Freeform 90">
                  <a:extLst>
                    <a:ext uri="{FF2B5EF4-FFF2-40B4-BE49-F238E27FC236}">
                      <a16:creationId xmlns:a16="http://schemas.microsoft.com/office/drawing/2014/main" id="{2E1311B3-37BF-C9DE-9563-D6DA04CFABB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Freeform 91">
                  <a:extLst>
                    <a:ext uri="{FF2B5EF4-FFF2-40B4-BE49-F238E27FC236}">
                      <a16:creationId xmlns:a16="http://schemas.microsoft.com/office/drawing/2014/main" id="{BE2AE7BC-F59F-12C4-BAAA-968F5F03AB2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951413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Rectangle 92">
                  <a:extLst>
                    <a:ext uri="{FF2B5EF4-FFF2-40B4-BE49-F238E27FC236}">
                      <a16:creationId xmlns:a16="http://schemas.microsoft.com/office/drawing/2014/main" id="{05E951EF-C395-AE4F-722A-0B77DE3C330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Rectangle 93">
                  <a:extLst>
                    <a:ext uri="{FF2B5EF4-FFF2-40B4-BE49-F238E27FC236}">
                      <a16:creationId xmlns:a16="http://schemas.microsoft.com/office/drawing/2014/main" id="{EBE025FE-29AE-F834-1918-8A63E43F3E9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Rectangle 94">
                  <a:extLst>
                    <a:ext uri="{FF2B5EF4-FFF2-40B4-BE49-F238E27FC236}">
                      <a16:creationId xmlns:a16="http://schemas.microsoft.com/office/drawing/2014/main" id="{7600CF15-C591-6350-ADDB-14091608ED6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Rectangle 95">
                  <a:extLst>
                    <a:ext uri="{FF2B5EF4-FFF2-40B4-BE49-F238E27FC236}">
                      <a16:creationId xmlns:a16="http://schemas.microsoft.com/office/drawing/2014/main" id="{03375E7A-EAA1-0499-23E4-2B352B19A4F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3" name="Freeform 96">
                  <a:extLst>
                    <a:ext uri="{FF2B5EF4-FFF2-40B4-BE49-F238E27FC236}">
                      <a16:creationId xmlns:a16="http://schemas.microsoft.com/office/drawing/2014/main" id="{67BDD678-2C3F-C736-83A2-141B09E41B8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Freeform 97">
                  <a:extLst>
                    <a:ext uri="{FF2B5EF4-FFF2-40B4-BE49-F238E27FC236}">
                      <a16:creationId xmlns:a16="http://schemas.microsoft.com/office/drawing/2014/main" id="{229CB857-0E8D-9EEF-BBC6-55A1D17014B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Rectangle 98">
                  <a:extLst>
                    <a:ext uri="{FF2B5EF4-FFF2-40B4-BE49-F238E27FC236}">
                      <a16:creationId xmlns:a16="http://schemas.microsoft.com/office/drawing/2014/main" id="{9FE9CB1E-C591-2C9C-E270-0B00E826F94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Rectangle 99">
                  <a:extLst>
                    <a:ext uri="{FF2B5EF4-FFF2-40B4-BE49-F238E27FC236}">
                      <a16:creationId xmlns:a16="http://schemas.microsoft.com/office/drawing/2014/main" id="{4FC5E6A0-960D-CBAC-FC5E-B608775696C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eform 100">
                  <a:extLst>
                    <a:ext uri="{FF2B5EF4-FFF2-40B4-BE49-F238E27FC236}">
                      <a16:creationId xmlns:a16="http://schemas.microsoft.com/office/drawing/2014/main" id="{C1B24EF6-F299-7F69-4D04-1036B84102E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 101">
                  <a:extLst>
                    <a:ext uri="{FF2B5EF4-FFF2-40B4-BE49-F238E27FC236}">
                      <a16:creationId xmlns:a16="http://schemas.microsoft.com/office/drawing/2014/main" id="{B91EDF3D-C739-5FBC-B2CB-D6EE46B3E43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 102">
                  <a:extLst>
                    <a:ext uri="{FF2B5EF4-FFF2-40B4-BE49-F238E27FC236}">
                      <a16:creationId xmlns:a16="http://schemas.microsoft.com/office/drawing/2014/main" id="{A8E93676-532E-E93F-B1C0-0DEB2ACD85F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Freeform 103">
                  <a:extLst>
                    <a:ext uri="{FF2B5EF4-FFF2-40B4-BE49-F238E27FC236}">
                      <a16:creationId xmlns:a16="http://schemas.microsoft.com/office/drawing/2014/main" id="{7433CB5D-ADC4-8708-0EE0-DD4BC56335F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Rectangle 104">
                  <a:extLst>
                    <a:ext uri="{FF2B5EF4-FFF2-40B4-BE49-F238E27FC236}">
                      <a16:creationId xmlns:a16="http://schemas.microsoft.com/office/drawing/2014/main" id="{BD89B25F-79AB-6506-4CE5-16911125F0F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Rectangle 105">
                  <a:extLst>
                    <a:ext uri="{FF2B5EF4-FFF2-40B4-BE49-F238E27FC236}">
                      <a16:creationId xmlns:a16="http://schemas.microsoft.com/office/drawing/2014/main" id="{12C26CEA-4D40-014A-AFB6-1DB27EA583F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Rectangle 106">
                  <a:extLst>
                    <a:ext uri="{FF2B5EF4-FFF2-40B4-BE49-F238E27FC236}">
                      <a16:creationId xmlns:a16="http://schemas.microsoft.com/office/drawing/2014/main" id="{70AB4261-E735-6952-4E67-D27919DB97A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Rectangle 107">
                  <a:extLst>
                    <a:ext uri="{FF2B5EF4-FFF2-40B4-BE49-F238E27FC236}">
                      <a16:creationId xmlns:a16="http://schemas.microsoft.com/office/drawing/2014/main" id="{FD04C712-2DCB-D07E-8508-7198BD820C8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Rectangle 108">
                  <a:extLst>
                    <a:ext uri="{FF2B5EF4-FFF2-40B4-BE49-F238E27FC236}">
                      <a16:creationId xmlns:a16="http://schemas.microsoft.com/office/drawing/2014/main" id="{CEF55310-2BDC-5C2B-239A-F841F7009FE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Rectangle 109">
                  <a:extLst>
                    <a:ext uri="{FF2B5EF4-FFF2-40B4-BE49-F238E27FC236}">
                      <a16:creationId xmlns:a16="http://schemas.microsoft.com/office/drawing/2014/main" id="{1BD5A074-2501-1938-C3D9-F764F6C90BD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reeform 110">
                  <a:extLst>
                    <a:ext uri="{FF2B5EF4-FFF2-40B4-BE49-F238E27FC236}">
                      <a16:creationId xmlns:a16="http://schemas.microsoft.com/office/drawing/2014/main" id="{B3C85D49-83AC-34D3-9501-78BFCE7CA2D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 111">
                  <a:extLst>
                    <a:ext uri="{FF2B5EF4-FFF2-40B4-BE49-F238E27FC236}">
                      <a16:creationId xmlns:a16="http://schemas.microsoft.com/office/drawing/2014/main" id="{CA1C67A3-7990-0896-CAD0-7AF872CE054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Rectangle 112">
                  <a:extLst>
                    <a:ext uri="{FF2B5EF4-FFF2-40B4-BE49-F238E27FC236}">
                      <a16:creationId xmlns:a16="http://schemas.microsoft.com/office/drawing/2014/main" id="{36F40628-630A-CB73-DBFE-EED04F2F71F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Rectangle 113">
                  <a:extLst>
                    <a:ext uri="{FF2B5EF4-FFF2-40B4-BE49-F238E27FC236}">
                      <a16:creationId xmlns:a16="http://schemas.microsoft.com/office/drawing/2014/main" id="{C2E4FA5A-623B-0F45-8685-E38351FF440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Rectangle 114">
                  <a:extLst>
                    <a:ext uri="{FF2B5EF4-FFF2-40B4-BE49-F238E27FC236}">
                      <a16:creationId xmlns:a16="http://schemas.microsoft.com/office/drawing/2014/main" id="{B6EFFEB5-B261-4C8B-DF26-F99F8CB06F5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Rectangle 115">
                  <a:extLst>
                    <a:ext uri="{FF2B5EF4-FFF2-40B4-BE49-F238E27FC236}">
                      <a16:creationId xmlns:a16="http://schemas.microsoft.com/office/drawing/2014/main" id="{365B8320-93FE-BE83-9074-449697497A0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 116">
                  <a:extLst>
                    <a:ext uri="{FF2B5EF4-FFF2-40B4-BE49-F238E27FC236}">
                      <a16:creationId xmlns:a16="http://schemas.microsoft.com/office/drawing/2014/main" id="{D0C150EC-AF2F-0225-F4A1-89BFDCC9C70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 117">
                  <a:extLst>
                    <a:ext uri="{FF2B5EF4-FFF2-40B4-BE49-F238E27FC236}">
                      <a16:creationId xmlns:a16="http://schemas.microsoft.com/office/drawing/2014/main" id="{2203DF2E-7D4C-EF13-D71B-CF3110B4BC3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Rectangle 118">
                  <a:extLst>
                    <a:ext uri="{FF2B5EF4-FFF2-40B4-BE49-F238E27FC236}">
                      <a16:creationId xmlns:a16="http://schemas.microsoft.com/office/drawing/2014/main" id="{1B696176-5562-F558-900F-33A9D49C94C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Rectangle 119">
                  <a:extLst>
                    <a:ext uri="{FF2B5EF4-FFF2-40B4-BE49-F238E27FC236}">
                      <a16:creationId xmlns:a16="http://schemas.microsoft.com/office/drawing/2014/main" id="{F198B4BA-FBA0-3185-6511-88D9EB70B12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Rectangle 120">
                  <a:extLst>
                    <a:ext uri="{FF2B5EF4-FFF2-40B4-BE49-F238E27FC236}">
                      <a16:creationId xmlns:a16="http://schemas.microsoft.com/office/drawing/2014/main" id="{DC2CE4DF-0DA4-8130-1242-17D424C77EA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Rectangle 121">
                  <a:extLst>
                    <a:ext uri="{FF2B5EF4-FFF2-40B4-BE49-F238E27FC236}">
                      <a16:creationId xmlns:a16="http://schemas.microsoft.com/office/drawing/2014/main" id="{DC959F90-ADF4-6F90-807E-A9438000266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Rectangle 122">
                  <a:extLst>
                    <a:ext uri="{FF2B5EF4-FFF2-40B4-BE49-F238E27FC236}">
                      <a16:creationId xmlns:a16="http://schemas.microsoft.com/office/drawing/2014/main" id="{BDCA1C6E-73C0-D1EA-0C44-90BECCA93A1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Rectangle 123">
                  <a:extLst>
                    <a:ext uri="{FF2B5EF4-FFF2-40B4-BE49-F238E27FC236}">
                      <a16:creationId xmlns:a16="http://schemas.microsoft.com/office/drawing/2014/main" id="{430664B3-40A7-854F-6E1E-2E0C2C9EA94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 124">
                  <a:extLst>
                    <a:ext uri="{FF2B5EF4-FFF2-40B4-BE49-F238E27FC236}">
                      <a16:creationId xmlns:a16="http://schemas.microsoft.com/office/drawing/2014/main" id="{C9AD99EB-7CF4-649C-2990-780EDDBF86F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Freeform 125">
                  <a:extLst>
                    <a:ext uri="{FF2B5EF4-FFF2-40B4-BE49-F238E27FC236}">
                      <a16:creationId xmlns:a16="http://schemas.microsoft.com/office/drawing/2014/main" id="{3F12BBDC-0639-B363-2F64-5874C3EA7FA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Rectangle 126">
                  <a:extLst>
                    <a:ext uri="{FF2B5EF4-FFF2-40B4-BE49-F238E27FC236}">
                      <a16:creationId xmlns:a16="http://schemas.microsoft.com/office/drawing/2014/main" id="{71F3D89E-1584-9A79-7C00-FD5E96DDD78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Rectangle 127">
                  <a:extLst>
                    <a:ext uri="{FF2B5EF4-FFF2-40B4-BE49-F238E27FC236}">
                      <a16:creationId xmlns:a16="http://schemas.microsoft.com/office/drawing/2014/main" id="{FE1495C2-4322-34B7-80AC-7B60B5ADE73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Rectangle 128">
                  <a:extLst>
                    <a:ext uri="{FF2B5EF4-FFF2-40B4-BE49-F238E27FC236}">
                      <a16:creationId xmlns:a16="http://schemas.microsoft.com/office/drawing/2014/main" id="{034CA7F0-B1DA-468B-0F88-F6135CAC36A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Rectangle 129">
                  <a:extLst>
                    <a:ext uri="{FF2B5EF4-FFF2-40B4-BE49-F238E27FC236}">
                      <a16:creationId xmlns:a16="http://schemas.microsoft.com/office/drawing/2014/main" id="{DBB1556B-A804-AC73-3079-88BC3E4B20F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 130">
                  <a:extLst>
                    <a:ext uri="{FF2B5EF4-FFF2-40B4-BE49-F238E27FC236}">
                      <a16:creationId xmlns:a16="http://schemas.microsoft.com/office/drawing/2014/main" id="{E09E8479-52B4-C1AE-32BB-1271DBC1A5D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Freeform 131">
                  <a:extLst>
                    <a:ext uri="{FF2B5EF4-FFF2-40B4-BE49-F238E27FC236}">
                      <a16:creationId xmlns:a16="http://schemas.microsoft.com/office/drawing/2014/main" id="{B25D6E64-90D5-6B5B-9013-EA533995650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 132">
                  <a:extLst>
                    <a:ext uri="{FF2B5EF4-FFF2-40B4-BE49-F238E27FC236}">
                      <a16:creationId xmlns:a16="http://schemas.microsoft.com/office/drawing/2014/main" id="{FFCBC5B4-5D64-A80F-07D6-F67369B0C77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40288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Rectangle 133">
                  <a:extLst>
                    <a:ext uri="{FF2B5EF4-FFF2-40B4-BE49-F238E27FC236}">
                      <a16:creationId xmlns:a16="http://schemas.microsoft.com/office/drawing/2014/main" id="{18D6D193-6311-CD68-87B2-5B0E7F736DC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Rectangle 134">
                  <a:extLst>
                    <a:ext uri="{FF2B5EF4-FFF2-40B4-BE49-F238E27FC236}">
                      <a16:creationId xmlns:a16="http://schemas.microsoft.com/office/drawing/2014/main" id="{E749EF41-8981-4A2A-4D14-B6F0742ACA6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Rectangle 135">
                  <a:extLst>
                    <a:ext uri="{FF2B5EF4-FFF2-40B4-BE49-F238E27FC236}">
                      <a16:creationId xmlns:a16="http://schemas.microsoft.com/office/drawing/2014/main" id="{ED0EDC63-10B4-EF2D-CB66-164CA1E42B5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Rectangle 136">
                  <a:extLst>
                    <a:ext uri="{FF2B5EF4-FFF2-40B4-BE49-F238E27FC236}">
                      <a16:creationId xmlns:a16="http://schemas.microsoft.com/office/drawing/2014/main" id="{3FC620D9-A3A8-E242-6BB1-9BA6022AFAA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Rectangle 137">
                  <a:extLst>
                    <a:ext uri="{FF2B5EF4-FFF2-40B4-BE49-F238E27FC236}">
                      <a16:creationId xmlns:a16="http://schemas.microsoft.com/office/drawing/2014/main" id="{6FF09410-2326-2FB0-F052-4D5355FF97A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Rectangle 138">
                  <a:extLst>
                    <a:ext uri="{FF2B5EF4-FFF2-40B4-BE49-F238E27FC236}">
                      <a16:creationId xmlns:a16="http://schemas.microsoft.com/office/drawing/2014/main" id="{F1902F5F-6205-6290-02A9-EC4B99E18E8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Rectangle 139">
                  <a:extLst>
                    <a:ext uri="{FF2B5EF4-FFF2-40B4-BE49-F238E27FC236}">
                      <a16:creationId xmlns:a16="http://schemas.microsoft.com/office/drawing/2014/main" id="{8C62CB06-69B0-2960-F64B-8BC9E699915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Rectangle 140">
                  <a:extLst>
                    <a:ext uri="{FF2B5EF4-FFF2-40B4-BE49-F238E27FC236}">
                      <a16:creationId xmlns:a16="http://schemas.microsoft.com/office/drawing/2014/main" id="{0ACE41A2-650E-86E2-D355-72BF75E3C9D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Rectangle 141">
                  <a:extLst>
                    <a:ext uri="{FF2B5EF4-FFF2-40B4-BE49-F238E27FC236}">
                      <a16:creationId xmlns:a16="http://schemas.microsoft.com/office/drawing/2014/main" id="{BE216AD3-F1AD-8BA3-0361-052063CC6F8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Rectangle 142">
                  <a:extLst>
                    <a:ext uri="{FF2B5EF4-FFF2-40B4-BE49-F238E27FC236}">
                      <a16:creationId xmlns:a16="http://schemas.microsoft.com/office/drawing/2014/main" id="{EEEB9A26-2872-00BA-7BCA-0A9F27D44A5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Freeform 143">
                  <a:extLst>
                    <a:ext uri="{FF2B5EF4-FFF2-40B4-BE49-F238E27FC236}">
                      <a16:creationId xmlns:a16="http://schemas.microsoft.com/office/drawing/2014/main" id="{867A143F-E2AF-A92E-54E2-6B85162DE5C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Freeform 144">
                  <a:extLst>
                    <a:ext uri="{FF2B5EF4-FFF2-40B4-BE49-F238E27FC236}">
                      <a16:creationId xmlns:a16="http://schemas.microsoft.com/office/drawing/2014/main" id="{4B0D5D47-21E2-6B91-B494-CFBC747EFB8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Rectangle 145">
                  <a:extLst>
                    <a:ext uri="{FF2B5EF4-FFF2-40B4-BE49-F238E27FC236}">
                      <a16:creationId xmlns:a16="http://schemas.microsoft.com/office/drawing/2014/main" id="{D799FCA0-19EF-22F8-B5C0-2A699F85C07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Rectangle 146">
                  <a:extLst>
                    <a:ext uri="{FF2B5EF4-FFF2-40B4-BE49-F238E27FC236}">
                      <a16:creationId xmlns:a16="http://schemas.microsoft.com/office/drawing/2014/main" id="{B76EBB3E-3FD3-24D1-F176-E86F674ACF1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4" name="Freeform 147">
                  <a:extLst>
                    <a:ext uri="{FF2B5EF4-FFF2-40B4-BE49-F238E27FC236}">
                      <a16:creationId xmlns:a16="http://schemas.microsoft.com/office/drawing/2014/main" id="{DC4B8C90-A3D6-C4C9-1E66-547EFE45F21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Freeform 148">
                  <a:extLst>
                    <a:ext uri="{FF2B5EF4-FFF2-40B4-BE49-F238E27FC236}">
                      <a16:creationId xmlns:a16="http://schemas.microsoft.com/office/drawing/2014/main" id="{3E17C13A-5B7F-51B4-9EED-597CF127C08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Freeform 149">
                  <a:extLst>
                    <a:ext uri="{FF2B5EF4-FFF2-40B4-BE49-F238E27FC236}">
                      <a16:creationId xmlns:a16="http://schemas.microsoft.com/office/drawing/2014/main" id="{8C968BF6-63EA-1AAC-D3E5-7C79D42F2A5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Freeform 150">
                  <a:extLst>
                    <a:ext uri="{FF2B5EF4-FFF2-40B4-BE49-F238E27FC236}">
                      <a16:creationId xmlns:a16="http://schemas.microsoft.com/office/drawing/2014/main" id="{8DA05D0F-5663-EBCD-701F-B0707AD13A9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Rectangle 151">
                  <a:extLst>
                    <a:ext uri="{FF2B5EF4-FFF2-40B4-BE49-F238E27FC236}">
                      <a16:creationId xmlns:a16="http://schemas.microsoft.com/office/drawing/2014/main" id="{8E9B7509-8155-B15E-9642-91FEABF5709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Rectangle 152">
                  <a:extLst>
                    <a:ext uri="{FF2B5EF4-FFF2-40B4-BE49-F238E27FC236}">
                      <a16:creationId xmlns:a16="http://schemas.microsoft.com/office/drawing/2014/main" id="{3BD39977-5B2B-384F-EF57-AB29007E613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Rectangle 153">
                  <a:extLst>
                    <a:ext uri="{FF2B5EF4-FFF2-40B4-BE49-F238E27FC236}">
                      <a16:creationId xmlns:a16="http://schemas.microsoft.com/office/drawing/2014/main" id="{84C4C043-A960-3B97-DFF2-053A2BAEF2D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Rectangle 154">
                  <a:extLst>
                    <a:ext uri="{FF2B5EF4-FFF2-40B4-BE49-F238E27FC236}">
                      <a16:creationId xmlns:a16="http://schemas.microsoft.com/office/drawing/2014/main" id="{78106882-9757-6D6E-3894-A2A51BDDCE8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Rectangle 155">
                  <a:extLst>
                    <a:ext uri="{FF2B5EF4-FFF2-40B4-BE49-F238E27FC236}">
                      <a16:creationId xmlns:a16="http://schemas.microsoft.com/office/drawing/2014/main" id="{F1887BBC-4D61-1D9D-8F64-C4CA2584B29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Rectangle 156">
                  <a:extLst>
                    <a:ext uri="{FF2B5EF4-FFF2-40B4-BE49-F238E27FC236}">
                      <a16:creationId xmlns:a16="http://schemas.microsoft.com/office/drawing/2014/main" id="{008B24FF-A975-6701-63E6-72D4536EEA2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Freeform 157">
                  <a:extLst>
                    <a:ext uri="{FF2B5EF4-FFF2-40B4-BE49-F238E27FC236}">
                      <a16:creationId xmlns:a16="http://schemas.microsoft.com/office/drawing/2014/main" id="{D680036C-1EB5-D09B-D4D2-E9887DC32B6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Freeform 158">
                  <a:extLst>
                    <a:ext uri="{FF2B5EF4-FFF2-40B4-BE49-F238E27FC236}">
                      <a16:creationId xmlns:a16="http://schemas.microsoft.com/office/drawing/2014/main" id="{10C5B2D0-78D0-4110-1BF5-17FAE8F4B1E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6" name="Rectangle 159">
                  <a:extLst>
                    <a:ext uri="{FF2B5EF4-FFF2-40B4-BE49-F238E27FC236}">
                      <a16:creationId xmlns:a16="http://schemas.microsoft.com/office/drawing/2014/main" id="{F6E2CC99-A2D2-A791-1875-103317AF8B6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7" name="Rectangle 160">
                  <a:extLst>
                    <a:ext uri="{FF2B5EF4-FFF2-40B4-BE49-F238E27FC236}">
                      <a16:creationId xmlns:a16="http://schemas.microsoft.com/office/drawing/2014/main" id="{21E99C8C-4EAD-00E9-3CA6-C137A961E79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Rectangle 161">
                  <a:extLst>
                    <a:ext uri="{FF2B5EF4-FFF2-40B4-BE49-F238E27FC236}">
                      <a16:creationId xmlns:a16="http://schemas.microsoft.com/office/drawing/2014/main" id="{2144F67A-D757-8AA5-68FD-F048CF01B50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Rectangle 162">
                  <a:extLst>
                    <a:ext uri="{FF2B5EF4-FFF2-40B4-BE49-F238E27FC236}">
                      <a16:creationId xmlns:a16="http://schemas.microsoft.com/office/drawing/2014/main" id="{DFECDC11-B3AE-7F56-4A12-42AB5560A2E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Rectangle 163">
                  <a:extLst>
                    <a:ext uri="{FF2B5EF4-FFF2-40B4-BE49-F238E27FC236}">
                      <a16:creationId xmlns:a16="http://schemas.microsoft.com/office/drawing/2014/main" id="{FE5FAEF6-9457-7774-9960-E6FF6244E31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Rectangle 164">
                  <a:extLst>
                    <a:ext uri="{FF2B5EF4-FFF2-40B4-BE49-F238E27FC236}">
                      <a16:creationId xmlns:a16="http://schemas.microsoft.com/office/drawing/2014/main" id="{D4FF28FB-769E-B4A5-F0B2-A096F8BFA8E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Rectangle 165">
                  <a:extLst>
                    <a:ext uri="{FF2B5EF4-FFF2-40B4-BE49-F238E27FC236}">
                      <a16:creationId xmlns:a16="http://schemas.microsoft.com/office/drawing/2014/main" id="{AF52BB6E-2F8A-38CB-EF0C-FE4900B4206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Rectangle 166">
                  <a:extLst>
                    <a:ext uri="{FF2B5EF4-FFF2-40B4-BE49-F238E27FC236}">
                      <a16:creationId xmlns:a16="http://schemas.microsoft.com/office/drawing/2014/main" id="{1A0E7C4D-E228-155F-7D50-FF4F99C7083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Rectangle 167">
                  <a:extLst>
                    <a:ext uri="{FF2B5EF4-FFF2-40B4-BE49-F238E27FC236}">
                      <a16:creationId xmlns:a16="http://schemas.microsoft.com/office/drawing/2014/main" id="{932CFD74-23DF-4263-42A8-948B7528D5B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Rectangle 168">
                  <a:extLst>
                    <a:ext uri="{FF2B5EF4-FFF2-40B4-BE49-F238E27FC236}">
                      <a16:creationId xmlns:a16="http://schemas.microsoft.com/office/drawing/2014/main" id="{751EC46B-C8B4-CBD0-7180-A654B1FD384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Rectangle 169">
                  <a:extLst>
                    <a:ext uri="{FF2B5EF4-FFF2-40B4-BE49-F238E27FC236}">
                      <a16:creationId xmlns:a16="http://schemas.microsoft.com/office/drawing/2014/main" id="{C20A8DC0-98AD-A390-690C-D5A39A4794B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7" name="Rectangle 170">
                  <a:extLst>
                    <a:ext uri="{FF2B5EF4-FFF2-40B4-BE49-F238E27FC236}">
                      <a16:creationId xmlns:a16="http://schemas.microsoft.com/office/drawing/2014/main" id="{0EA160AC-5A23-697D-A7A7-F6E4E935724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8" name="Freeform 171">
                  <a:extLst>
                    <a:ext uri="{FF2B5EF4-FFF2-40B4-BE49-F238E27FC236}">
                      <a16:creationId xmlns:a16="http://schemas.microsoft.com/office/drawing/2014/main" id="{0B698767-8ABB-9F38-4101-66210D14D87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9" name="Freeform 172">
                  <a:extLst>
                    <a:ext uri="{FF2B5EF4-FFF2-40B4-BE49-F238E27FC236}">
                      <a16:creationId xmlns:a16="http://schemas.microsoft.com/office/drawing/2014/main" id="{DDF5D4B7-8965-271B-A461-C4A2613D632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Rectangle 173">
                  <a:extLst>
                    <a:ext uri="{FF2B5EF4-FFF2-40B4-BE49-F238E27FC236}">
                      <a16:creationId xmlns:a16="http://schemas.microsoft.com/office/drawing/2014/main" id="{F7EA93AC-0090-3728-68E8-4CB4609AF5D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19563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Rectangle 174">
                  <a:extLst>
                    <a:ext uri="{FF2B5EF4-FFF2-40B4-BE49-F238E27FC236}">
                      <a16:creationId xmlns:a16="http://schemas.microsoft.com/office/drawing/2014/main" id="{2E70FDC9-D1BF-C6BA-B679-8D324447391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1938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 175">
                  <a:extLst>
                    <a:ext uri="{FF2B5EF4-FFF2-40B4-BE49-F238E27FC236}">
                      <a16:creationId xmlns:a16="http://schemas.microsoft.com/office/drawing/2014/main" id="{77424998-5EFA-B0F8-C6BE-2C6C090EB2F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022725" y="4899026"/>
                  <a:ext cx="20638" cy="17463"/>
                </a:xfrm>
                <a:custGeom>
                  <a:avLst/>
                  <a:gdLst>
                    <a:gd name="T0" fmla="*/ 1 w 13"/>
                    <a:gd name="T1" fmla="*/ 11 h 11"/>
                    <a:gd name="T2" fmla="*/ 13 w 13"/>
                    <a:gd name="T3" fmla="*/ 11 h 11"/>
                    <a:gd name="T4" fmla="*/ 13 w 13"/>
                    <a:gd name="T5" fmla="*/ 0 h 11"/>
                    <a:gd name="T6" fmla="*/ 0 w 13"/>
                    <a:gd name="T7" fmla="*/ 0 h 11"/>
                    <a:gd name="T8" fmla="*/ 1 w 13"/>
                    <a:gd name="T9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1">
                      <a:moveTo>
                        <a:pt x="1" y="11"/>
                      </a:moveTo>
                      <a:lnTo>
                        <a:pt x="13" y="11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1" y="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8" name="Group 6">
              <a:extLst>
                <a:ext uri="{FF2B5EF4-FFF2-40B4-BE49-F238E27FC236}">
                  <a16:creationId xmlns:a16="http://schemas.microsoft.com/office/drawing/2014/main" id="{1298D16F-B357-DEBB-A31A-A43E5470CBF1}"/>
                </a:ext>
              </a:extLst>
            </p:cNvPr>
            <p:cNvGrpSpPr/>
            <p:nvPr/>
          </p:nvGrpSpPr>
          <p:grpSpPr>
            <a:xfrm>
              <a:off x="1868421" y="3874372"/>
              <a:ext cx="2908640" cy="1223224"/>
              <a:chOff x="1868421" y="3874372"/>
              <a:chExt cx="2908640" cy="1223224"/>
            </a:xfrm>
          </p:grpSpPr>
          <p:grpSp>
            <p:nvGrpSpPr>
              <p:cNvPr id="9" name="Group 2">
                <a:extLst>
                  <a:ext uri="{FF2B5EF4-FFF2-40B4-BE49-F238E27FC236}">
                    <a16:creationId xmlns:a16="http://schemas.microsoft.com/office/drawing/2014/main" id="{3F6FB626-B69A-6B94-CCD3-89E9A7A184B0}"/>
                  </a:ext>
                </a:extLst>
              </p:cNvPr>
              <p:cNvGrpSpPr/>
              <p:nvPr/>
            </p:nvGrpSpPr>
            <p:grpSpPr>
              <a:xfrm>
                <a:off x="1868421" y="3874372"/>
                <a:ext cx="1112318" cy="1215895"/>
                <a:chOff x="1868421" y="3874372"/>
                <a:chExt cx="1112318" cy="1215895"/>
              </a:xfrm>
            </p:grpSpPr>
            <p:sp>
              <p:nvSpPr>
                <p:cNvPr id="72" name="Freeform 177">
                  <a:extLst>
                    <a:ext uri="{FF2B5EF4-FFF2-40B4-BE49-F238E27FC236}">
                      <a16:creationId xmlns:a16="http://schemas.microsoft.com/office/drawing/2014/main" id="{4AF1F479-69D2-9315-2284-C1315FD845D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163948" y="4817283"/>
                  <a:ext cx="124002" cy="272984"/>
                </a:xfrm>
                <a:custGeom>
                  <a:avLst/>
                  <a:gdLst>
                    <a:gd name="T0" fmla="*/ 20 w 119"/>
                    <a:gd name="T1" fmla="*/ 0 h 262"/>
                    <a:gd name="T2" fmla="*/ 3 w 119"/>
                    <a:gd name="T3" fmla="*/ 0 h 262"/>
                    <a:gd name="T4" fmla="*/ 4 w 119"/>
                    <a:gd name="T5" fmla="*/ 6 h 262"/>
                    <a:gd name="T6" fmla="*/ 22 w 119"/>
                    <a:gd name="T7" fmla="*/ 13 h 262"/>
                    <a:gd name="T8" fmla="*/ 42 w 119"/>
                    <a:gd name="T9" fmla="*/ 23 h 262"/>
                    <a:gd name="T10" fmla="*/ 46 w 119"/>
                    <a:gd name="T11" fmla="*/ 26 h 262"/>
                    <a:gd name="T12" fmla="*/ 35 w 119"/>
                    <a:gd name="T13" fmla="*/ 28 h 262"/>
                    <a:gd name="T14" fmla="*/ 37 w 119"/>
                    <a:gd name="T15" fmla="*/ 262 h 262"/>
                    <a:gd name="T16" fmla="*/ 119 w 119"/>
                    <a:gd name="T17" fmla="*/ 262 h 262"/>
                    <a:gd name="T18" fmla="*/ 69 w 119"/>
                    <a:gd name="T19" fmla="*/ 23 h 262"/>
                    <a:gd name="T20" fmla="*/ 68 w 119"/>
                    <a:gd name="T21" fmla="*/ 23 h 262"/>
                    <a:gd name="T22" fmla="*/ 69 w 119"/>
                    <a:gd name="T23" fmla="*/ 1 h 262"/>
                    <a:gd name="T24" fmla="*/ 49 w 119"/>
                    <a:gd name="T25" fmla="*/ 1 h 262"/>
                    <a:gd name="T26" fmla="*/ 48 w 119"/>
                    <a:gd name="T27" fmla="*/ 9 h 262"/>
                    <a:gd name="T28" fmla="*/ 20 w 119"/>
                    <a:gd name="T29" fmla="*/ 0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9" h="262">
                      <a:moveTo>
                        <a:pt x="20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0" y="5"/>
                        <a:pt x="4" y="6"/>
                      </a:cubicBezTo>
                      <a:cubicBezTo>
                        <a:pt x="6" y="7"/>
                        <a:pt x="22" y="13"/>
                        <a:pt x="22" y="13"/>
                      </a:cubicBezTo>
                      <a:cubicBezTo>
                        <a:pt x="42" y="23"/>
                        <a:pt x="42" y="23"/>
                        <a:pt x="42" y="23"/>
                      </a:cubicBezTo>
                      <a:cubicBezTo>
                        <a:pt x="46" y="26"/>
                        <a:pt x="46" y="26"/>
                        <a:pt x="46" y="26"/>
                      </a:cubicBezTo>
                      <a:cubicBezTo>
                        <a:pt x="35" y="28"/>
                        <a:pt x="35" y="28"/>
                        <a:pt x="35" y="28"/>
                      </a:cubicBezTo>
                      <a:cubicBezTo>
                        <a:pt x="37" y="262"/>
                        <a:pt x="37" y="262"/>
                        <a:pt x="37" y="262"/>
                      </a:cubicBezTo>
                      <a:cubicBezTo>
                        <a:pt x="119" y="262"/>
                        <a:pt x="119" y="262"/>
                        <a:pt x="119" y="262"/>
                      </a:cubicBezTo>
                      <a:cubicBezTo>
                        <a:pt x="105" y="159"/>
                        <a:pt x="69" y="23"/>
                        <a:pt x="69" y="23"/>
                      </a:cubicBezTo>
                      <a:cubicBezTo>
                        <a:pt x="68" y="23"/>
                        <a:pt x="68" y="23"/>
                        <a:pt x="68" y="23"/>
                      </a:cubicBezTo>
                      <a:cubicBezTo>
                        <a:pt x="69" y="1"/>
                        <a:pt x="69" y="1"/>
                        <a:pt x="69" y="1"/>
                      </a:cubicBezTo>
                      <a:cubicBezTo>
                        <a:pt x="49" y="1"/>
                        <a:pt x="49" y="1"/>
                        <a:pt x="49" y="1"/>
                      </a:cubicBezTo>
                      <a:cubicBezTo>
                        <a:pt x="48" y="9"/>
                        <a:pt x="48" y="9"/>
                        <a:pt x="48" y="9"/>
                      </a:cubicBezTo>
                      <a:cubicBezTo>
                        <a:pt x="20" y="0"/>
                        <a:pt x="20" y="0"/>
                        <a:pt x="20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grpSp>
              <p:nvGrpSpPr>
                <p:cNvPr id="73" name="Group 1087">
                  <a:extLst>
                    <a:ext uri="{FF2B5EF4-FFF2-40B4-BE49-F238E27FC236}">
                      <a16:creationId xmlns:a16="http://schemas.microsoft.com/office/drawing/2014/main" id="{48049C32-EE72-E2A9-3574-9BD084D74505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1868421" y="3874372"/>
                  <a:ext cx="1112318" cy="907889"/>
                  <a:chOff x="10205244" y="514350"/>
                  <a:chExt cx="1429544" cy="1166813"/>
                </a:xfrm>
              </p:grpSpPr>
              <p:sp>
                <p:nvSpPr>
                  <p:cNvPr id="74" name="Freeform 254">
                    <a:extLst>
                      <a:ext uri="{FF2B5EF4-FFF2-40B4-BE49-F238E27FC236}">
                        <a16:creationId xmlns:a16="http://schemas.microsoft.com/office/drawing/2014/main" id="{C3B6ED45-A9E9-E2B5-7F77-1A27B711CEE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05244" y="950913"/>
                    <a:ext cx="88900" cy="63500"/>
                  </a:xfrm>
                  <a:custGeom>
                    <a:avLst/>
                    <a:gdLst>
                      <a:gd name="T0" fmla="*/ 47 w 48"/>
                      <a:gd name="T1" fmla="*/ 8 h 35"/>
                      <a:gd name="T2" fmla="*/ 47 w 48"/>
                      <a:gd name="T3" fmla="*/ 0 h 35"/>
                      <a:gd name="T4" fmla="*/ 16 w 48"/>
                      <a:gd name="T5" fmla="*/ 3 h 35"/>
                      <a:gd name="T6" fmla="*/ 21 w 48"/>
                      <a:gd name="T7" fmla="*/ 6 h 35"/>
                      <a:gd name="T8" fmla="*/ 29 w 48"/>
                      <a:gd name="T9" fmla="*/ 7 h 35"/>
                      <a:gd name="T10" fmla="*/ 14 w 48"/>
                      <a:gd name="T11" fmla="*/ 24 h 35"/>
                      <a:gd name="T12" fmla="*/ 2 w 48"/>
                      <a:gd name="T13" fmla="*/ 24 h 35"/>
                      <a:gd name="T14" fmla="*/ 0 w 48"/>
                      <a:gd name="T15" fmla="*/ 28 h 35"/>
                      <a:gd name="T16" fmla="*/ 15 w 48"/>
                      <a:gd name="T17" fmla="*/ 29 h 35"/>
                      <a:gd name="T18" fmla="*/ 5 w 48"/>
                      <a:gd name="T19" fmla="*/ 33 h 35"/>
                      <a:gd name="T20" fmla="*/ 6 w 48"/>
                      <a:gd name="T21" fmla="*/ 35 h 35"/>
                      <a:gd name="T22" fmla="*/ 27 w 48"/>
                      <a:gd name="T23" fmla="*/ 31 h 35"/>
                      <a:gd name="T24" fmla="*/ 31 w 48"/>
                      <a:gd name="T25" fmla="*/ 27 h 35"/>
                      <a:gd name="T26" fmla="*/ 39 w 48"/>
                      <a:gd name="T27" fmla="*/ 19 h 35"/>
                      <a:gd name="T28" fmla="*/ 44 w 48"/>
                      <a:gd name="T29" fmla="*/ 14 h 35"/>
                      <a:gd name="T30" fmla="*/ 48 w 48"/>
                      <a:gd name="T31" fmla="*/ 14 h 35"/>
                      <a:gd name="T32" fmla="*/ 47 w 48"/>
                      <a:gd name="T33" fmla="*/ 8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48" h="35">
                        <a:moveTo>
                          <a:pt x="47" y="8"/>
                        </a:moveTo>
                        <a:cubicBezTo>
                          <a:pt x="47" y="4"/>
                          <a:pt x="47" y="2"/>
                          <a:pt x="47" y="0"/>
                        </a:cubicBezTo>
                        <a:cubicBezTo>
                          <a:pt x="36" y="0"/>
                          <a:pt x="16" y="3"/>
                          <a:pt x="16" y="3"/>
                        </a:cubicBezTo>
                        <a:cubicBezTo>
                          <a:pt x="16" y="3"/>
                          <a:pt x="16" y="6"/>
                          <a:pt x="21" y="6"/>
                        </a:cubicBezTo>
                        <a:cubicBezTo>
                          <a:pt x="26" y="6"/>
                          <a:pt x="29" y="7"/>
                          <a:pt x="29" y="7"/>
                        </a:cubicBezTo>
                        <a:cubicBezTo>
                          <a:pt x="14" y="24"/>
                          <a:pt x="14" y="24"/>
                          <a:pt x="14" y="24"/>
                        </a:cubicBezTo>
                        <a:cubicBezTo>
                          <a:pt x="14" y="24"/>
                          <a:pt x="4" y="24"/>
                          <a:pt x="2" y="24"/>
                        </a:cubicBezTo>
                        <a:cubicBezTo>
                          <a:pt x="1" y="25"/>
                          <a:pt x="0" y="27"/>
                          <a:pt x="0" y="28"/>
                        </a:cubicBezTo>
                        <a:cubicBezTo>
                          <a:pt x="4" y="28"/>
                          <a:pt x="15" y="29"/>
                          <a:pt x="15" y="29"/>
                        </a:cubicBezTo>
                        <a:cubicBezTo>
                          <a:pt x="15" y="29"/>
                          <a:pt x="7" y="31"/>
                          <a:pt x="5" y="33"/>
                        </a:cubicBezTo>
                        <a:cubicBezTo>
                          <a:pt x="5" y="33"/>
                          <a:pt x="4" y="35"/>
                          <a:pt x="6" y="35"/>
                        </a:cubicBezTo>
                        <a:cubicBezTo>
                          <a:pt x="15" y="34"/>
                          <a:pt x="26" y="32"/>
                          <a:pt x="27" y="31"/>
                        </a:cubicBezTo>
                        <a:cubicBezTo>
                          <a:pt x="29" y="29"/>
                          <a:pt x="31" y="27"/>
                          <a:pt x="31" y="27"/>
                        </a:cubicBezTo>
                        <a:cubicBezTo>
                          <a:pt x="31" y="27"/>
                          <a:pt x="35" y="23"/>
                          <a:pt x="39" y="19"/>
                        </a:cubicBezTo>
                        <a:cubicBezTo>
                          <a:pt x="43" y="16"/>
                          <a:pt x="44" y="14"/>
                          <a:pt x="44" y="14"/>
                        </a:cubicBezTo>
                        <a:cubicBezTo>
                          <a:pt x="48" y="14"/>
                          <a:pt x="48" y="14"/>
                          <a:pt x="48" y="14"/>
                        </a:cubicBezTo>
                        <a:cubicBezTo>
                          <a:pt x="48" y="14"/>
                          <a:pt x="47" y="11"/>
                          <a:pt x="47" y="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" name="Freeform 235">
                    <a:extLst>
                      <a:ext uri="{FF2B5EF4-FFF2-40B4-BE49-F238E27FC236}">
                        <a16:creationId xmlns:a16="http://schemas.microsoft.com/office/drawing/2014/main" id="{74A3C769-C6D8-B894-D7C1-542AA339DF9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20438" y="976313"/>
                    <a:ext cx="206375" cy="155575"/>
                  </a:xfrm>
                  <a:custGeom>
                    <a:avLst/>
                    <a:gdLst>
                      <a:gd name="T0" fmla="*/ 112 w 112"/>
                      <a:gd name="T1" fmla="*/ 84 h 84"/>
                      <a:gd name="T2" fmla="*/ 30 w 112"/>
                      <a:gd name="T3" fmla="*/ 73 h 84"/>
                      <a:gd name="T4" fmla="*/ 0 w 112"/>
                      <a:gd name="T5" fmla="*/ 0 h 84"/>
                      <a:gd name="T6" fmla="*/ 68 w 112"/>
                      <a:gd name="T7" fmla="*/ 23 h 84"/>
                      <a:gd name="T8" fmla="*/ 112 w 112"/>
                      <a:gd name="T9" fmla="*/ 84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2" h="84">
                        <a:moveTo>
                          <a:pt x="112" y="84"/>
                        </a:moveTo>
                        <a:cubicBezTo>
                          <a:pt x="112" y="84"/>
                          <a:pt x="80" y="48"/>
                          <a:pt x="30" y="73"/>
                        </a:cubicBezTo>
                        <a:cubicBezTo>
                          <a:pt x="9" y="83"/>
                          <a:pt x="0" y="0"/>
                          <a:pt x="0" y="0"/>
                        </a:cubicBezTo>
                        <a:cubicBezTo>
                          <a:pt x="0" y="0"/>
                          <a:pt x="11" y="5"/>
                          <a:pt x="68" y="23"/>
                        </a:cubicBezTo>
                        <a:cubicBezTo>
                          <a:pt x="83" y="28"/>
                          <a:pt x="112" y="84"/>
                          <a:pt x="112" y="84"/>
                        </a:cubicBezTo>
                        <a:close/>
                      </a:path>
                    </a:pathLst>
                  </a:custGeom>
                  <a:solidFill>
                    <a:srgbClr val="5D819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Freeform 236">
                    <a:extLst>
                      <a:ext uri="{FF2B5EF4-FFF2-40B4-BE49-F238E27FC236}">
                        <a16:creationId xmlns:a16="http://schemas.microsoft.com/office/drawing/2014/main" id="{AF616093-9285-522F-D67B-1845BF800C0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555413" y="1190625"/>
                    <a:ext cx="79375" cy="52388"/>
                  </a:xfrm>
                  <a:custGeom>
                    <a:avLst/>
                    <a:gdLst>
                      <a:gd name="T0" fmla="*/ 0 w 43"/>
                      <a:gd name="T1" fmla="*/ 12 h 28"/>
                      <a:gd name="T2" fmla="*/ 7 w 43"/>
                      <a:gd name="T3" fmla="*/ 0 h 28"/>
                      <a:gd name="T4" fmla="*/ 19 w 43"/>
                      <a:gd name="T5" fmla="*/ 7 h 28"/>
                      <a:gd name="T6" fmla="*/ 16 w 43"/>
                      <a:gd name="T7" fmla="*/ 12 h 28"/>
                      <a:gd name="T8" fmla="*/ 35 w 43"/>
                      <a:gd name="T9" fmla="*/ 18 h 28"/>
                      <a:gd name="T10" fmla="*/ 43 w 43"/>
                      <a:gd name="T11" fmla="*/ 24 h 28"/>
                      <a:gd name="T12" fmla="*/ 40 w 43"/>
                      <a:gd name="T13" fmla="*/ 27 h 28"/>
                      <a:gd name="T14" fmla="*/ 29 w 43"/>
                      <a:gd name="T15" fmla="*/ 25 h 28"/>
                      <a:gd name="T16" fmla="*/ 12 w 43"/>
                      <a:gd name="T17" fmla="*/ 24 h 28"/>
                      <a:gd name="T18" fmla="*/ 0 w 43"/>
                      <a:gd name="T19" fmla="*/ 12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3" h="28">
                        <a:moveTo>
                          <a:pt x="0" y="12"/>
                        </a:move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19" y="7"/>
                          <a:pt x="19" y="7"/>
                          <a:pt x="19" y="7"/>
                        </a:cubicBezTo>
                        <a:cubicBezTo>
                          <a:pt x="16" y="12"/>
                          <a:pt x="16" y="12"/>
                          <a:pt x="16" y="12"/>
                        </a:cubicBezTo>
                        <a:cubicBezTo>
                          <a:pt x="35" y="18"/>
                          <a:pt x="35" y="18"/>
                          <a:pt x="35" y="18"/>
                        </a:cubicBezTo>
                        <a:cubicBezTo>
                          <a:pt x="43" y="24"/>
                          <a:pt x="43" y="24"/>
                          <a:pt x="43" y="24"/>
                        </a:cubicBezTo>
                        <a:cubicBezTo>
                          <a:pt x="43" y="24"/>
                          <a:pt x="43" y="28"/>
                          <a:pt x="40" y="27"/>
                        </a:cubicBezTo>
                        <a:cubicBezTo>
                          <a:pt x="39" y="27"/>
                          <a:pt x="29" y="25"/>
                          <a:pt x="29" y="25"/>
                        </a:cubicBezTo>
                        <a:cubicBezTo>
                          <a:pt x="12" y="24"/>
                          <a:pt x="12" y="24"/>
                          <a:pt x="12" y="24"/>
                        </a:cubicBez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" name="Freeform 237">
                    <a:extLst>
                      <a:ext uri="{FF2B5EF4-FFF2-40B4-BE49-F238E27FC236}">
                        <a16:creationId xmlns:a16="http://schemas.microsoft.com/office/drawing/2014/main" id="{58709485-D5B5-E391-62EF-81561ABE77E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049000" y="1157288"/>
                    <a:ext cx="534988" cy="444500"/>
                  </a:xfrm>
                  <a:custGeom>
                    <a:avLst/>
                    <a:gdLst>
                      <a:gd name="T0" fmla="*/ 13 w 288"/>
                      <a:gd name="T1" fmla="*/ 30 h 240"/>
                      <a:gd name="T2" fmla="*/ 97 w 288"/>
                      <a:gd name="T3" fmla="*/ 29 h 240"/>
                      <a:gd name="T4" fmla="*/ 121 w 288"/>
                      <a:gd name="T5" fmla="*/ 154 h 240"/>
                      <a:gd name="T6" fmla="*/ 269 w 288"/>
                      <a:gd name="T7" fmla="*/ 26 h 240"/>
                      <a:gd name="T8" fmla="*/ 288 w 288"/>
                      <a:gd name="T9" fmla="*/ 44 h 240"/>
                      <a:gd name="T10" fmla="*/ 145 w 288"/>
                      <a:gd name="T11" fmla="*/ 206 h 240"/>
                      <a:gd name="T12" fmla="*/ 78 w 288"/>
                      <a:gd name="T13" fmla="*/ 202 h 240"/>
                      <a:gd name="T14" fmla="*/ 0 w 288"/>
                      <a:gd name="T15" fmla="*/ 68 h 240"/>
                      <a:gd name="T16" fmla="*/ 13 w 288"/>
                      <a:gd name="T17" fmla="*/ 30 h 2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88" h="240">
                        <a:moveTo>
                          <a:pt x="13" y="30"/>
                        </a:moveTo>
                        <a:cubicBezTo>
                          <a:pt x="13" y="30"/>
                          <a:pt x="86" y="0"/>
                          <a:pt x="97" y="29"/>
                        </a:cubicBezTo>
                        <a:cubicBezTo>
                          <a:pt x="114" y="69"/>
                          <a:pt x="119" y="127"/>
                          <a:pt x="121" y="154"/>
                        </a:cubicBezTo>
                        <a:cubicBezTo>
                          <a:pt x="269" y="26"/>
                          <a:pt x="269" y="26"/>
                          <a:pt x="269" y="26"/>
                        </a:cubicBezTo>
                        <a:cubicBezTo>
                          <a:pt x="288" y="44"/>
                          <a:pt x="288" y="44"/>
                          <a:pt x="288" y="44"/>
                        </a:cubicBezTo>
                        <a:cubicBezTo>
                          <a:pt x="288" y="44"/>
                          <a:pt x="154" y="192"/>
                          <a:pt x="145" y="206"/>
                        </a:cubicBezTo>
                        <a:cubicBezTo>
                          <a:pt x="135" y="220"/>
                          <a:pt x="102" y="240"/>
                          <a:pt x="78" y="202"/>
                        </a:cubicBezTo>
                        <a:cubicBezTo>
                          <a:pt x="55" y="163"/>
                          <a:pt x="14" y="93"/>
                          <a:pt x="0" y="68"/>
                        </a:cubicBezTo>
                        <a:cubicBezTo>
                          <a:pt x="107" y="63"/>
                          <a:pt x="13" y="30"/>
                          <a:pt x="13" y="3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" name="Freeform 238">
                    <a:extLst>
                      <a:ext uri="{FF2B5EF4-FFF2-40B4-BE49-F238E27FC236}">
                        <a16:creationId xmlns:a16="http://schemas.microsoft.com/office/drawing/2014/main" id="{FBEA7057-9C17-B118-0BC3-E5720160387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50513" y="677863"/>
                    <a:ext cx="373063" cy="328613"/>
                  </a:xfrm>
                  <a:custGeom>
                    <a:avLst/>
                    <a:gdLst>
                      <a:gd name="T0" fmla="*/ 179 w 201"/>
                      <a:gd name="T1" fmla="*/ 0 h 177"/>
                      <a:gd name="T2" fmla="*/ 134 w 201"/>
                      <a:gd name="T3" fmla="*/ 67 h 177"/>
                      <a:gd name="T4" fmla="*/ 99 w 201"/>
                      <a:gd name="T5" fmla="*/ 122 h 177"/>
                      <a:gd name="T6" fmla="*/ 9 w 201"/>
                      <a:gd name="T7" fmla="*/ 39 h 177"/>
                      <a:gd name="T8" fmla="*/ 0 w 201"/>
                      <a:gd name="T9" fmla="*/ 48 h 177"/>
                      <a:gd name="T10" fmla="*/ 65 w 201"/>
                      <a:gd name="T11" fmla="*/ 141 h 177"/>
                      <a:gd name="T12" fmla="*/ 116 w 201"/>
                      <a:gd name="T13" fmla="*/ 177 h 177"/>
                      <a:gd name="T14" fmla="*/ 201 w 201"/>
                      <a:gd name="T15" fmla="*/ 87 h 177"/>
                      <a:gd name="T16" fmla="*/ 179 w 201"/>
                      <a:gd name="T17" fmla="*/ 0 h 1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1" h="177">
                        <a:moveTo>
                          <a:pt x="179" y="0"/>
                        </a:moveTo>
                        <a:cubicBezTo>
                          <a:pt x="179" y="0"/>
                          <a:pt x="155" y="11"/>
                          <a:pt x="134" y="67"/>
                        </a:cubicBezTo>
                        <a:cubicBezTo>
                          <a:pt x="121" y="98"/>
                          <a:pt x="99" y="122"/>
                          <a:pt x="99" y="122"/>
                        </a:cubicBezTo>
                        <a:cubicBezTo>
                          <a:pt x="9" y="39"/>
                          <a:pt x="9" y="39"/>
                          <a:pt x="9" y="39"/>
                        </a:cubicBezTo>
                        <a:cubicBezTo>
                          <a:pt x="0" y="48"/>
                          <a:pt x="0" y="48"/>
                          <a:pt x="0" y="48"/>
                        </a:cubicBezTo>
                        <a:cubicBezTo>
                          <a:pt x="0" y="48"/>
                          <a:pt x="41" y="108"/>
                          <a:pt x="65" y="141"/>
                        </a:cubicBezTo>
                        <a:cubicBezTo>
                          <a:pt x="86" y="172"/>
                          <a:pt x="116" y="177"/>
                          <a:pt x="116" y="177"/>
                        </a:cubicBezTo>
                        <a:cubicBezTo>
                          <a:pt x="201" y="87"/>
                          <a:pt x="201" y="87"/>
                          <a:pt x="201" y="87"/>
                        </a:cubicBezTo>
                        <a:lnTo>
                          <a:pt x="179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" name="Freeform 239">
                    <a:extLst>
                      <a:ext uri="{FF2B5EF4-FFF2-40B4-BE49-F238E27FC236}">
                        <a16:creationId xmlns:a16="http://schemas.microsoft.com/office/drawing/2014/main" id="{2A7DF044-A3C2-4D93-CF37-7F8975B632A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7525" y="700088"/>
                    <a:ext cx="284163" cy="404813"/>
                  </a:xfrm>
                  <a:custGeom>
                    <a:avLst/>
                    <a:gdLst>
                      <a:gd name="T0" fmla="*/ 154 w 154"/>
                      <a:gd name="T1" fmla="*/ 219 h 219"/>
                      <a:gd name="T2" fmla="*/ 32 w 154"/>
                      <a:gd name="T3" fmla="*/ 117 h 219"/>
                      <a:gd name="T4" fmla="*/ 43 w 154"/>
                      <a:gd name="T5" fmla="*/ 0 h 219"/>
                      <a:gd name="T6" fmla="*/ 154 w 154"/>
                      <a:gd name="T7" fmla="*/ 219 h 2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54" h="219">
                        <a:moveTo>
                          <a:pt x="154" y="219"/>
                        </a:moveTo>
                        <a:cubicBezTo>
                          <a:pt x="154" y="219"/>
                          <a:pt x="59" y="173"/>
                          <a:pt x="32" y="117"/>
                        </a:cubicBezTo>
                        <a:cubicBezTo>
                          <a:pt x="0" y="47"/>
                          <a:pt x="43" y="0"/>
                          <a:pt x="43" y="0"/>
                        </a:cubicBezTo>
                        <a:cubicBezTo>
                          <a:pt x="154" y="219"/>
                          <a:pt x="154" y="219"/>
                          <a:pt x="154" y="219"/>
                        </a:cubicBezTo>
                      </a:path>
                    </a:pathLst>
                  </a:custGeom>
                  <a:solidFill>
                    <a:srgbClr val="9FCDD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" name="Freeform 240">
                    <a:extLst>
                      <a:ext uri="{FF2B5EF4-FFF2-40B4-BE49-F238E27FC236}">
                        <a16:creationId xmlns:a16="http://schemas.microsoft.com/office/drawing/2014/main" id="{ACC31317-2F39-6B57-DFEF-978DCD400F8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18800" y="666750"/>
                    <a:ext cx="525463" cy="481013"/>
                  </a:xfrm>
                  <a:custGeom>
                    <a:avLst/>
                    <a:gdLst>
                      <a:gd name="T0" fmla="*/ 135 w 283"/>
                      <a:gd name="T1" fmla="*/ 260 h 260"/>
                      <a:gd name="T2" fmla="*/ 32 w 283"/>
                      <a:gd name="T3" fmla="*/ 116 h 260"/>
                      <a:gd name="T4" fmla="*/ 13 w 283"/>
                      <a:gd name="T5" fmla="*/ 25 h 260"/>
                      <a:gd name="T6" fmla="*/ 45 w 283"/>
                      <a:gd name="T7" fmla="*/ 0 h 260"/>
                      <a:gd name="T8" fmla="*/ 174 w 283"/>
                      <a:gd name="T9" fmla="*/ 74 h 260"/>
                      <a:gd name="T10" fmla="*/ 283 w 283"/>
                      <a:gd name="T11" fmla="*/ 245 h 260"/>
                      <a:gd name="T12" fmla="*/ 135 w 283"/>
                      <a:gd name="T13" fmla="*/ 26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3" h="260">
                        <a:moveTo>
                          <a:pt x="135" y="260"/>
                        </a:moveTo>
                        <a:cubicBezTo>
                          <a:pt x="135" y="260"/>
                          <a:pt x="85" y="180"/>
                          <a:pt x="32" y="116"/>
                        </a:cubicBezTo>
                        <a:cubicBezTo>
                          <a:pt x="0" y="76"/>
                          <a:pt x="13" y="25"/>
                          <a:pt x="13" y="25"/>
                        </a:cubicBezTo>
                        <a:cubicBezTo>
                          <a:pt x="13" y="25"/>
                          <a:pt x="30" y="1"/>
                          <a:pt x="45" y="0"/>
                        </a:cubicBezTo>
                        <a:cubicBezTo>
                          <a:pt x="71" y="7"/>
                          <a:pt x="133" y="22"/>
                          <a:pt x="174" y="74"/>
                        </a:cubicBezTo>
                        <a:cubicBezTo>
                          <a:pt x="232" y="148"/>
                          <a:pt x="283" y="245"/>
                          <a:pt x="283" y="245"/>
                        </a:cubicBezTo>
                        <a:cubicBezTo>
                          <a:pt x="135" y="260"/>
                          <a:pt x="135" y="260"/>
                          <a:pt x="135" y="260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" name="Freeform 241">
                    <a:extLst>
                      <a:ext uri="{FF2B5EF4-FFF2-40B4-BE49-F238E27FC236}">
                        <a16:creationId xmlns:a16="http://schemas.microsoft.com/office/drawing/2014/main" id="{DE259F43-EB33-4A2D-590B-680304A0971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01350" y="911225"/>
                    <a:ext cx="23813" cy="30163"/>
                  </a:xfrm>
                  <a:custGeom>
                    <a:avLst/>
                    <a:gdLst>
                      <a:gd name="T0" fmla="*/ 0 w 13"/>
                      <a:gd name="T1" fmla="*/ 0 h 16"/>
                      <a:gd name="T2" fmla="*/ 13 w 13"/>
                      <a:gd name="T3" fmla="*/ 16 h 16"/>
                      <a:gd name="T4" fmla="*/ 6 w 13"/>
                      <a:gd name="T5" fmla="*/ 5 h 16"/>
                      <a:gd name="T6" fmla="*/ 0 w 13"/>
                      <a:gd name="T7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3" h="16">
                        <a:moveTo>
                          <a:pt x="0" y="0"/>
                        </a:moveTo>
                        <a:cubicBezTo>
                          <a:pt x="0" y="0"/>
                          <a:pt x="5" y="7"/>
                          <a:pt x="13" y="16"/>
                        </a:cubicBezTo>
                        <a:cubicBezTo>
                          <a:pt x="11" y="12"/>
                          <a:pt x="8" y="9"/>
                          <a:pt x="6" y="5"/>
                        </a:cubicBezTo>
                        <a:cubicBezTo>
                          <a:pt x="2" y="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" name="Freeform 242">
                    <a:extLst>
                      <a:ext uri="{FF2B5EF4-FFF2-40B4-BE49-F238E27FC236}">
                        <a16:creationId xmlns:a16="http://schemas.microsoft.com/office/drawing/2014/main" id="{BF581B3D-8F1D-AA0A-74CC-686A1211F93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2463" y="920750"/>
                    <a:ext cx="252413" cy="200025"/>
                  </a:xfrm>
                  <a:custGeom>
                    <a:avLst/>
                    <a:gdLst>
                      <a:gd name="T0" fmla="*/ 0 w 136"/>
                      <a:gd name="T1" fmla="*/ 0 h 108"/>
                      <a:gd name="T2" fmla="*/ 7 w 136"/>
                      <a:gd name="T3" fmla="*/ 11 h 108"/>
                      <a:gd name="T4" fmla="*/ 63 w 136"/>
                      <a:gd name="T5" fmla="*/ 48 h 108"/>
                      <a:gd name="T6" fmla="*/ 124 w 136"/>
                      <a:gd name="T7" fmla="*/ 107 h 108"/>
                      <a:gd name="T8" fmla="*/ 136 w 136"/>
                      <a:gd name="T9" fmla="*/ 108 h 108"/>
                      <a:gd name="T10" fmla="*/ 62 w 136"/>
                      <a:gd name="T11" fmla="*/ 43 h 108"/>
                      <a:gd name="T12" fmla="*/ 0 w 136"/>
                      <a:gd name="T13" fmla="*/ 0 h 1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36" h="108">
                        <a:moveTo>
                          <a:pt x="0" y="0"/>
                        </a:moveTo>
                        <a:cubicBezTo>
                          <a:pt x="2" y="4"/>
                          <a:pt x="5" y="7"/>
                          <a:pt x="7" y="11"/>
                        </a:cubicBezTo>
                        <a:cubicBezTo>
                          <a:pt x="20" y="24"/>
                          <a:pt x="40" y="41"/>
                          <a:pt x="63" y="48"/>
                        </a:cubicBezTo>
                        <a:cubicBezTo>
                          <a:pt x="97" y="58"/>
                          <a:pt x="124" y="107"/>
                          <a:pt x="124" y="107"/>
                        </a:cubicBezTo>
                        <a:cubicBezTo>
                          <a:pt x="136" y="108"/>
                          <a:pt x="136" y="108"/>
                          <a:pt x="136" y="108"/>
                        </a:cubicBezTo>
                        <a:cubicBezTo>
                          <a:pt x="136" y="108"/>
                          <a:pt x="100" y="63"/>
                          <a:pt x="62" y="43"/>
                        </a:cubicBezTo>
                        <a:cubicBezTo>
                          <a:pt x="33" y="29"/>
                          <a:pt x="10" y="1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" name="Freeform 243">
                    <a:extLst>
                      <a:ext uri="{FF2B5EF4-FFF2-40B4-BE49-F238E27FC236}">
                        <a16:creationId xmlns:a16="http://schemas.microsoft.com/office/drawing/2014/main" id="{4C4C90EB-C7A0-F637-5DFF-DF526D79248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9438" y="730250"/>
                    <a:ext cx="211138" cy="368300"/>
                  </a:xfrm>
                  <a:custGeom>
                    <a:avLst/>
                    <a:gdLst>
                      <a:gd name="T0" fmla="*/ 5 w 114"/>
                      <a:gd name="T1" fmla="*/ 0 h 199"/>
                      <a:gd name="T2" fmla="*/ 2 w 114"/>
                      <a:gd name="T3" fmla="*/ 9 h 199"/>
                      <a:gd name="T4" fmla="*/ 8 w 114"/>
                      <a:gd name="T5" fmla="*/ 18 h 199"/>
                      <a:gd name="T6" fmla="*/ 17 w 114"/>
                      <a:gd name="T7" fmla="*/ 94 h 199"/>
                      <a:gd name="T8" fmla="*/ 83 w 114"/>
                      <a:gd name="T9" fmla="*/ 194 h 199"/>
                      <a:gd name="T10" fmla="*/ 114 w 114"/>
                      <a:gd name="T11" fmla="*/ 199 h 199"/>
                      <a:gd name="T12" fmla="*/ 111 w 114"/>
                      <a:gd name="T13" fmla="*/ 166 h 199"/>
                      <a:gd name="T14" fmla="*/ 33 w 114"/>
                      <a:gd name="T15" fmla="*/ 84 h 199"/>
                      <a:gd name="T16" fmla="*/ 14 w 114"/>
                      <a:gd name="T17" fmla="*/ 17 h 199"/>
                      <a:gd name="T18" fmla="*/ 17 w 114"/>
                      <a:gd name="T19" fmla="*/ 7 h 199"/>
                      <a:gd name="T20" fmla="*/ 5 w 114"/>
                      <a:gd name="T21" fmla="*/ 0 h 1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14" h="199">
                        <a:moveTo>
                          <a:pt x="5" y="0"/>
                        </a:moveTo>
                        <a:cubicBezTo>
                          <a:pt x="5" y="0"/>
                          <a:pt x="2" y="4"/>
                          <a:pt x="2" y="9"/>
                        </a:cubicBezTo>
                        <a:cubicBezTo>
                          <a:pt x="3" y="14"/>
                          <a:pt x="8" y="18"/>
                          <a:pt x="8" y="18"/>
                        </a:cubicBezTo>
                        <a:cubicBezTo>
                          <a:pt x="8" y="18"/>
                          <a:pt x="0" y="55"/>
                          <a:pt x="17" y="94"/>
                        </a:cubicBezTo>
                        <a:cubicBezTo>
                          <a:pt x="43" y="154"/>
                          <a:pt x="83" y="194"/>
                          <a:pt x="83" y="194"/>
                        </a:cubicBezTo>
                        <a:cubicBezTo>
                          <a:pt x="114" y="199"/>
                          <a:pt x="114" y="199"/>
                          <a:pt x="114" y="199"/>
                        </a:cubicBezTo>
                        <a:cubicBezTo>
                          <a:pt x="111" y="166"/>
                          <a:pt x="111" y="166"/>
                          <a:pt x="111" y="166"/>
                        </a:cubicBezTo>
                        <a:cubicBezTo>
                          <a:pt x="111" y="166"/>
                          <a:pt x="65" y="139"/>
                          <a:pt x="33" y="84"/>
                        </a:cubicBezTo>
                        <a:cubicBezTo>
                          <a:pt x="11" y="46"/>
                          <a:pt x="14" y="17"/>
                          <a:pt x="14" y="17"/>
                        </a:cubicBezTo>
                        <a:cubicBezTo>
                          <a:pt x="14" y="17"/>
                          <a:pt x="15" y="12"/>
                          <a:pt x="17" y="7"/>
                        </a:cubicBezTo>
                        <a:cubicBezTo>
                          <a:pt x="9" y="4"/>
                          <a:pt x="5" y="0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" name="Freeform 244">
                    <a:extLst>
                      <a:ext uri="{FF2B5EF4-FFF2-40B4-BE49-F238E27FC236}">
                        <a16:creationId xmlns:a16="http://schemas.microsoft.com/office/drawing/2014/main" id="{A6D2A0C5-029A-E1E5-1689-EAB98DDCBA3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80700" y="617538"/>
                    <a:ext cx="131763" cy="107950"/>
                  </a:xfrm>
                  <a:custGeom>
                    <a:avLst/>
                    <a:gdLst>
                      <a:gd name="T0" fmla="*/ 70 w 71"/>
                      <a:gd name="T1" fmla="*/ 28 h 59"/>
                      <a:gd name="T2" fmla="*/ 71 w 71"/>
                      <a:gd name="T3" fmla="*/ 24 h 59"/>
                      <a:gd name="T4" fmla="*/ 62 w 71"/>
                      <a:gd name="T5" fmla="*/ 0 h 59"/>
                      <a:gd name="T6" fmla="*/ 42 w 71"/>
                      <a:gd name="T7" fmla="*/ 17 h 59"/>
                      <a:gd name="T8" fmla="*/ 21 w 71"/>
                      <a:gd name="T9" fmla="*/ 23 h 59"/>
                      <a:gd name="T10" fmla="*/ 0 w 71"/>
                      <a:gd name="T11" fmla="*/ 11 h 59"/>
                      <a:gd name="T12" fmla="*/ 36 w 71"/>
                      <a:gd name="T13" fmla="*/ 59 h 59"/>
                      <a:gd name="T14" fmla="*/ 70 w 71"/>
                      <a:gd name="T15" fmla="*/ 28 h 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1" h="59">
                        <a:moveTo>
                          <a:pt x="70" y="28"/>
                        </a:moveTo>
                        <a:cubicBezTo>
                          <a:pt x="69" y="26"/>
                          <a:pt x="71" y="24"/>
                          <a:pt x="71" y="24"/>
                        </a:cubicBezTo>
                        <a:cubicBezTo>
                          <a:pt x="62" y="0"/>
                          <a:pt x="62" y="0"/>
                          <a:pt x="62" y="0"/>
                        </a:cubicBezTo>
                        <a:cubicBezTo>
                          <a:pt x="62" y="0"/>
                          <a:pt x="48" y="10"/>
                          <a:pt x="42" y="17"/>
                        </a:cubicBezTo>
                        <a:cubicBezTo>
                          <a:pt x="36" y="24"/>
                          <a:pt x="25" y="24"/>
                          <a:pt x="21" y="23"/>
                        </a:cubicBezTo>
                        <a:cubicBezTo>
                          <a:pt x="13" y="19"/>
                          <a:pt x="0" y="11"/>
                          <a:pt x="0" y="11"/>
                        </a:cubicBezTo>
                        <a:cubicBezTo>
                          <a:pt x="0" y="11"/>
                          <a:pt x="24" y="28"/>
                          <a:pt x="36" y="59"/>
                        </a:cubicBezTo>
                        <a:cubicBezTo>
                          <a:pt x="60" y="44"/>
                          <a:pt x="67" y="33"/>
                          <a:pt x="70" y="2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5" name="Freeform 245">
                    <a:extLst>
                      <a:ext uri="{FF2B5EF4-FFF2-40B4-BE49-F238E27FC236}">
                        <a16:creationId xmlns:a16="http://schemas.microsoft.com/office/drawing/2014/main" id="{524F8B24-6F33-F950-17A2-470A67D3B6C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9113" y="541338"/>
                    <a:ext cx="138113" cy="127000"/>
                  </a:xfrm>
                  <a:custGeom>
                    <a:avLst/>
                    <a:gdLst>
                      <a:gd name="T0" fmla="*/ 1 w 75"/>
                      <a:gd name="T1" fmla="*/ 52 h 69"/>
                      <a:gd name="T2" fmla="*/ 25 w 75"/>
                      <a:gd name="T3" fmla="*/ 65 h 69"/>
                      <a:gd name="T4" fmla="*/ 39 w 75"/>
                      <a:gd name="T5" fmla="*/ 62 h 69"/>
                      <a:gd name="T6" fmla="*/ 52 w 75"/>
                      <a:gd name="T7" fmla="*/ 51 h 69"/>
                      <a:gd name="T8" fmla="*/ 60 w 75"/>
                      <a:gd name="T9" fmla="*/ 50 h 69"/>
                      <a:gd name="T10" fmla="*/ 62 w 75"/>
                      <a:gd name="T11" fmla="*/ 39 h 69"/>
                      <a:gd name="T12" fmla="*/ 75 w 75"/>
                      <a:gd name="T13" fmla="*/ 12 h 69"/>
                      <a:gd name="T14" fmla="*/ 65 w 75"/>
                      <a:gd name="T15" fmla="*/ 1 h 69"/>
                      <a:gd name="T16" fmla="*/ 50 w 75"/>
                      <a:gd name="T17" fmla="*/ 0 h 69"/>
                      <a:gd name="T18" fmla="*/ 12 w 75"/>
                      <a:gd name="T19" fmla="*/ 20 h 69"/>
                      <a:gd name="T20" fmla="*/ 13 w 75"/>
                      <a:gd name="T21" fmla="*/ 23 h 69"/>
                      <a:gd name="T22" fmla="*/ 18 w 75"/>
                      <a:gd name="T23" fmla="*/ 27 h 69"/>
                      <a:gd name="T24" fmla="*/ 1 w 75"/>
                      <a:gd name="T25" fmla="*/ 51 h 69"/>
                      <a:gd name="T26" fmla="*/ 1 w 75"/>
                      <a:gd name="T27" fmla="*/ 52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75" h="69">
                        <a:moveTo>
                          <a:pt x="1" y="52"/>
                        </a:moveTo>
                        <a:cubicBezTo>
                          <a:pt x="7" y="56"/>
                          <a:pt x="19" y="63"/>
                          <a:pt x="25" y="65"/>
                        </a:cubicBezTo>
                        <a:cubicBezTo>
                          <a:pt x="33" y="69"/>
                          <a:pt x="39" y="62"/>
                          <a:pt x="39" y="62"/>
                        </a:cubicBezTo>
                        <a:cubicBezTo>
                          <a:pt x="52" y="51"/>
                          <a:pt x="52" y="51"/>
                          <a:pt x="52" y="51"/>
                        </a:cubicBezTo>
                        <a:cubicBezTo>
                          <a:pt x="52" y="51"/>
                          <a:pt x="56" y="51"/>
                          <a:pt x="60" y="50"/>
                        </a:cubicBezTo>
                        <a:cubicBezTo>
                          <a:pt x="62" y="49"/>
                          <a:pt x="66" y="45"/>
                          <a:pt x="62" y="39"/>
                        </a:cubicBezTo>
                        <a:cubicBezTo>
                          <a:pt x="54" y="30"/>
                          <a:pt x="75" y="12"/>
                          <a:pt x="75" y="12"/>
                        </a:cubicBezTo>
                        <a:cubicBezTo>
                          <a:pt x="65" y="1"/>
                          <a:pt x="65" y="1"/>
                          <a:pt x="65" y="1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12" y="20"/>
                          <a:pt x="12" y="20"/>
                          <a:pt x="12" y="20"/>
                        </a:cubicBezTo>
                        <a:cubicBezTo>
                          <a:pt x="12" y="20"/>
                          <a:pt x="11" y="22"/>
                          <a:pt x="13" y="23"/>
                        </a:cubicBezTo>
                        <a:cubicBezTo>
                          <a:pt x="15" y="25"/>
                          <a:pt x="18" y="27"/>
                          <a:pt x="18" y="27"/>
                        </a:cubicBezTo>
                        <a:cubicBezTo>
                          <a:pt x="18" y="27"/>
                          <a:pt x="2" y="50"/>
                          <a:pt x="1" y="51"/>
                        </a:cubicBezTo>
                        <a:cubicBezTo>
                          <a:pt x="0" y="52"/>
                          <a:pt x="1" y="52"/>
                          <a:pt x="1" y="52"/>
                        </a:cubicBezTo>
                        <a:close/>
                      </a:path>
                    </a:pathLst>
                  </a:custGeom>
                  <a:solidFill>
                    <a:srgbClr val="E9F6F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" name="Freeform 246">
                    <a:extLst>
                      <a:ext uri="{FF2B5EF4-FFF2-40B4-BE49-F238E27FC236}">
                        <a16:creationId xmlns:a16="http://schemas.microsoft.com/office/drawing/2014/main" id="{83CEF521-79E3-977D-3BE1-F368D52E32F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6263" y="563563"/>
                    <a:ext cx="19050" cy="22225"/>
                  </a:xfrm>
                  <a:custGeom>
                    <a:avLst/>
                    <a:gdLst>
                      <a:gd name="T0" fmla="*/ 1 w 10"/>
                      <a:gd name="T1" fmla="*/ 4 h 12"/>
                      <a:gd name="T2" fmla="*/ 2 w 10"/>
                      <a:gd name="T3" fmla="*/ 7 h 12"/>
                      <a:gd name="T4" fmla="*/ 9 w 10"/>
                      <a:gd name="T5" fmla="*/ 11 h 12"/>
                      <a:gd name="T6" fmla="*/ 4 w 10"/>
                      <a:gd name="T7" fmla="*/ 2 h 12"/>
                      <a:gd name="T8" fmla="*/ 1 w 10"/>
                      <a:gd name="T9" fmla="*/ 4 h 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" h="12">
                        <a:moveTo>
                          <a:pt x="1" y="4"/>
                        </a:moveTo>
                        <a:cubicBezTo>
                          <a:pt x="0" y="6"/>
                          <a:pt x="1" y="6"/>
                          <a:pt x="2" y="7"/>
                        </a:cubicBezTo>
                        <a:cubicBezTo>
                          <a:pt x="4" y="8"/>
                          <a:pt x="10" y="12"/>
                          <a:pt x="9" y="11"/>
                        </a:cubicBezTo>
                        <a:cubicBezTo>
                          <a:pt x="9" y="10"/>
                          <a:pt x="7" y="7"/>
                          <a:pt x="4" y="2"/>
                        </a:cubicBezTo>
                        <a:cubicBezTo>
                          <a:pt x="3" y="0"/>
                          <a:pt x="2" y="2"/>
                          <a:pt x="1" y="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7" name="Freeform 247">
                    <a:extLst>
                      <a:ext uri="{FF2B5EF4-FFF2-40B4-BE49-F238E27FC236}">
                        <a16:creationId xmlns:a16="http://schemas.microsoft.com/office/drawing/2014/main" id="{6104EE68-ABF5-FA76-68FB-F7CD81F60F3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514350"/>
                    <a:ext cx="103188" cy="147638"/>
                  </a:xfrm>
                  <a:custGeom>
                    <a:avLst/>
                    <a:gdLst>
                      <a:gd name="T0" fmla="*/ 56 w 56"/>
                      <a:gd name="T1" fmla="*/ 44 h 79"/>
                      <a:gd name="T2" fmla="*/ 15 w 56"/>
                      <a:gd name="T3" fmla="*/ 6 h 79"/>
                      <a:gd name="T4" fmla="*/ 12 w 56"/>
                      <a:gd name="T5" fmla="*/ 14 h 79"/>
                      <a:gd name="T6" fmla="*/ 26 w 56"/>
                      <a:gd name="T7" fmla="*/ 30 h 79"/>
                      <a:gd name="T8" fmla="*/ 8 w 56"/>
                      <a:gd name="T9" fmla="*/ 55 h 79"/>
                      <a:gd name="T10" fmla="*/ 25 w 56"/>
                      <a:gd name="T11" fmla="*/ 55 h 79"/>
                      <a:gd name="T12" fmla="*/ 34 w 56"/>
                      <a:gd name="T13" fmla="*/ 79 h 79"/>
                      <a:gd name="T14" fmla="*/ 56 w 56"/>
                      <a:gd name="T15" fmla="*/ 44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6" h="79">
                        <a:moveTo>
                          <a:pt x="56" y="44"/>
                        </a:moveTo>
                        <a:cubicBezTo>
                          <a:pt x="35" y="8"/>
                          <a:pt x="23" y="0"/>
                          <a:pt x="15" y="6"/>
                        </a:cubicBezTo>
                        <a:cubicBezTo>
                          <a:pt x="13" y="7"/>
                          <a:pt x="11" y="11"/>
                          <a:pt x="12" y="14"/>
                        </a:cubicBezTo>
                        <a:cubicBezTo>
                          <a:pt x="23" y="19"/>
                          <a:pt x="33" y="25"/>
                          <a:pt x="26" y="30"/>
                        </a:cubicBezTo>
                        <a:cubicBezTo>
                          <a:pt x="24" y="32"/>
                          <a:pt x="0" y="50"/>
                          <a:pt x="8" y="55"/>
                        </a:cubicBezTo>
                        <a:cubicBezTo>
                          <a:pt x="12" y="53"/>
                          <a:pt x="21" y="48"/>
                          <a:pt x="25" y="55"/>
                        </a:cubicBezTo>
                        <a:cubicBezTo>
                          <a:pt x="28" y="60"/>
                          <a:pt x="19" y="66"/>
                          <a:pt x="34" y="79"/>
                        </a:cubicBezTo>
                        <a:cubicBezTo>
                          <a:pt x="43" y="66"/>
                          <a:pt x="55" y="51"/>
                          <a:pt x="56" y="4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8" name="Freeform 248">
                    <a:extLst>
                      <a:ext uri="{FF2B5EF4-FFF2-40B4-BE49-F238E27FC236}">
                        <a16:creationId xmlns:a16="http://schemas.microsoft.com/office/drawing/2014/main" id="{E4293D56-0EA2-8AFF-5C23-70604BE8784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87038" y="1652588"/>
                    <a:ext cx="85725" cy="28575"/>
                  </a:xfrm>
                  <a:custGeom>
                    <a:avLst/>
                    <a:gdLst>
                      <a:gd name="T0" fmla="*/ 46 w 46"/>
                      <a:gd name="T1" fmla="*/ 0 h 16"/>
                      <a:gd name="T2" fmla="*/ 46 w 46"/>
                      <a:gd name="T3" fmla="*/ 15 h 16"/>
                      <a:gd name="T4" fmla="*/ 33 w 46"/>
                      <a:gd name="T5" fmla="*/ 15 h 16"/>
                      <a:gd name="T6" fmla="*/ 32 w 46"/>
                      <a:gd name="T7" fmla="*/ 10 h 16"/>
                      <a:gd name="T8" fmla="*/ 14 w 46"/>
                      <a:gd name="T9" fmla="*/ 16 h 16"/>
                      <a:gd name="T10" fmla="*/ 2 w 46"/>
                      <a:gd name="T11" fmla="*/ 15 h 16"/>
                      <a:gd name="T12" fmla="*/ 3 w 46"/>
                      <a:gd name="T13" fmla="*/ 11 h 16"/>
                      <a:gd name="T14" fmla="*/ 15 w 46"/>
                      <a:gd name="T15" fmla="*/ 7 h 16"/>
                      <a:gd name="T16" fmla="*/ 28 w 46"/>
                      <a:gd name="T17" fmla="*/ 0 h 16"/>
                      <a:gd name="T18" fmla="*/ 46 w 46"/>
                      <a:gd name="T19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6" h="16">
                        <a:moveTo>
                          <a:pt x="46" y="0"/>
                        </a:moveTo>
                        <a:cubicBezTo>
                          <a:pt x="46" y="15"/>
                          <a:pt x="46" y="15"/>
                          <a:pt x="46" y="15"/>
                        </a:cubicBezTo>
                        <a:cubicBezTo>
                          <a:pt x="33" y="15"/>
                          <a:pt x="33" y="15"/>
                          <a:pt x="33" y="15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14" y="16"/>
                          <a:pt x="14" y="16"/>
                          <a:pt x="14" y="16"/>
                        </a:cubicBezTo>
                        <a:cubicBezTo>
                          <a:pt x="2" y="15"/>
                          <a:pt x="2" y="15"/>
                          <a:pt x="2" y="15"/>
                        </a:cubicBezTo>
                        <a:cubicBezTo>
                          <a:pt x="2" y="15"/>
                          <a:pt x="0" y="12"/>
                          <a:pt x="3" y="11"/>
                        </a:cubicBezTo>
                        <a:cubicBezTo>
                          <a:pt x="4" y="11"/>
                          <a:pt x="15" y="7"/>
                          <a:pt x="15" y="7"/>
                        </a:cubicBezTo>
                        <a:cubicBezTo>
                          <a:pt x="28" y="0"/>
                          <a:pt x="28" y="0"/>
                          <a:pt x="28" y="0"/>
                        </a:cubicBez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9" name="Freeform 249">
                    <a:extLst>
                      <a:ext uri="{FF2B5EF4-FFF2-40B4-BE49-F238E27FC236}">
                        <a16:creationId xmlns:a16="http://schemas.microsoft.com/office/drawing/2014/main" id="{7933B3F9-E13C-A11D-C947-A666A9D8BE2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31488" y="1119188"/>
                    <a:ext cx="693738" cy="533400"/>
                  </a:xfrm>
                  <a:custGeom>
                    <a:avLst/>
                    <a:gdLst>
                      <a:gd name="T0" fmla="*/ 0 w 374"/>
                      <a:gd name="T1" fmla="*/ 285 h 288"/>
                      <a:gd name="T2" fmla="*/ 1 w 374"/>
                      <a:gd name="T3" fmla="*/ 52 h 288"/>
                      <a:gd name="T4" fmla="*/ 50 w 374"/>
                      <a:gd name="T5" fmla="*/ 0 h 288"/>
                      <a:gd name="T6" fmla="*/ 330 w 374"/>
                      <a:gd name="T7" fmla="*/ 1 h 288"/>
                      <a:gd name="T8" fmla="*/ 207 w 374"/>
                      <a:gd name="T9" fmla="*/ 81 h 288"/>
                      <a:gd name="T10" fmla="*/ 56 w 374"/>
                      <a:gd name="T11" fmla="*/ 59 h 288"/>
                      <a:gd name="T12" fmla="*/ 22 w 374"/>
                      <a:gd name="T13" fmla="*/ 288 h 288"/>
                      <a:gd name="T14" fmla="*/ 0 w 374"/>
                      <a:gd name="T15" fmla="*/ 285 h 2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74" h="288">
                        <a:moveTo>
                          <a:pt x="0" y="285"/>
                        </a:moveTo>
                        <a:cubicBezTo>
                          <a:pt x="1" y="52"/>
                          <a:pt x="1" y="52"/>
                          <a:pt x="1" y="52"/>
                        </a:cubicBezTo>
                        <a:cubicBezTo>
                          <a:pt x="0" y="11"/>
                          <a:pt x="39" y="0"/>
                          <a:pt x="50" y="0"/>
                        </a:cubicBezTo>
                        <a:cubicBezTo>
                          <a:pt x="61" y="0"/>
                          <a:pt x="330" y="1"/>
                          <a:pt x="330" y="1"/>
                        </a:cubicBezTo>
                        <a:cubicBezTo>
                          <a:pt x="330" y="1"/>
                          <a:pt x="374" y="98"/>
                          <a:pt x="207" y="81"/>
                        </a:cubicBezTo>
                        <a:cubicBezTo>
                          <a:pt x="166" y="77"/>
                          <a:pt x="165" y="71"/>
                          <a:pt x="56" y="59"/>
                        </a:cubicBezTo>
                        <a:cubicBezTo>
                          <a:pt x="72" y="103"/>
                          <a:pt x="22" y="288"/>
                          <a:pt x="22" y="288"/>
                        </a:cubicBezTo>
                        <a:lnTo>
                          <a:pt x="0" y="28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0" name="Freeform 250">
                    <a:extLst>
                      <a:ext uri="{FF2B5EF4-FFF2-40B4-BE49-F238E27FC236}">
                        <a16:creationId xmlns:a16="http://schemas.microsoft.com/office/drawing/2014/main" id="{7EFC699B-9C52-D969-5A88-8976D208A1D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668338"/>
                    <a:ext cx="65088" cy="76200"/>
                  </a:xfrm>
                  <a:custGeom>
                    <a:avLst/>
                    <a:gdLst>
                      <a:gd name="T0" fmla="*/ 33 w 35"/>
                      <a:gd name="T1" fmla="*/ 0 h 41"/>
                      <a:gd name="T2" fmla="*/ 35 w 35"/>
                      <a:gd name="T3" fmla="*/ 1 h 41"/>
                      <a:gd name="T4" fmla="*/ 21 w 35"/>
                      <a:gd name="T5" fmla="*/ 41 h 41"/>
                      <a:gd name="T6" fmla="*/ 0 w 35"/>
                      <a:gd name="T7" fmla="*/ 31 h 41"/>
                      <a:gd name="T8" fmla="*/ 33 w 35"/>
                      <a:gd name="T9" fmla="*/ 0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5" h="41">
                        <a:moveTo>
                          <a:pt x="33" y="0"/>
                        </a:moveTo>
                        <a:cubicBezTo>
                          <a:pt x="35" y="1"/>
                          <a:pt x="35" y="1"/>
                          <a:pt x="35" y="1"/>
                        </a:cubicBezTo>
                        <a:cubicBezTo>
                          <a:pt x="21" y="41"/>
                          <a:pt x="21" y="41"/>
                          <a:pt x="21" y="41"/>
                        </a:cubicBezTo>
                        <a:cubicBezTo>
                          <a:pt x="21" y="41"/>
                          <a:pt x="11" y="41"/>
                          <a:pt x="0" y="31"/>
                        </a:cubicBezTo>
                        <a:cubicBezTo>
                          <a:pt x="28" y="12"/>
                          <a:pt x="33" y="0"/>
                          <a:pt x="33" y="0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1" name="Freeform 251">
                    <a:extLst>
                      <a:ext uri="{FF2B5EF4-FFF2-40B4-BE49-F238E27FC236}">
                        <a16:creationId xmlns:a16="http://schemas.microsoft.com/office/drawing/2014/main" id="{4C5020F3-D822-BEEC-194D-96D12CA9D2A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8813" y="673100"/>
                    <a:ext cx="574675" cy="481013"/>
                  </a:xfrm>
                  <a:custGeom>
                    <a:avLst/>
                    <a:gdLst>
                      <a:gd name="T0" fmla="*/ 0 w 310"/>
                      <a:gd name="T1" fmla="*/ 0 h 260"/>
                      <a:gd name="T2" fmla="*/ 134 w 310"/>
                      <a:gd name="T3" fmla="*/ 182 h 260"/>
                      <a:gd name="T4" fmla="*/ 274 w 310"/>
                      <a:gd name="T5" fmla="*/ 260 h 260"/>
                      <a:gd name="T6" fmla="*/ 194 w 310"/>
                      <a:gd name="T7" fmla="*/ 161 h 260"/>
                      <a:gd name="T8" fmla="*/ 0 w 310"/>
                      <a:gd name="T9" fmla="*/ 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10" h="260">
                        <a:moveTo>
                          <a:pt x="0" y="0"/>
                        </a:moveTo>
                        <a:cubicBezTo>
                          <a:pt x="0" y="0"/>
                          <a:pt x="14" y="153"/>
                          <a:pt x="134" y="182"/>
                        </a:cubicBezTo>
                        <a:cubicBezTo>
                          <a:pt x="250" y="210"/>
                          <a:pt x="274" y="260"/>
                          <a:pt x="274" y="260"/>
                        </a:cubicBezTo>
                        <a:cubicBezTo>
                          <a:pt x="274" y="260"/>
                          <a:pt x="310" y="203"/>
                          <a:pt x="194" y="161"/>
                        </a:cubicBezTo>
                        <a:cubicBezTo>
                          <a:pt x="77" y="118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2" name="Freeform 252">
                    <a:extLst>
                      <a:ext uri="{FF2B5EF4-FFF2-40B4-BE49-F238E27FC236}">
                        <a16:creationId xmlns:a16="http://schemas.microsoft.com/office/drawing/2014/main" id="{244A97ED-12E6-4077-9BD2-538D67A14AB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93413" y="666750"/>
                    <a:ext cx="369888" cy="306388"/>
                  </a:xfrm>
                  <a:custGeom>
                    <a:avLst/>
                    <a:gdLst>
                      <a:gd name="T0" fmla="*/ 199 w 199"/>
                      <a:gd name="T1" fmla="*/ 165 h 165"/>
                      <a:gd name="T2" fmla="*/ 108 w 199"/>
                      <a:gd name="T3" fmla="*/ 43 h 165"/>
                      <a:gd name="T4" fmla="*/ 9 w 199"/>
                      <a:gd name="T5" fmla="*/ 0 h 165"/>
                      <a:gd name="T6" fmla="*/ 75 w 199"/>
                      <a:gd name="T7" fmla="*/ 119 h 165"/>
                      <a:gd name="T8" fmla="*/ 199 w 199"/>
                      <a:gd name="T9" fmla="*/ 165 h 1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99" h="165">
                        <a:moveTo>
                          <a:pt x="199" y="165"/>
                        </a:moveTo>
                        <a:cubicBezTo>
                          <a:pt x="199" y="165"/>
                          <a:pt x="134" y="65"/>
                          <a:pt x="108" y="43"/>
                        </a:cubicBezTo>
                        <a:cubicBezTo>
                          <a:pt x="82" y="21"/>
                          <a:pt x="9" y="0"/>
                          <a:pt x="9" y="0"/>
                        </a:cubicBezTo>
                        <a:cubicBezTo>
                          <a:pt x="9" y="0"/>
                          <a:pt x="0" y="87"/>
                          <a:pt x="75" y="119"/>
                        </a:cubicBezTo>
                        <a:cubicBezTo>
                          <a:pt x="150" y="151"/>
                          <a:pt x="199" y="165"/>
                          <a:pt x="199" y="165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3" name="Freeform 253">
                    <a:extLst>
                      <a:ext uri="{FF2B5EF4-FFF2-40B4-BE49-F238E27FC236}">
                        <a16:creationId xmlns:a16="http://schemas.microsoft.com/office/drawing/2014/main" id="{509ED182-2614-FEE1-64E6-694FFC4F3CF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91763" y="669925"/>
                    <a:ext cx="630238" cy="344488"/>
                  </a:xfrm>
                  <a:custGeom>
                    <a:avLst/>
                    <a:gdLst>
                      <a:gd name="T0" fmla="*/ 337 w 340"/>
                      <a:gd name="T1" fmla="*/ 78 h 186"/>
                      <a:gd name="T2" fmla="*/ 196 w 340"/>
                      <a:gd name="T3" fmla="*/ 184 h 186"/>
                      <a:gd name="T4" fmla="*/ 2 w 340"/>
                      <a:gd name="T5" fmla="*/ 166 h 186"/>
                      <a:gd name="T6" fmla="*/ 0 w 340"/>
                      <a:gd name="T7" fmla="*/ 151 h 186"/>
                      <a:gd name="T8" fmla="*/ 189 w 340"/>
                      <a:gd name="T9" fmla="*/ 144 h 186"/>
                      <a:gd name="T10" fmla="*/ 266 w 340"/>
                      <a:gd name="T11" fmla="*/ 49 h 186"/>
                      <a:gd name="T12" fmla="*/ 337 w 340"/>
                      <a:gd name="T13" fmla="*/ 78 h 1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0" h="186">
                        <a:moveTo>
                          <a:pt x="337" y="78"/>
                        </a:moveTo>
                        <a:cubicBezTo>
                          <a:pt x="301" y="123"/>
                          <a:pt x="230" y="173"/>
                          <a:pt x="196" y="184"/>
                        </a:cubicBezTo>
                        <a:cubicBezTo>
                          <a:pt x="125" y="186"/>
                          <a:pt x="2" y="166"/>
                          <a:pt x="2" y="166"/>
                        </a:cubicBezTo>
                        <a:cubicBezTo>
                          <a:pt x="2" y="166"/>
                          <a:pt x="0" y="159"/>
                          <a:pt x="0" y="151"/>
                        </a:cubicBezTo>
                        <a:cubicBezTo>
                          <a:pt x="52" y="147"/>
                          <a:pt x="159" y="142"/>
                          <a:pt x="189" y="144"/>
                        </a:cubicBezTo>
                        <a:cubicBezTo>
                          <a:pt x="223" y="116"/>
                          <a:pt x="255" y="98"/>
                          <a:pt x="266" y="49"/>
                        </a:cubicBezTo>
                        <a:cubicBezTo>
                          <a:pt x="278" y="0"/>
                          <a:pt x="340" y="16"/>
                          <a:pt x="337" y="78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4" name="Freeform 255">
                    <a:extLst>
                      <a:ext uri="{FF2B5EF4-FFF2-40B4-BE49-F238E27FC236}">
                        <a16:creationId xmlns:a16="http://schemas.microsoft.com/office/drawing/2014/main" id="{9EE5F5B5-B659-76B1-2615-F6899A8D912F}"/>
                      </a:ext>
                    </a:extLst>
                  </p:cNvPr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10396538" y="666750"/>
                    <a:ext cx="66675" cy="95250"/>
                  </a:xfrm>
                  <a:custGeom>
                    <a:avLst/>
                    <a:gdLst>
                      <a:gd name="T0" fmla="*/ 34 w 36"/>
                      <a:gd name="T1" fmla="*/ 42 h 51"/>
                      <a:gd name="T2" fmla="*/ 30 w 36"/>
                      <a:gd name="T3" fmla="*/ 30 h 51"/>
                      <a:gd name="T4" fmla="*/ 29 w 36"/>
                      <a:gd name="T5" fmla="*/ 20 h 51"/>
                      <a:gd name="T6" fmla="*/ 34 w 36"/>
                      <a:gd name="T7" fmla="*/ 11 h 51"/>
                      <a:gd name="T8" fmla="*/ 30 w 36"/>
                      <a:gd name="T9" fmla="*/ 6 h 51"/>
                      <a:gd name="T10" fmla="*/ 32 w 36"/>
                      <a:gd name="T11" fmla="*/ 1 h 51"/>
                      <a:gd name="T12" fmla="*/ 27 w 36"/>
                      <a:gd name="T13" fmla="*/ 3 h 51"/>
                      <a:gd name="T14" fmla="*/ 19 w 36"/>
                      <a:gd name="T15" fmla="*/ 16 h 51"/>
                      <a:gd name="T16" fmla="*/ 16 w 36"/>
                      <a:gd name="T17" fmla="*/ 31 h 51"/>
                      <a:gd name="T18" fmla="*/ 8 w 36"/>
                      <a:gd name="T19" fmla="*/ 30 h 51"/>
                      <a:gd name="T20" fmla="*/ 0 w 36"/>
                      <a:gd name="T21" fmla="*/ 31 h 51"/>
                      <a:gd name="T22" fmla="*/ 21 w 36"/>
                      <a:gd name="T23" fmla="*/ 46 h 51"/>
                      <a:gd name="T24" fmla="*/ 28 w 36"/>
                      <a:gd name="T25" fmla="*/ 51 h 51"/>
                      <a:gd name="T26" fmla="*/ 36 w 36"/>
                      <a:gd name="T27" fmla="*/ 44 h 51"/>
                      <a:gd name="T28" fmla="*/ 34 w 36"/>
                      <a:gd name="T29" fmla="*/ 42 h 51"/>
                      <a:gd name="T30" fmla="*/ 29 w 36"/>
                      <a:gd name="T31" fmla="*/ 9 h 51"/>
                      <a:gd name="T32" fmla="*/ 31 w 36"/>
                      <a:gd name="T33" fmla="*/ 12 h 51"/>
                      <a:gd name="T34" fmla="*/ 29 w 36"/>
                      <a:gd name="T35" fmla="*/ 14 h 51"/>
                      <a:gd name="T36" fmla="*/ 29 w 36"/>
                      <a:gd name="T37" fmla="*/ 9 h 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36" h="51">
                        <a:moveTo>
                          <a:pt x="34" y="42"/>
                        </a:moveTo>
                        <a:cubicBezTo>
                          <a:pt x="34" y="42"/>
                          <a:pt x="31" y="36"/>
                          <a:pt x="30" y="30"/>
                        </a:cubicBezTo>
                        <a:cubicBezTo>
                          <a:pt x="29" y="25"/>
                          <a:pt x="29" y="20"/>
                          <a:pt x="29" y="20"/>
                        </a:cubicBezTo>
                        <a:cubicBezTo>
                          <a:pt x="29" y="20"/>
                          <a:pt x="36" y="13"/>
                          <a:pt x="34" y="11"/>
                        </a:cubicBezTo>
                        <a:cubicBezTo>
                          <a:pt x="33" y="9"/>
                          <a:pt x="30" y="6"/>
                          <a:pt x="30" y="6"/>
                        </a:cubicBezTo>
                        <a:cubicBezTo>
                          <a:pt x="30" y="6"/>
                          <a:pt x="33" y="1"/>
                          <a:pt x="32" y="1"/>
                        </a:cubicBezTo>
                        <a:cubicBezTo>
                          <a:pt x="32" y="1"/>
                          <a:pt x="29" y="0"/>
                          <a:pt x="27" y="3"/>
                        </a:cubicBezTo>
                        <a:cubicBezTo>
                          <a:pt x="26" y="4"/>
                          <a:pt x="21" y="12"/>
                          <a:pt x="19" y="16"/>
                        </a:cubicBezTo>
                        <a:cubicBezTo>
                          <a:pt x="17" y="20"/>
                          <a:pt x="16" y="31"/>
                          <a:pt x="16" y="31"/>
                        </a:cubicBezTo>
                        <a:cubicBezTo>
                          <a:pt x="16" y="31"/>
                          <a:pt x="11" y="32"/>
                          <a:pt x="8" y="30"/>
                        </a:cubicBezTo>
                        <a:cubicBezTo>
                          <a:pt x="5" y="28"/>
                          <a:pt x="0" y="31"/>
                          <a:pt x="0" y="31"/>
                        </a:cubicBezTo>
                        <a:cubicBezTo>
                          <a:pt x="0" y="31"/>
                          <a:pt x="8" y="35"/>
                          <a:pt x="21" y="46"/>
                        </a:cubicBezTo>
                        <a:cubicBezTo>
                          <a:pt x="23" y="48"/>
                          <a:pt x="28" y="51"/>
                          <a:pt x="28" y="51"/>
                        </a:cubicBezTo>
                        <a:cubicBezTo>
                          <a:pt x="36" y="44"/>
                          <a:pt x="36" y="44"/>
                          <a:pt x="36" y="44"/>
                        </a:cubicBezTo>
                        <a:lnTo>
                          <a:pt x="34" y="42"/>
                        </a:lnTo>
                        <a:close/>
                        <a:moveTo>
                          <a:pt x="29" y="9"/>
                        </a:moveTo>
                        <a:cubicBezTo>
                          <a:pt x="31" y="12"/>
                          <a:pt x="31" y="12"/>
                          <a:pt x="31" y="12"/>
                        </a:cubicBezTo>
                        <a:cubicBezTo>
                          <a:pt x="29" y="14"/>
                          <a:pt x="29" y="14"/>
                          <a:pt x="29" y="14"/>
                        </a:cubicBezTo>
                        <a:lnTo>
                          <a:pt x="29" y="9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0" name="Group 4">
                <a:extLst>
                  <a:ext uri="{FF2B5EF4-FFF2-40B4-BE49-F238E27FC236}">
                    <a16:creationId xmlns:a16="http://schemas.microsoft.com/office/drawing/2014/main" id="{4818AA87-9BF8-189D-7EA0-E9DD4921CBAA}"/>
                  </a:ext>
                </a:extLst>
              </p:cNvPr>
              <p:cNvGrpSpPr/>
              <p:nvPr/>
            </p:nvGrpSpPr>
            <p:grpSpPr>
              <a:xfrm>
                <a:off x="2494061" y="3997897"/>
                <a:ext cx="1127759" cy="1089959"/>
                <a:chOff x="2494061" y="3997897"/>
                <a:chExt cx="1127759" cy="1089959"/>
              </a:xfrm>
            </p:grpSpPr>
            <p:grpSp>
              <p:nvGrpSpPr>
                <p:cNvPr id="53" name="Group 1068">
                  <a:extLst>
                    <a:ext uri="{FF2B5EF4-FFF2-40B4-BE49-F238E27FC236}">
                      <a16:creationId xmlns:a16="http://schemas.microsoft.com/office/drawing/2014/main" id="{C44EAFD2-E190-9D8F-1A45-C1E43170DD74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2494061" y="3997897"/>
                  <a:ext cx="1127759" cy="815248"/>
                  <a:chOff x="10001250" y="2782888"/>
                  <a:chExt cx="1449388" cy="1047750"/>
                </a:xfrm>
              </p:grpSpPr>
              <p:sp>
                <p:nvSpPr>
                  <p:cNvPr id="55" name="Freeform 217">
                    <a:extLst>
                      <a:ext uri="{FF2B5EF4-FFF2-40B4-BE49-F238E27FC236}">
                        <a16:creationId xmlns:a16="http://schemas.microsoft.com/office/drawing/2014/main" id="{5688F31E-D383-6F46-3EB3-9D8B6F5EC8C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5425" y="3303588"/>
                    <a:ext cx="728663" cy="525463"/>
                  </a:xfrm>
                  <a:custGeom>
                    <a:avLst/>
                    <a:gdLst>
                      <a:gd name="T0" fmla="*/ 3 w 393"/>
                      <a:gd name="T1" fmla="*/ 279 h 283"/>
                      <a:gd name="T2" fmla="*/ 12 w 393"/>
                      <a:gd name="T3" fmla="*/ 275 h 283"/>
                      <a:gd name="T4" fmla="*/ 25 w 393"/>
                      <a:gd name="T5" fmla="*/ 258 h 283"/>
                      <a:gd name="T6" fmla="*/ 22 w 393"/>
                      <a:gd name="T7" fmla="*/ 42 h 283"/>
                      <a:gd name="T8" fmla="*/ 22 w 393"/>
                      <a:gd name="T9" fmla="*/ 42 h 283"/>
                      <a:gd name="T10" fmla="*/ 61 w 393"/>
                      <a:gd name="T11" fmla="*/ 0 h 283"/>
                      <a:gd name="T12" fmla="*/ 319 w 393"/>
                      <a:gd name="T13" fmla="*/ 3 h 283"/>
                      <a:gd name="T14" fmla="*/ 236 w 393"/>
                      <a:gd name="T15" fmla="*/ 79 h 283"/>
                      <a:gd name="T16" fmla="*/ 65 w 393"/>
                      <a:gd name="T17" fmla="*/ 46 h 283"/>
                      <a:gd name="T18" fmla="*/ 37 w 393"/>
                      <a:gd name="T19" fmla="*/ 259 h 283"/>
                      <a:gd name="T20" fmla="*/ 37 w 393"/>
                      <a:gd name="T21" fmla="*/ 267 h 283"/>
                      <a:gd name="T22" fmla="*/ 34 w 393"/>
                      <a:gd name="T23" fmla="*/ 283 h 283"/>
                      <a:gd name="T24" fmla="*/ 29 w 393"/>
                      <a:gd name="T25" fmla="*/ 283 h 283"/>
                      <a:gd name="T26" fmla="*/ 28 w 393"/>
                      <a:gd name="T27" fmla="*/ 274 h 283"/>
                      <a:gd name="T28" fmla="*/ 15 w 393"/>
                      <a:gd name="T29" fmla="*/ 283 h 283"/>
                      <a:gd name="T30" fmla="*/ 2 w 393"/>
                      <a:gd name="T31" fmla="*/ 283 h 283"/>
                      <a:gd name="T32" fmla="*/ 3 w 393"/>
                      <a:gd name="T33" fmla="*/ 279 h 2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93" h="283">
                        <a:moveTo>
                          <a:pt x="3" y="279"/>
                        </a:moveTo>
                        <a:cubicBezTo>
                          <a:pt x="4" y="279"/>
                          <a:pt x="12" y="275"/>
                          <a:pt x="12" y="275"/>
                        </a:cubicBezTo>
                        <a:cubicBezTo>
                          <a:pt x="25" y="258"/>
                          <a:pt x="25" y="258"/>
                          <a:pt x="25" y="258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0" y="5"/>
                          <a:pt x="61" y="0"/>
                          <a:pt x="61" y="0"/>
                        </a:cubicBezTo>
                        <a:cubicBezTo>
                          <a:pt x="319" y="3"/>
                          <a:pt x="319" y="3"/>
                          <a:pt x="319" y="3"/>
                        </a:cubicBezTo>
                        <a:cubicBezTo>
                          <a:pt x="319" y="3"/>
                          <a:pt x="393" y="97"/>
                          <a:pt x="236" y="79"/>
                        </a:cubicBezTo>
                        <a:cubicBezTo>
                          <a:pt x="197" y="74"/>
                          <a:pt x="167" y="59"/>
                          <a:pt x="65" y="46"/>
                        </a:cubicBezTo>
                        <a:cubicBezTo>
                          <a:pt x="79" y="87"/>
                          <a:pt x="37" y="259"/>
                          <a:pt x="37" y="259"/>
                        </a:cubicBezTo>
                        <a:cubicBezTo>
                          <a:pt x="37" y="267"/>
                          <a:pt x="37" y="267"/>
                          <a:pt x="37" y="267"/>
                        </a:cubicBezTo>
                        <a:cubicBezTo>
                          <a:pt x="34" y="283"/>
                          <a:pt x="34" y="283"/>
                          <a:pt x="34" y="283"/>
                        </a:cubicBezTo>
                        <a:cubicBezTo>
                          <a:pt x="29" y="283"/>
                          <a:pt x="29" y="283"/>
                          <a:pt x="29" y="283"/>
                        </a:cubicBezTo>
                        <a:cubicBezTo>
                          <a:pt x="28" y="274"/>
                          <a:pt x="28" y="274"/>
                          <a:pt x="28" y="274"/>
                        </a:cubicBezTo>
                        <a:cubicBezTo>
                          <a:pt x="15" y="283"/>
                          <a:pt x="15" y="283"/>
                          <a:pt x="15" y="283"/>
                        </a:cubicBezTo>
                        <a:cubicBezTo>
                          <a:pt x="2" y="283"/>
                          <a:pt x="2" y="283"/>
                          <a:pt x="2" y="283"/>
                        </a:cubicBezTo>
                        <a:cubicBezTo>
                          <a:pt x="2" y="283"/>
                          <a:pt x="0" y="280"/>
                          <a:pt x="3" y="27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" name="Freeform 218">
                    <a:extLst>
                      <a:ext uri="{FF2B5EF4-FFF2-40B4-BE49-F238E27FC236}">
                        <a16:creationId xmlns:a16="http://schemas.microsoft.com/office/drawing/2014/main" id="{CD3573A0-3AC9-DD7B-5728-F46D029BB82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3838" y="3784600"/>
                    <a:ext cx="71438" cy="46038"/>
                  </a:xfrm>
                  <a:custGeom>
                    <a:avLst/>
                    <a:gdLst>
                      <a:gd name="T0" fmla="*/ 13 w 38"/>
                      <a:gd name="T1" fmla="*/ 16 h 25"/>
                      <a:gd name="T2" fmla="*/ 3 w 38"/>
                      <a:gd name="T3" fmla="*/ 20 h 25"/>
                      <a:gd name="T4" fmla="*/ 2 w 38"/>
                      <a:gd name="T5" fmla="*/ 24 h 25"/>
                      <a:gd name="T6" fmla="*/ 18 w 38"/>
                      <a:gd name="T7" fmla="*/ 24 h 25"/>
                      <a:gd name="T8" fmla="*/ 29 w 38"/>
                      <a:gd name="T9" fmla="*/ 15 h 25"/>
                      <a:gd name="T10" fmla="*/ 30 w 38"/>
                      <a:gd name="T11" fmla="*/ 25 h 25"/>
                      <a:gd name="T12" fmla="*/ 35 w 38"/>
                      <a:gd name="T13" fmla="*/ 25 h 25"/>
                      <a:gd name="T14" fmla="*/ 38 w 38"/>
                      <a:gd name="T15" fmla="*/ 8 h 25"/>
                      <a:gd name="T16" fmla="*/ 38 w 38"/>
                      <a:gd name="T17" fmla="*/ 0 h 25"/>
                      <a:gd name="T18" fmla="*/ 28 w 38"/>
                      <a:gd name="T19" fmla="*/ 8 h 25"/>
                      <a:gd name="T20" fmla="*/ 13 w 38"/>
                      <a:gd name="T21" fmla="*/ 16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8" h="25">
                        <a:moveTo>
                          <a:pt x="13" y="16"/>
                        </a:moveTo>
                        <a:cubicBezTo>
                          <a:pt x="11" y="17"/>
                          <a:pt x="4" y="20"/>
                          <a:pt x="3" y="20"/>
                        </a:cubicBezTo>
                        <a:cubicBezTo>
                          <a:pt x="0" y="21"/>
                          <a:pt x="2" y="24"/>
                          <a:pt x="2" y="24"/>
                        </a:cubicBezTo>
                        <a:cubicBezTo>
                          <a:pt x="2" y="24"/>
                          <a:pt x="15" y="24"/>
                          <a:pt x="18" y="24"/>
                        </a:cubicBezTo>
                        <a:cubicBezTo>
                          <a:pt x="21" y="24"/>
                          <a:pt x="29" y="15"/>
                          <a:pt x="29" y="15"/>
                        </a:cubicBezTo>
                        <a:cubicBezTo>
                          <a:pt x="30" y="25"/>
                          <a:pt x="30" y="25"/>
                          <a:pt x="30" y="25"/>
                        </a:cubicBezTo>
                        <a:cubicBezTo>
                          <a:pt x="35" y="25"/>
                          <a:pt x="35" y="25"/>
                          <a:pt x="35" y="25"/>
                        </a:cubicBezTo>
                        <a:cubicBezTo>
                          <a:pt x="35" y="25"/>
                          <a:pt x="36" y="15"/>
                          <a:pt x="38" y="8"/>
                        </a:cubicBezTo>
                        <a:cubicBezTo>
                          <a:pt x="38" y="4"/>
                          <a:pt x="38" y="0"/>
                          <a:pt x="38" y="0"/>
                        </a:cubicBezTo>
                        <a:cubicBezTo>
                          <a:pt x="38" y="0"/>
                          <a:pt x="35" y="0"/>
                          <a:pt x="28" y="8"/>
                        </a:cubicBezTo>
                        <a:cubicBezTo>
                          <a:pt x="22" y="17"/>
                          <a:pt x="16" y="16"/>
                          <a:pt x="13" y="16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" name="Freeform 219">
                    <a:extLst>
                      <a:ext uri="{FF2B5EF4-FFF2-40B4-BE49-F238E27FC236}">
                        <a16:creationId xmlns:a16="http://schemas.microsoft.com/office/drawing/2014/main" id="{5CEC0F82-A8EE-1D30-84F9-E8F48FB1C9C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58488" y="3311525"/>
                    <a:ext cx="692150" cy="390525"/>
                  </a:xfrm>
                  <a:custGeom>
                    <a:avLst/>
                    <a:gdLst>
                      <a:gd name="T0" fmla="*/ 371 w 373"/>
                      <a:gd name="T1" fmla="*/ 182 h 211"/>
                      <a:gd name="T2" fmla="*/ 360 w 373"/>
                      <a:gd name="T3" fmla="*/ 170 h 211"/>
                      <a:gd name="T4" fmla="*/ 370 w 373"/>
                      <a:gd name="T5" fmla="*/ 168 h 211"/>
                      <a:gd name="T6" fmla="*/ 369 w 373"/>
                      <a:gd name="T7" fmla="*/ 164 h 211"/>
                      <a:gd name="T8" fmla="*/ 353 w 373"/>
                      <a:gd name="T9" fmla="*/ 163 h 211"/>
                      <a:gd name="T10" fmla="*/ 345 w 373"/>
                      <a:gd name="T11" fmla="*/ 164 h 211"/>
                      <a:gd name="T12" fmla="*/ 142 w 373"/>
                      <a:gd name="T13" fmla="*/ 172 h 211"/>
                      <a:gd name="T14" fmla="*/ 115 w 373"/>
                      <a:gd name="T15" fmla="*/ 25 h 211"/>
                      <a:gd name="T16" fmla="*/ 0 w 373"/>
                      <a:gd name="T17" fmla="*/ 15 h 211"/>
                      <a:gd name="T18" fmla="*/ 107 w 373"/>
                      <a:gd name="T19" fmla="*/ 191 h 211"/>
                      <a:gd name="T20" fmla="*/ 142 w 373"/>
                      <a:gd name="T21" fmla="*/ 211 h 211"/>
                      <a:gd name="T22" fmla="*/ 211 w 373"/>
                      <a:gd name="T23" fmla="*/ 198 h 211"/>
                      <a:gd name="T24" fmla="*/ 346 w 373"/>
                      <a:gd name="T25" fmla="*/ 176 h 211"/>
                      <a:gd name="T26" fmla="*/ 363 w 373"/>
                      <a:gd name="T27" fmla="*/ 186 h 211"/>
                      <a:gd name="T28" fmla="*/ 369 w 373"/>
                      <a:gd name="T29" fmla="*/ 195 h 211"/>
                      <a:gd name="T30" fmla="*/ 373 w 373"/>
                      <a:gd name="T31" fmla="*/ 196 h 211"/>
                      <a:gd name="T32" fmla="*/ 371 w 373"/>
                      <a:gd name="T33" fmla="*/ 182 h 2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73" h="211">
                        <a:moveTo>
                          <a:pt x="371" y="182"/>
                        </a:moveTo>
                        <a:cubicBezTo>
                          <a:pt x="360" y="170"/>
                          <a:pt x="360" y="170"/>
                          <a:pt x="360" y="170"/>
                        </a:cubicBezTo>
                        <a:cubicBezTo>
                          <a:pt x="370" y="168"/>
                          <a:pt x="370" y="168"/>
                          <a:pt x="370" y="168"/>
                        </a:cubicBezTo>
                        <a:cubicBezTo>
                          <a:pt x="369" y="164"/>
                          <a:pt x="369" y="164"/>
                          <a:pt x="369" y="164"/>
                        </a:cubicBezTo>
                        <a:cubicBezTo>
                          <a:pt x="353" y="163"/>
                          <a:pt x="353" y="163"/>
                          <a:pt x="353" y="163"/>
                        </a:cubicBezTo>
                        <a:cubicBezTo>
                          <a:pt x="353" y="163"/>
                          <a:pt x="348" y="164"/>
                          <a:pt x="345" y="164"/>
                        </a:cubicBezTo>
                        <a:cubicBezTo>
                          <a:pt x="274" y="167"/>
                          <a:pt x="157" y="159"/>
                          <a:pt x="142" y="172"/>
                        </a:cubicBezTo>
                        <a:cubicBezTo>
                          <a:pt x="140" y="136"/>
                          <a:pt x="136" y="58"/>
                          <a:pt x="115" y="25"/>
                        </a:cubicBezTo>
                        <a:cubicBezTo>
                          <a:pt x="100" y="0"/>
                          <a:pt x="0" y="15"/>
                          <a:pt x="0" y="15"/>
                        </a:cubicBezTo>
                        <a:cubicBezTo>
                          <a:pt x="0" y="15"/>
                          <a:pt x="102" y="185"/>
                          <a:pt x="107" y="191"/>
                        </a:cubicBezTo>
                        <a:cubicBezTo>
                          <a:pt x="121" y="210"/>
                          <a:pt x="142" y="211"/>
                          <a:pt x="142" y="211"/>
                        </a:cubicBezTo>
                        <a:cubicBezTo>
                          <a:pt x="211" y="198"/>
                          <a:pt x="211" y="198"/>
                          <a:pt x="211" y="198"/>
                        </a:cubicBezTo>
                        <a:cubicBezTo>
                          <a:pt x="346" y="176"/>
                          <a:pt x="346" y="176"/>
                          <a:pt x="346" y="176"/>
                        </a:cubicBezTo>
                        <a:cubicBezTo>
                          <a:pt x="363" y="186"/>
                          <a:pt x="363" y="186"/>
                          <a:pt x="363" y="186"/>
                        </a:cubicBezTo>
                        <a:cubicBezTo>
                          <a:pt x="363" y="186"/>
                          <a:pt x="369" y="194"/>
                          <a:pt x="369" y="195"/>
                        </a:cubicBezTo>
                        <a:cubicBezTo>
                          <a:pt x="370" y="198"/>
                          <a:pt x="373" y="196"/>
                          <a:pt x="373" y="196"/>
                        </a:cubicBezTo>
                        <a:lnTo>
                          <a:pt x="371" y="182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" name="Freeform 221">
                    <a:extLst>
                      <a:ext uri="{FF2B5EF4-FFF2-40B4-BE49-F238E27FC236}">
                        <a16:creationId xmlns:a16="http://schemas.microsoft.com/office/drawing/2014/main" id="{25CC1BF9-FD2D-6E24-4BF9-A8A8978C6DC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61600" y="2940050"/>
                    <a:ext cx="304800" cy="269875"/>
                  </a:xfrm>
                  <a:custGeom>
                    <a:avLst/>
                    <a:gdLst>
                      <a:gd name="T0" fmla="*/ 0 w 164"/>
                      <a:gd name="T1" fmla="*/ 113 h 146"/>
                      <a:gd name="T2" fmla="*/ 37 w 164"/>
                      <a:gd name="T3" fmla="*/ 114 h 146"/>
                      <a:gd name="T4" fmla="*/ 66 w 164"/>
                      <a:gd name="T5" fmla="*/ 77 h 146"/>
                      <a:gd name="T6" fmla="*/ 97 w 164"/>
                      <a:gd name="T7" fmla="*/ 41 h 146"/>
                      <a:gd name="T8" fmla="*/ 164 w 164"/>
                      <a:gd name="T9" fmla="*/ 11 h 146"/>
                      <a:gd name="T10" fmla="*/ 133 w 164"/>
                      <a:gd name="T11" fmla="*/ 72 h 146"/>
                      <a:gd name="T12" fmla="*/ 67 w 164"/>
                      <a:gd name="T13" fmla="*/ 130 h 146"/>
                      <a:gd name="T14" fmla="*/ 23 w 164"/>
                      <a:gd name="T15" fmla="*/ 141 h 146"/>
                      <a:gd name="T16" fmla="*/ 0 w 164"/>
                      <a:gd name="T17" fmla="*/ 113 h 1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64" h="146">
                        <a:moveTo>
                          <a:pt x="0" y="113"/>
                        </a:moveTo>
                        <a:cubicBezTo>
                          <a:pt x="37" y="114"/>
                          <a:pt x="37" y="114"/>
                          <a:pt x="37" y="114"/>
                        </a:cubicBezTo>
                        <a:cubicBezTo>
                          <a:pt x="37" y="114"/>
                          <a:pt x="47" y="99"/>
                          <a:pt x="66" y="77"/>
                        </a:cubicBezTo>
                        <a:cubicBezTo>
                          <a:pt x="127" y="79"/>
                          <a:pt x="85" y="55"/>
                          <a:pt x="97" y="41"/>
                        </a:cubicBezTo>
                        <a:cubicBezTo>
                          <a:pt x="135" y="0"/>
                          <a:pt x="164" y="11"/>
                          <a:pt x="164" y="11"/>
                        </a:cubicBezTo>
                        <a:cubicBezTo>
                          <a:pt x="133" y="72"/>
                          <a:pt x="133" y="72"/>
                          <a:pt x="133" y="72"/>
                        </a:cubicBezTo>
                        <a:cubicBezTo>
                          <a:pt x="133" y="72"/>
                          <a:pt x="76" y="122"/>
                          <a:pt x="67" y="130"/>
                        </a:cubicBezTo>
                        <a:cubicBezTo>
                          <a:pt x="58" y="137"/>
                          <a:pt x="46" y="146"/>
                          <a:pt x="23" y="141"/>
                        </a:cubicBezTo>
                        <a:cubicBezTo>
                          <a:pt x="19" y="126"/>
                          <a:pt x="0" y="113"/>
                          <a:pt x="0" y="11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" name="Freeform 222">
                    <a:extLst>
                      <a:ext uri="{FF2B5EF4-FFF2-40B4-BE49-F238E27FC236}">
                        <a16:creationId xmlns:a16="http://schemas.microsoft.com/office/drawing/2014/main" id="{763B7D91-D8D2-C36B-6039-D786B82047D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4638" y="2954338"/>
                    <a:ext cx="317500" cy="319088"/>
                  </a:xfrm>
                  <a:custGeom>
                    <a:avLst/>
                    <a:gdLst>
                      <a:gd name="T0" fmla="*/ 171 w 171"/>
                      <a:gd name="T1" fmla="*/ 172 h 172"/>
                      <a:gd name="T2" fmla="*/ 29 w 171"/>
                      <a:gd name="T3" fmla="*/ 97 h 172"/>
                      <a:gd name="T4" fmla="*/ 33 w 171"/>
                      <a:gd name="T5" fmla="*/ 0 h 172"/>
                      <a:gd name="T6" fmla="*/ 171 w 171"/>
                      <a:gd name="T7" fmla="*/ 172 h 1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71" h="172">
                        <a:moveTo>
                          <a:pt x="171" y="172"/>
                        </a:moveTo>
                        <a:cubicBezTo>
                          <a:pt x="171" y="172"/>
                          <a:pt x="57" y="148"/>
                          <a:pt x="29" y="97"/>
                        </a:cubicBezTo>
                        <a:cubicBezTo>
                          <a:pt x="0" y="43"/>
                          <a:pt x="33" y="0"/>
                          <a:pt x="33" y="0"/>
                        </a:cubicBezTo>
                        <a:lnTo>
                          <a:pt x="171" y="17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" name="Freeform 223">
                    <a:extLst>
                      <a:ext uri="{FF2B5EF4-FFF2-40B4-BE49-F238E27FC236}">
                        <a16:creationId xmlns:a16="http://schemas.microsoft.com/office/drawing/2014/main" id="{DF8AD235-4A1B-16E8-0592-7500C833D67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67975" y="2906713"/>
                    <a:ext cx="520700" cy="411163"/>
                  </a:xfrm>
                  <a:custGeom>
                    <a:avLst/>
                    <a:gdLst>
                      <a:gd name="T0" fmla="*/ 153 w 281"/>
                      <a:gd name="T1" fmla="*/ 222 h 222"/>
                      <a:gd name="T2" fmla="*/ 62 w 281"/>
                      <a:gd name="T3" fmla="*/ 147 h 222"/>
                      <a:gd name="T4" fmla="*/ 0 w 281"/>
                      <a:gd name="T5" fmla="*/ 23 h 222"/>
                      <a:gd name="T6" fmla="*/ 31 w 281"/>
                      <a:gd name="T7" fmla="*/ 8 h 222"/>
                      <a:gd name="T8" fmla="*/ 158 w 281"/>
                      <a:gd name="T9" fmla="*/ 64 h 222"/>
                      <a:gd name="T10" fmla="*/ 281 w 281"/>
                      <a:gd name="T11" fmla="*/ 219 h 222"/>
                      <a:gd name="T12" fmla="*/ 153 w 281"/>
                      <a:gd name="T13" fmla="*/ 222 h 2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1" h="222">
                        <a:moveTo>
                          <a:pt x="153" y="222"/>
                        </a:moveTo>
                        <a:cubicBezTo>
                          <a:pt x="153" y="222"/>
                          <a:pt x="136" y="170"/>
                          <a:pt x="62" y="147"/>
                        </a:cubicBezTo>
                        <a:cubicBezTo>
                          <a:pt x="16" y="134"/>
                          <a:pt x="0" y="23"/>
                          <a:pt x="0" y="23"/>
                        </a:cubicBezTo>
                        <a:cubicBezTo>
                          <a:pt x="0" y="23"/>
                          <a:pt x="17" y="10"/>
                          <a:pt x="31" y="8"/>
                        </a:cubicBezTo>
                        <a:cubicBezTo>
                          <a:pt x="64" y="0"/>
                          <a:pt x="115" y="18"/>
                          <a:pt x="158" y="64"/>
                        </a:cubicBezTo>
                        <a:cubicBezTo>
                          <a:pt x="219" y="128"/>
                          <a:pt x="281" y="219"/>
                          <a:pt x="281" y="219"/>
                        </a:cubicBezTo>
                        <a:lnTo>
                          <a:pt x="153" y="222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" name="Freeform 224">
                    <a:extLst>
                      <a:ext uri="{FF2B5EF4-FFF2-40B4-BE49-F238E27FC236}">
                        <a16:creationId xmlns:a16="http://schemas.microsoft.com/office/drawing/2014/main" id="{5674FD8E-9ED5-BD0C-04CD-2F46C785E78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9413" y="3076575"/>
                    <a:ext cx="247650" cy="242888"/>
                  </a:xfrm>
                  <a:custGeom>
                    <a:avLst/>
                    <a:gdLst>
                      <a:gd name="T0" fmla="*/ 121 w 133"/>
                      <a:gd name="T1" fmla="*/ 129 h 131"/>
                      <a:gd name="T2" fmla="*/ 64 w 133"/>
                      <a:gd name="T3" fmla="*/ 62 h 131"/>
                      <a:gd name="T4" fmla="*/ 0 w 133"/>
                      <a:gd name="T5" fmla="*/ 0 h 131"/>
                      <a:gd name="T6" fmla="*/ 64 w 133"/>
                      <a:gd name="T7" fmla="*/ 57 h 131"/>
                      <a:gd name="T8" fmla="*/ 133 w 133"/>
                      <a:gd name="T9" fmla="*/ 131 h 131"/>
                      <a:gd name="T10" fmla="*/ 121 w 133"/>
                      <a:gd name="T11" fmla="*/ 129 h 1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33" h="131">
                        <a:moveTo>
                          <a:pt x="121" y="129"/>
                        </a:moveTo>
                        <a:cubicBezTo>
                          <a:pt x="121" y="129"/>
                          <a:pt x="99" y="76"/>
                          <a:pt x="64" y="62"/>
                        </a:cubicBezTo>
                        <a:cubicBezTo>
                          <a:pt x="27" y="47"/>
                          <a:pt x="0" y="0"/>
                          <a:pt x="0" y="0"/>
                        </a:cubicBezTo>
                        <a:cubicBezTo>
                          <a:pt x="0" y="0"/>
                          <a:pt x="27" y="33"/>
                          <a:pt x="64" y="57"/>
                        </a:cubicBezTo>
                        <a:cubicBezTo>
                          <a:pt x="101" y="81"/>
                          <a:pt x="133" y="131"/>
                          <a:pt x="133" y="131"/>
                        </a:cubicBezTo>
                        <a:lnTo>
                          <a:pt x="121" y="129"/>
                        </a:ln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Freeform 225">
                    <a:extLst>
                      <a:ext uri="{FF2B5EF4-FFF2-40B4-BE49-F238E27FC236}">
                        <a16:creationId xmlns:a16="http://schemas.microsoft.com/office/drawing/2014/main" id="{9E4984F0-175B-AEF1-E5CA-1D1F7211F30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3063" y="2906713"/>
                    <a:ext cx="430213" cy="357188"/>
                  </a:xfrm>
                  <a:custGeom>
                    <a:avLst/>
                    <a:gdLst>
                      <a:gd name="T0" fmla="*/ 232 w 232"/>
                      <a:gd name="T1" fmla="*/ 182 h 193"/>
                      <a:gd name="T2" fmla="*/ 59 w 232"/>
                      <a:gd name="T3" fmla="*/ 13 h 193"/>
                      <a:gd name="T4" fmla="*/ 3 w 232"/>
                      <a:gd name="T5" fmla="*/ 6 h 193"/>
                      <a:gd name="T6" fmla="*/ 129 w 232"/>
                      <a:gd name="T7" fmla="*/ 156 h 193"/>
                      <a:gd name="T8" fmla="*/ 232 w 232"/>
                      <a:gd name="T9" fmla="*/ 182 h 1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2" h="193">
                        <a:moveTo>
                          <a:pt x="232" y="182"/>
                        </a:moveTo>
                        <a:cubicBezTo>
                          <a:pt x="232" y="182"/>
                          <a:pt x="112" y="25"/>
                          <a:pt x="59" y="13"/>
                        </a:cubicBezTo>
                        <a:cubicBezTo>
                          <a:pt x="7" y="0"/>
                          <a:pt x="3" y="6"/>
                          <a:pt x="3" y="6"/>
                        </a:cubicBezTo>
                        <a:cubicBezTo>
                          <a:pt x="3" y="6"/>
                          <a:pt x="0" y="89"/>
                          <a:pt x="129" y="156"/>
                        </a:cubicBezTo>
                        <a:cubicBezTo>
                          <a:pt x="203" y="193"/>
                          <a:pt x="232" y="182"/>
                          <a:pt x="232" y="182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" name="Freeform 226">
                    <a:extLst>
                      <a:ext uri="{FF2B5EF4-FFF2-40B4-BE49-F238E27FC236}">
                        <a16:creationId xmlns:a16="http://schemas.microsoft.com/office/drawing/2014/main" id="{D2864B02-B984-1007-88C5-67B02B81C8C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2413" y="2862263"/>
                    <a:ext cx="125413" cy="106363"/>
                  </a:xfrm>
                  <a:custGeom>
                    <a:avLst/>
                    <a:gdLst>
                      <a:gd name="T0" fmla="*/ 68 w 68"/>
                      <a:gd name="T1" fmla="*/ 30 h 58"/>
                      <a:gd name="T2" fmla="*/ 58 w 68"/>
                      <a:gd name="T3" fmla="*/ 14 h 58"/>
                      <a:gd name="T4" fmla="*/ 39 w 68"/>
                      <a:gd name="T5" fmla="*/ 0 h 58"/>
                      <a:gd name="T6" fmla="*/ 31 w 68"/>
                      <a:gd name="T7" fmla="*/ 24 h 58"/>
                      <a:gd name="T8" fmla="*/ 18 w 68"/>
                      <a:gd name="T9" fmla="*/ 37 h 58"/>
                      <a:gd name="T10" fmla="*/ 0 w 68"/>
                      <a:gd name="T11" fmla="*/ 38 h 58"/>
                      <a:gd name="T12" fmla="*/ 36 w 68"/>
                      <a:gd name="T13" fmla="*/ 55 h 58"/>
                      <a:gd name="T14" fmla="*/ 68 w 68"/>
                      <a:gd name="T15" fmla="*/ 30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8" h="58">
                        <a:moveTo>
                          <a:pt x="68" y="30"/>
                        </a:moveTo>
                        <a:cubicBezTo>
                          <a:pt x="58" y="14"/>
                          <a:pt x="58" y="14"/>
                          <a:pt x="58" y="14"/>
                        </a:cubicBezTo>
                        <a:cubicBezTo>
                          <a:pt x="39" y="0"/>
                          <a:pt x="39" y="0"/>
                          <a:pt x="39" y="0"/>
                        </a:cubicBezTo>
                        <a:cubicBezTo>
                          <a:pt x="39" y="0"/>
                          <a:pt x="33" y="15"/>
                          <a:pt x="31" y="24"/>
                        </a:cubicBezTo>
                        <a:cubicBezTo>
                          <a:pt x="30" y="32"/>
                          <a:pt x="21" y="37"/>
                          <a:pt x="18" y="37"/>
                        </a:cubicBezTo>
                        <a:cubicBezTo>
                          <a:pt x="10" y="39"/>
                          <a:pt x="0" y="38"/>
                          <a:pt x="0" y="38"/>
                        </a:cubicBezTo>
                        <a:cubicBezTo>
                          <a:pt x="0" y="38"/>
                          <a:pt x="32" y="50"/>
                          <a:pt x="36" y="55"/>
                        </a:cubicBezTo>
                        <a:cubicBezTo>
                          <a:pt x="41" y="58"/>
                          <a:pt x="68" y="30"/>
                          <a:pt x="68" y="30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4" name="Freeform 227">
                    <a:extLst>
                      <a:ext uri="{FF2B5EF4-FFF2-40B4-BE49-F238E27FC236}">
                        <a16:creationId xmlns:a16="http://schemas.microsoft.com/office/drawing/2014/main" id="{1B19630B-EBE9-D74E-E1FB-FEF9FA1C442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3363" y="2800350"/>
                    <a:ext cx="100013" cy="131763"/>
                  </a:xfrm>
                  <a:custGeom>
                    <a:avLst/>
                    <a:gdLst>
                      <a:gd name="T0" fmla="*/ 13 w 54"/>
                      <a:gd name="T1" fmla="*/ 71 h 71"/>
                      <a:gd name="T2" fmla="*/ 31 w 54"/>
                      <a:gd name="T3" fmla="*/ 70 h 71"/>
                      <a:gd name="T4" fmla="*/ 41 w 54"/>
                      <a:gd name="T5" fmla="*/ 61 h 71"/>
                      <a:gd name="T6" fmla="*/ 45 w 54"/>
                      <a:gd name="T7" fmla="*/ 46 h 71"/>
                      <a:gd name="T8" fmla="*/ 51 w 54"/>
                      <a:gd name="T9" fmla="*/ 41 h 71"/>
                      <a:gd name="T10" fmla="*/ 47 w 54"/>
                      <a:gd name="T11" fmla="*/ 32 h 71"/>
                      <a:gd name="T12" fmla="*/ 44 w 54"/>
                      <a:gd name="T13" fmla="*/ 3 h 71"/>
                      <a:gd name="T14" fmla="*/ 30 w 54"/>
                      <a:gd name="T15" fmla="*/ 0 h 71"/>
                      <a:gd name="T16" fmla="*/ 18 w 54"/>
                      <a:gd name="T17" fmla="*/ 7 h 71"/>
                      <a:gd name="T18" fmla="*/ 0 w 54"/>
                      <a:gd name="T19" fmla="*/ 40 h 71"/>
                      <a:gd name="T20" fmla="*/ 3 w 54"/>
                      <a:gd name="T21" fmla="*/ 42 h 71"/>
                      <a:gd name="T22" fmla="*/ 7 w 54"/>
                      <a:gd name="T23" fmla="*/ 43 h 71"/>
                      <a:gd name="T24" fmla="*/ 8 w 54"/>
                      <a:gd name="T25" fmla="*/ 70 h 71"/>
                      <a:gd name="T26" fmla="*/ 13 w 54"/>
                      <a:gd name="T27" fmla="*/ 71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54" h="71">
                        <a:moveTo>
                          <a:pt x="13" y="71"/>
                        </a:moveTo>
                        <a:cubicBezTo>
                          <a:pt x="17" y="71"/>
                          <a:pt x="25" y="71"/>
                          <a:pt x="31" y="70"/>
                        </a:cubicBezTo>
                        <a:cubicBezTo>
                          <a:pt x="40" y="69"/>
                          <a:pt x="41" y="61"/>
                          <a:pt x="41" y="61"/>
                        </a:cubicBezTo>
                        <a:cubicBezTo>
                          <a:pt x="45" y="46"/>
                          <a:pt x="45" y="46"/>
                          <a:pt x="45" y="46"/>
                        </a:cubicBezTo>
                        <a:cubicBezTo>
                          <a:pt x="45" y="46"/>
                          <a:pt x="48" y="44"/>
                          <a:pt x="51" y="41"/>
                        </a:cubicBezTo>
                        <a:cubicBezTo>
                          <a:pt x="52" y="40"/>
                          <a:pt x="54" y="34"/>
                          <a:pt x="47" y="32"/>
                        </a:cubicBezTo>
                        <a:cubicBezTo>
                          <a:pt x="37" y="28"/>
                          <a:pt x="44" y="3"/>
                          <a:pt x="44" y="3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18" y="7"/>
                          <a:pt x="18" y="7"/>
                          <a:pt x="18" y="7"/>
                        </a:cubicBezTo>
                        <a:cubicBezTo>
                          <a:pt x="0" y="40"/>
                          <a:pt x="0" y="40"/>
                          <a:pt x="0" y="40"/>
                        </a:cubicBezTo>
                        <a:cubicBezTo>
                          <a:pt x="0" y="40"/>
                          <a:pt x="1" y="42"/>
                          <a:pt x="3" y="42"/>
                        </a:cubicBezTo>
                        <a:cubicBezTo>
                          <a:pt x="6" y="42"/>
                          <a:pt x="7" y="43"/>
                          <a:pt x="7" y="43"/>
                        </a:cubicBezTo>
                        <a:cubicBezTo>
                          <a:pt x="7" y="43"/>
                          <a:pt x="8" y="69"/>
                          <a:pt x="8" y="70"/>
                        </a:cubicBezTo>
                        <a:cubicBezTo>
                          <a:pt x="9" y="71"/>
                          <a:pt x="10" y="71"/>
                          <a:pt x="13" y="71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" name="Freeform 228">
                    <a:extLst>
                      <a:ext uri="{FF2B5EF4-FFF2-40B4-BE49-F238E27FC236}">
                        <a16:creationId xmlns:a16="http://schemas.microsoft.com/office/drawing/2014/main" id="{A7C1AADC-F8E7-F3DE-664B-9233FD94F5A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5588" y="2849563"/>
                    <a:ext cx="20638" cy="7938"/>
                  </a:xfrm>
                  <a:custGeom>
                    <a:avLst/>
                    <a:gdLst>
                      <a:gd name="T0" fmla="*/ 1 w 11"/>
                      <a:gd name="T1" fmla="*/ 3 h 5"/>
                      <a:gd name="T2" fmla="*/ 3 w 11"/>
                      <a:gd name="T3" fmla="*/ 5 h 5"/>
                      <a:gd name="T4" fmla="*/ 10 w 11"/>
                      <a:gd name="T5" fmla="*/ 5 h 5"/>
                      <a:gd name="T6" fmla="*/ 2 w 11"/>
                      <a:gd name="T7" fmla="*/ 1 h 5"/>
                      <a:gd name="T8" fmla="*/ 1 w 11"/>
                      <a:gd name="T9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" h="5">
                        <a:moveTo>
                          <a:pt x="1" y="3"/>
                        </a:moveTo>
                        <a:cubicBezTo>
                          <a:pt x="1" y="5"/>
                          <a:pt x="1" y="5"/>
                          <a:pt x="3" y="5"/>
                        </a:cubicBezTo>
                        <a:cubicBezTo>
                          <a:pt x="5" y="5"/>
                          <a:pt x="8" y="5"/>
                          <a:pt x="10" y="5"/>
                        </a:cubicBezTo>
                        <a:cubicBezTo>
                          <a:pt x="11" y="5"/>
                          <a:pt x="7" y="3"/>
                          <a:pt x="2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" name="Freeform 229">
                    <a:extLst>
                      <a:ext uri="{FF2B5EF4-FFF2-40B4-BE49-F238E27FC236}">
                        <a16:creationId xmlns:a16="http://schemas.microsoft.com/office/drawing/2014/main" id="{EDA8D405-6AD1-C0AC-1373-2481DC3C8A4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2263" y="2951163"/>
                    <a:ext cx="44450" cy="104775"/>
                  </a:xfrm>
                  <a:custGeom>
                    <a:avLst/>
                    <a:gdLst>
                      <a:gd name="T0" fmla="*/ 24 w 24"/>
                      <a:gd name="T1" fmla="*/ 57 h 57"/>
                      <a:gd name="T2" fmla="*/ 22 w 24"/>
                      <a:gd name="T3" fmla="*/ 0 h 57"/>
                      <a:gd name="T4" fmla="*/ 0 w 24"/>
                      <a:gd name="T5" fmla="*/ 8 h 57"/>
                      <a:gd name="T6" fmla="*/ 24 w 24"/>
                      <a:gd name="T7" fmla="*/ 57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4" h="57">
                        <a:moveTo>
                          <a:pt x="24" y="57"/>
                        </a:moveTo>
                        <a:cubicBezTo>
                          <a:pt x="24" y="57"/>
                          <a:pt x="8" y="28"/>
                          <a:pt x="22" y="0"/>
                        </a:cubicBezTo>
                        <a:cubicBezTo>
                          <a:pt x="17" y="5"/>
                          <a:pt x="6" y="6"/>
                          <a:pt x="0" y="8"/>
                        </a:cubicBezTo>
                        <a:cubicBezTo>
                          <a:pt x="0" y="32"/>
                          <a:pt x="24" y="57"/>
                          <a:pt x="24" y="57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Freeform 230">
                    <a:extLst>
                      <a:ext uri="{FF2B5EF4-FFF2-40B4-BE49-F238E27FC236}">
                        <a16:creationId xmlns:a16="http://schemas.microsoft.com/office/drawing/2014/main" id="{FF0BA216-C9F3-E8D5-F368-EEF37971B34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72688" y="2957513"/>
                    <a:ext cx="188913" cy="74613"/>
                  </a:xfrm>
                  <a:custGeom>
                    <a:avLst/>
                    <a:gdLst>
                      <a:gd name="T0" fmla="*/ 94 w 119"/>
                      <a:gd name="T1" fmla="*/ 47 h 47"/>
                      <a:gd name="T2" fmla="*/ 0 w 119"/>
                      <a:gd name="T3" fmla="*/ 12 h 47"/>
                      <a:gd name="T4" fmla="*/ 2 w 119"/>
                      <a:gd name="T5" fmla="*/ 0 h 47"/>
                      <a:gd name="T6" fmla="*/ 119 w 119"/>
                      <a:gd name="T7" fmla="*/ 23 h 47"/>
                      <a:gd name="T8" fmla="*/ 94 w 119"/>
                      <a:gd name="T9" fmla="*/ 47 h 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9" h="47">
                        <a:moveTo>
                          <a:pt x="94" y="47"/>
                        </a:moveTo>
                        <a:lnTo>
                          <a:pt x="0" y="12"/>
                        </a:lnTo>
                        <a:lnTo>
                          <a:pt x="2" y="0"/>
                        </a:lnTo>
                        <a:lnTo>
                          <a:pt x="119" y="23"/>
                        </a:lnTo>
                        <a:lnTo>
                          <a:pt x="94" y="47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" name="Freeform 231">
                    <a:extLst>
                      <a:ext uri="{FF2B5EF4-FFF2-40B4-BE49-F238E27FC236}">
                        <a16:creationId xmlns:a16="http://schemas.microsoft.com/office/drawing/2014/main" id="{B6F38AC6-B775-3E9A-7E34-01EDA67DA6D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15563" y="2954338"/>
                    <a:ext cx="434975" cy="128588"/>
                  </a:xfrm>
                  <a:custGeom>
                    <a:avLst/>
                    <a:gdLst>
                      <a:gd name="T0" fmla="*/ 2 w 235"/>
                      <a:gd name="T1" fmla="*/ 16 h 69"/>
                      <a:gd name="T2" fmla="*/ 82 w 235"/>
                      <a:gd name="T3" fmla="*/ 33 h 69"/>
                      <a:gd name="T4" fmla="*/ 201 w 235"/>
                      <a:gd name="T5" fmla="*/ 0 h 69"/>
                      <a:gd name="T6" fmla="*/ 235 w 235"/>
                      <a:gd name="T7" fmla="*/ 35 h 69"/>
                      <a:gd name="T8" fmla="*/ 120 w 235"/>
                      <a:gd name="T9" fmla="*/ 65 h 69"/>
                      <a:gd name="T10" fmla="*/ 59 w 235"/>
                      <a:gd name="T11" fmla="*/ 61 h 69"/>
                      <a:gd name="T12" fmla="*/ 0 w 235"/>
                      <a:gd name="T13" fmla="*/ 42 h 69"/>
                      <a:gd name="T14" fmla="*/ 2 w 235"/>
                      <a:gd name="T15" fmla="*/ 16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35" h="69">
                        <a:moveTo>
                          <a:pt x="2" y="16"/>
                        </a:moveTo>
                        <a:cubicBezTo>
                          <a:pt x="82" y="33"/>
                          <a:pt x="82" y="33"/>
                          <a:pt x="82" y="33"/>
                        </a:cubicBezTo>
                        <a:cubicBezTo>
                          <a:pt x="201" y="0"/>
                          <a:pt x="201" y="0"/>
                          <a:pt x="201" y="0"/>
                        </a:cubicBezTo>
                        <a:cubicBezTo>
                          <a:pt x="235" y="35"/>
                          <a:pt x="235" y="35"/>
                          <a:pt x="235" y="35"/>
                        </a:cubicBezTo>
                        <a:cubicBezTo>
                          <a:pt x="235" y="35"/>
                          <a:pt x="132" y="62"/>
                          <a:pt x="120" y="65"/>
                        </a:cubicBezTo>
                        <a:cubicBezTo>
                          <a:pt x="108" y="67"/>
                          <a:pt x="84" y="69"/>
                          <a:pt x="59" y="61"/>
                        </a:cubicBezTo>
                        <a:cubicBezTo>
                          <a:pt x="42" y="56"/>
                          <a:pt x="24" y="50"/>
                          <a:pt x="0" y="42"/>
                        </a:cubicBezTo>
                        <a:lnTo>
                          <a:pt x="2" y="16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" name="Freeform 232">
                    <a:extLst>
                      <a:ext uri="{FF2B5EF4-FFF2-40B4-BE49-F238E27FC236}">
                        <a16:creationId xmlns:a16="http://schemas.microsoft.com/office/drawing/2014/main" id="{6A0F626A-5597-5508-FA5F-D94CBEFDA6D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3525" y="2782888"/>
                    <a:ext cx="134938" cy="225425"/>
                  </a:xfrm>
                  <a:custGeom>
                    <a:avLst/>
                    <a:gdLst>
                      <a:gd name="T0" fmla="*/ 52 w 73"/>
                      <a:gd name="T1" fmla="*/ 19 h 122"/>
                      <a:gd name="T2" fmla="*/ 0 w 73"/>
                      <a:gd name="T3" fmla="*/ 9 h 122"/>
                      <a:gd name="T4" fmla="*/ 2 w 73"/>
                      <a:gd name="T5" fmla="*/ 17 h 122"/>
                      <a:gd name="T6" fmla="*/ 19 w 73"/>
                      <a:gd name="T7" fmla="*/ 56 h 122"/>
                      <a:gd name="T8" fmla="*/ 6 w 73"/>
                      <a:gd name="T9" fmla="*/ 107 h 122"/>
                      <a:gd name="T10" fmla="*/ 70 w 73"/>
                      <a:gd name="T11" fmla="*/ 76 h 122"/>
                      <a:gd name="T12" fmla="*/ 52 w 73"/>
                      <a:gd name="T13" fmla="*/ 19 h 1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3" h="122">
                        <a:moveTo>
                          <a:pt x="52" y="19"/>
                        </a:moveTo>
                        <a:cubicBezTo>
                          <a:pt x="17" y="1"/>
                          <a:pt x="4" y="0"/>
                          <a:pt x="0" y="9"/>
                        </a:cubicBezTo>
                        <a:cubicBezTo>
                          <a:pt x="0" y="11"/>
                          <a:pt x="0" y="15"/>
                          <a:pt x="2" y="17"/>
                        </a:cubicBezTo>
                        <a:cubicBezTo>
                          <a:pt x="12" y="17"/>
                          <a:pt x="19" y="36"/>
                          <a:pt x="19" y="56"/>
                        </a:cubicBezTo>
                        <a:cubicBezTo>
                          <a:pt x="17" y="75"/>
                          <a:pt x="16" y="102"/>
                          <a:pt x="6" y="107"/>
                        </a:cubicBezTo>
                        <a:cubicBezTo>
                          <a:pt x="34" y="117"/>
                          <a:pt x="73" y="122"/>
                          <a:pt x="70" y="76"/>
                        </a:cubicBezTo>
                        <a:cubicBezTo>
                          <a:pt x="70" y="62"/>
                          <a:pt x="55" y="24"/>
                          <a:pt x="52" y="19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0" name="Freeform 233">
                    <a:extLst>
                      <a:ext uri="{FF2B5EF4-FFF2-40B4-BE49-F238E27FC236}">
                        <a16:creationId xmlns:a16="http://schemas.microsoft.com/office/drawing/2014/main" id="{DC4C2E26-6093-0A46-19A0-C2EFB127CE9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8613" y="3302000"/>
                    <a:ext cx="563563" cy="241300"/>
                  </a:xfrm>
                  <a:custGeom>
                    <a:avLst/>
                    <a:gdLst>
                      <a:gd name="T0" fmla="*/ 267 w 304"/>
                      <a:gd name="T1" fmla="*/ 0 h 130"/>
                      <a:gd name="T2" fmla="*/ 304 w 304"/>
                      <a:gd name="T3" fmla="*/ 118 h 130"/>
                      <a:gd name="T4" fmla="*/ 26 w 304"/>
                      <a:gd name="T5" fmla="*/ 54 h 130"/>
                      <a:gd name="T6" fmla="*/ 1 w 304"/>
                      <a:gd name="T7" fmla="*/ 1 h 130"/>
                      <a:gd name="T8" fmla="*/ 267 w 304"/>
                      <a:gd name="T9" fmla="*/ 0 h 1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4" h="130">
                        <a:moveTo>
                          <a:pt x="267" y="0"/>
                        </a:moveTo>
                        <a:cubicBezTo>
                          <a:pt x="295" y="26"/>
                          <a:pt x="269" y="75"/>
                          <a:pt x="304" y="118"/>
                        </a:cubicBezTo>
                        <a:cubicBezTo>
                          <a:pt x="264" y="130"/>
                          <a:pt x="87" y="102"/>
                          <a:pt x="26" y="54"/>
                        </a:cubicBezTo>
                        <a:cubicBezTo>
                          <a:pt x="0" y="33"/>
                          <a:pt x="1" y="1"/>
                          <a:pt x="1" y="1"/>
                        </a:cubicBezTo>
                        <a:cubicBezTo>
                          <a:pt x="1" y="1"/>
                          <a:pt x="229" y="1"/>
                          <a:pt x="267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" name="Freeform 234">
                    <a:extLst>
                      <a:ext uri="{FF2B5EF4-FFF2-40B4-BE49-F238E27FC236}">
                        <a16:creationId xmlns:a16="http://schemas.microsoft.com/office/drawing/2014/main" id="{A2274CF2-001A-675A-3D37-82C93CE16CB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01250" y="2922588"/>
                    <a:ext cx="79375" cy="60325"/>
                  </a:xfrm>
                  <a:custGeom>
                    <a:avLst/>
                    <a:gdLst>
                      <a:gd name="T0" fmla="*/ 43 w 43"/>
                      <a:gd name="T1" fmla="*/ 20 h 32"/>
                      <a:gd name="T2" fmla="*/ 34 w 43"/>
                      <a:gd name="T3" fmla="*/ 16 h 32"/>
                      <a:gd name="T4" fmla="*/ 26 w 43"/>
                      <a:gd name="T5" fmla="*/ 10 h 32"/>
                      <a:gd name="T6" fmla="*/ 23 w 43"/>
                      <a:gd name="T7" fmla="*/ 7 h 32"/>
                      <a:gd name="T8" fmla="*/ 6 w 43"/>
                      <a:gd name="T9" fmla="*/ 0 h 32"/>
                      <a:gd name="T10" fmla="*/ 7 w 43"/>
                      <a:gd name="T11" fmla="*/ 4 h 32"/>
                      <a:gd name="T12" fmla="*/ 15 w 43"/>
                      <a:gd name="T13" fmla="*/ 9 h 32"/>
                      <a:gd name="T14" fmla="*/ 0 w 43"/>
                      <a:gd name="T15" fmla="*/ 13 h 32"/>
                      <a:gd name="T16" fmla="*/ 2 w 43"/>
                      <a:gd name="T17" fmla="*/ 16 h 32"/>
                      <a:gd name="T18" fmla="*/ 12 w 43"/>
                      <a:gd name="T19" fmla="*/ 15 h 32"/>
                      <a:gd name="T20" fmla="*/ 27 w 43"/>
                      <a:gd name="T21" fmla="*/ 27 h 32"/>
                      <a:gd name="T22" fmla="*/ 24 w 43"/>
                      <a:gd name="T23" fmla="*/ 28 h 32"/>
                      <a:gd name="T24" fmla="*/ 27 w 43"/>
                      <a:gd name="T25" fmla="*/ 32 h 32"/>
                      <a:gd name="T26" fmla="*/ 42 w 43"/>
                      <a:gd name="T27" fmla="*/ 30 h 32"/>
                      <a:gd name="T28" fmla="*/ 43 w 43"/>
                      <a:gd name="T29" fmla="*/ 20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3" h="32">
                        <a:moveTo>
                          <a:pt x="43" y="20"/>
                        </a:moveTo>
                        <a:cubicBezTo>
                          <a:pt x="43" y="20"/>
                          <a:pt x="38" y="18"/>
                          <a:pt x="34" y="16"/>
                        </a:cubicBezTo>
                        <a:cubicBezTo>
                          <a:pt x="30" y="13"/>
                          <a:pt x="26" y="10"/>
                          <a:pt x="26" y="10"/>
                        </a:cubicBezTo>
                        <a:cubicBezTo>
                          <a:pt x="26" y="10"/>
                          <a:pt x="24" y="8"/>
                          <a:pt x="23" y="7"/>
                        </a:cubicBezTo>
                        <a:cubicBezTo>
                          <a:pt x="22" y="7"/>
                          <a:pt x="13" y="3"/>
                          <a:pt x="6" y="0"/>
                        </a:cubicBezTo>
                        <a:cubicBezTo>
                          <a:pt x="5" y="0"/>
                          <a:pt x="6" y="3"/>
                          <a:pt x="7" y="4"/>
                        </a:cubicBezTo>
                        <a:cubicBezTo>
                          <a:pt x="8" y="5"/>
                          <a:pt x="15" y="9"/>
                          <a:pt x="15" y="9"/>
                        </a:cubicBezTo>
                        <a:cubicBezTo>
                          <a:pt x="15" y="9"/>
                          <a:pt x="3" y="12"/>
                          <a:pt x="0" y="13"/>
                        </a:cubicBezTo>
                        <a:cubicBezTo>
                          <a:pt x="0" y="13"/>
                          <a:pt x="1" y="15"/>
                          <a:pt x="2" y="16"/>
                        </a:cubicBezTo>
                        <a:cubicBezTo>
                          <a:pt x="4" y="16"/>
                          <a:pt x="12" y="15"/>
                          <a:pt x="12" y="15"/>
                        </a:cubicBezTo>
                        <a:cubicBezTo>
                          <a:pt x="27" y="27"/>
                          <a:pt x="27" y="27"/>
                          <a:pt x="27" y="27"/>
                        </a:cubicBezTo>
                        <a:cubicBezTo>
                          <a:pt x="24" y="28"/>
                          <a:pt x="24" y="28"/>
                          <a:pt x="24" y="28"/>
                        </a:cubicBezTo>
                        <a:cubicBezTo>
                          <a:pt x="27" y="32"/>
                          <a:pt x="27" y="32"/>
                          <a:pt x="27" y="32"/>
                        </a:cubicBezTo>
                        <a:cubicBezTo>
                          <a:pt x="27" y="32"/>
                          <a:pt x="33" y="32"/>
                          <a:pt x="42" y="30"/>
                        </a:cubicBezTo>
                        <a:lnTo>
                          <a:pt x="43" y="2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54" name="Freeform 180">
                  <a:extLst>
                    <a:ext uri="{FF2B5EF4-FFF2-40B4-BE49-F238E27FC236}">
                      <a16:creationId xmlns:a16="http://schemas.microsoft.com/office/drawing/2014/main" id="{9AB6872D-3D9E-70E8-5B6A-A9008C24DE4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532353" y="4827346"/>
                  <a:ext cx="357122" cy="260510"/>
                </a:xfrm>
                <a:custGeom>
                  <a:avLst/>
                  <a:gdLst>
                    <a:gd name="T0" fmla="*/ 308 w 354"/>
                    <a:gd name="T1" fmla="*/ 0 h 259"/>
                    <a:gd name="T2" fmla="*/ 300 w 354"/>
                    <a:gd name="T3" fmla="*/ 0 h 259"/>
                    <a:gd name="T4" fmla="*/ 300 w 354"/>
                    <a:gd name="T5" fmla="*/ 14 h 259"/>
                    <a:gd name="T6" fmla="*/ 283 w 354"/>
                    <a:gd name="T7" fmla="*/ 0 h 259"/>
                    <a:gd name="T8" fmla="*/ 283 w 354"/>
                    <a:gd name="T9" fmla="*/ 0 h 259"/>
                    <a:gd name="T10" fmla="*/ 261 w 354"/>
                    <a:gd name="T11" fmla="*/ 0 h 259"/>
                    <a:gd name="T12" fmla="*/ 262 w 354"/>
                    <a:gd name="T13" fmla="*/ 6 h 259"/>
                    <a:gd name="T14" fmla="*/ 277 w 354"/>
                    <a:gd name="T15" fmla="*/ 12 h 259"/>
                    <a:gd name="T16" fmla="*/ 295 w 354"/>
                    <a:gd name="T17" fmla="*/ 36 h 259"/>
                    <a:gd name="T18" fmla="*/ 292 w 354"/>
                    <a:gd name="T19" fmla="*/ 237 h 259"/>
                    <a:gd name="T20" fmla="*/ 182 w 354"/>
                    <a:gd name="T21" fmla="*/ 111 h 259"/>
                    <a:gd name="T22" fmla="*/ 133 w 354"/>
                    <a:gd name="T23" fmla="*/ 84 h 259"/>
                    <a:gd name="T24" fmla="*/ 84 w 354"/>
                    <a:gd name="T25" fmla="*/ 117 h 259"/>
                    <a:gd name="T26" fmla="*/ 0 w 354"/>
                    <a:gd name="T27" fmla="*/ 259 h 259"/>
                    <a:gd name="T28" fmla="*/ 140 w 354"/>
                    <a:gd name="T29" fmla="*/ 259 h 259"/>
                    <a:gd name="T30" fmla="*/ 147 w 354"/>
                    <a:gd name="T31" fmla="*/ 188 h 259"/>
                    <a:gd name="T32" fmla="*/ 230 w 354"/>
                    <a:gd name="T33" fmla="*/ 259 h 259"/>
                    <a:gd name="T34" fmla="*/ 354 w 354"/>
                    <a:gd name="T35" fmla="*/ 259 h 259"/>
                    <a:gd name="T36" fmla="*/ 312 w 354"/>
                    <a:gd name="T37" fmla="*/ 35 h 259"/>
                    <a:gd name="T38" fmla="*/ 312 w 354"/>
                    <a:gd name="T39" fmla="*/ 24 h 259"/>
                    <a:gd name="T40" fmla="*/ 308 w 354"/>
                    <a:gd name="T41" fmla="*/ 0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4" h="259">
                      <a:moveTo>
                        <a:pt x="308" y="0"/>
                      </a:moveTo>
                      <a:cubicBezTo>
                        <a:pt x="300" y="0"/>
                        <a:pt x="300" y="0"/>
                        <a:pt x="300" y="0"/>
                      </a:cubicBezTo>
                      <a:cubicBezTo>
                        <a:pt x="300" y="14"/>
                        <a:pt x="300" y="14"/>
                        <a:pt x="300" y="14"/>
                      </a:cubicBezTo>
                      <a:cubicBezTo>
                        <a:pt x="300" y="14"/>
                        <a:pt x="288" y="0"/>
                        <a:pt x="283" y="0"/>
                      </a:cubicBezTo>
                      <a:cubicBezTo>
                        <a:pt x="283" y="0"/>
                        <a:pt x="283" y="0"/>
                        <a:pt x="283" y="0"/>
                      </a:cubicBezTo>
                      <a:cubicBezTo>
                        <a:pt x="279" y="0"/>
                        <a:pt x="261" y="0"/>
                        <a:pt x="261" y="0"/>
                      </a:cubicBezTo>
                      <a:cubicBezTo>
                        <a:pt x="261" y="0"/>
                        <a:pt x="258" y="5"/>
                        <a:pt x="262" y="6"/>
                      </a:cubicBezTo>
                      <a:cubicBezTo>
                        <a:pt x="263" y="6"/>
                        <a:pt x="273" y="10"/>
                        <a:pt x="277" y="12"/>
                      </a:cubicBezTo>
                      <a:cubicBezTo>
                        <a:pt x="295" y="36"/>
                        <a:pt x="295" y="36"/>
                        <a:pt x="295" y="36"/>
                      </a:cubicBezTo>
                      <a:cubicBezTo>
                        <a:pt x="292" y="237"/>
                        <a:pt x="292" y="237"/>
                        <a:pt x="292" y="237"/>
                      </a:cubicBezTo>
                      <a:cubicBezTo>
                        <a:pt x="241" y="180"/>
                        <a:pt x="189" y="121"/>
                        <a:pt x="182" y="111"/>
                      </a:cubicBezTo>
                      <a:cubicBezTo>
                        <a:pt x="174" y="99"/>
                        <a:pt x="155" y="84"/>
                        <a:pt x="133" y="84"/>
                      </a:cubicBezTo>
                      <a:cubicBezTo>
                        <a:pt x="117" y="84"/>
                        <a:pt x="99" y="93"/>
                        <a:pt x="84" y="117"/>
                      </a:cubicBezTo>
                      <a:cubicBezTo>
                        <a:pt x="61" y="155"/>
                        <a:pt x="26" y="213"/>
                        <a:pt x="0" y="259"/>
                      </a:cubicBezTo>
                      <a:cubicBezTo>
                        <a:pt x="140" y="259"/>
                        <a:pt x="140" y="259"/>
                        <a:pt x="140" y="259"/>
                      </a:cubicBezTo>
                      <a:cubicBezTo>
                        <a:pt x="144" y="231"/>
                        <a:pt x="146" y="205"/>
                        <a:pt x="147" y="188"/>
                      </a:cubicBezTo>
                      <a:cubicBezTo>
                        <a:pt x="230" y="259"/>
                        <a:pt x="230" y="259"/>
                        <a:pt x="230" y="259"/>
                      </a:cubicBezTo>
                      <a:cubicBezTo>
                        <a:pt x="354" y="259"/>
                        <a:pt x="354" y="259"/>
                        <a:pt x="354" y="259"/>
                      </a:cubicBezTo>
                      <a:cubicBezTo>
                        <a:pt x="345" y="166"/>
                        <a:pt x="312" y="35"/>
                        <a:pt x="312" y="35"/>
                      </a:cubicBezTo>
                      <a:cubicBezTo>
                        <a:pt x="312" y="35"/>
                        <a:pt x="313" y="29"/>
                        <a:pt x="312" y="24"/>
                      </a:cubicBezTo>
                      <a:cubicBezTo>
                        <a:pt x="310" y="13"/>
                        <a:pt x="308" y="0"/>
                        <a:pt x="308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11" name="Group 5">
                <a:extLst>
                  <a:ext uri="{FF2B5EF4-FFF2-40B4-BE49-F238E27FC236}">
                    <a16:creationId xmlns:a16="http://schemas.microsoft.com/office/drawing/2014/main" id="{E7818E12-5D9C-0586-5A4D-EA21F35EDF62}"/>
                  </a:ext>
                </a:extLst>
              </p:cNvPr>
              <p:cNvGrpSpPr/>
              <p:nvPr/>
            </p:nvGrpSpPr>
            <p:grpSpPr>
              <a:xfrm>
                <a:off x="3081113" y="3935198"/>
                <a:ext cx="1695948" cy="1162398"/>
                <a:chOff x="3081113" y="3935198"/>
                <a:chExt cx="1695948" cy="1162398"/>
              </a:xfrm>
            </p:grpSpPr>
            <p:grpSp>
              <p:nvGrpSpPr>
                <p:cNvPr id="12" name="Group 1051">
                  <a:extLst>
                    <a:ext uri="{FF2B5EF4-FFF2-40B4-BE49-F238E27FC236}">
                      <a16:creationId xmlns:a16="http://schemas.microsoft.com/office/drawing/2014/main" id="{3DDFC7ED-4100-F91A-5188-8409BDCC6EBA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096850" y="3935198"/>
                  <a:ext cx="947456" cy="851698"/>
                  <a:chOff x="6978651" y="4723607"/>
                  <a:chExt cx="1931987" cy="1736725"/>
                </a:xfrm>
              </p:grpSpPr>
              <p:sp>
                <p:nvSpPr>
                  <p:cNvPr id="38" name="Freeform 280">
                    <a:extLst>
                      <a:ext uri="{FF2B5EF4-FFF2-40B4-BE49-F238E27FC236}">
                        <a16:creationId xmlns:a16="http://schemas.microsoft.com/office/drawing/2014/main" id="{52AAFF7C-DDE8-322E-4A57-47A8CFDD589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075488" y="5322095"/>
                    <a:ext cx="139700" cy="82550"/>
                  </a:xfrm>
                  <a:custGeom>
                    <a:avLst/>
                    <a:gdLst>
                      <a:gd name="T0" fmla="*/ 71 w 71"/>
                      <a:gd name="T1" fmla="*/ 40 h 42"/>
                      <a:gd name="T2" fmla="*/ 60 w 71"/>
                      <a:gd name="T3" fmla="*/ 42 h 42"/>
                      <a:gd name="T4" fmla="*/ 47 w 71"/>
                      <a:gd name="T5" fmla="*/ 39 h 42"/>
                      <a:gd name="T6" fmla="*/ 42 w 71"/>
                      <a:gd name="T7" fmla="*/ 33 h 42"/>
                      <a:gd name="T8" fmla="*/ 45 w 71"/>
                      <a:gd name="T9" fmla="*/ 31 h 42"/>
                      <a:gd name="T10" fmla="*/ 19 w 71"/>
                      <a:gd name="T11" fmla="*/ 13 h 42"/>
                      <a:gd name="T12" fmla="*/ 4 w 71"/>
                      <a:gd name="T13" fmla="*/ 14 h 42"/>
                      <a:gd name="T14" fmla="*/ 1 w 71"/>
                      <a:gd name="T15" fmla="*/ 11 h 42"/>
                      <a:gd name="T16" fmla="*/ 21 w 71"/>
                      <a:gd name="T17" fmla="*/ 5 h 42"/>
                      <a:gd name="T18" fmla="*/ 35 w 71"/>
                      <a:gd name="T19" fmla="*/ 2 h 42"/>
                      <a:gd name="T20" fmla="*/ 40 w 71"/>
                      <a:gd name="T21" fmla="*/ 6 h 42"/>
                      <a:gd name="T22" fmla="*/ 68 w 71"/>
                      <a:gd name="T23" fmla="*/ 21 h 42"/>
                      <a:gd name="T24" fmla="*/ 71 w 71"/>
                      <a:gd name="T25" fmla="*/ 40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71" h="42">
                        <a:moveTo>
                          <a:pt x="71" y="40"/>
                        </a:moveTo>
                        <a:cubicBezTo>
                          <a:pt x="71" y="40"/>
                          <a:pt x="63" y="42"/>
                          <a:pt x="60" y="42"/>
                        </a:cubicBezTo>
                        <a:cubicBezTo>
                          <a:pt x="49" y="42"/>
                          <a:pt x="47" y="39"/>
                          <a:pt x="47" y="39"/>
                        </a:cubicBezTo>
                        <a:cubicBezTo>
                          <a:pt x="42" y="33"/>
                          <a:pt x="42" y="33"/>
                          <a:pt x="42" y="33"/>
                        </a:cubicBezTo>
                        <a:cubicBezTo>
                          <a:pt x="45" y="31"/>
                          <a:pt x="45" y="31"/>
                          <a:pt x="45" y="31"/>
                        </a:cubicBezTo>
                        <a:cubicBezTo>
                          <a:pt x="19" y="13"/>
                          <a:pt x="19" y="13"/>
                          <a:pt x="19" y="13"/>
                        </a:cubicBezTo>
                        <a:cubicBezTo>
                          <a:pt x="19" y="13"/>
                          <a:pt x="6" y="15"/>
                          <a:pt x="4" y="14"/>
                        </a:cubicBezTo>
                        <a:cubicBezTo>
                          <a:pt x="2" y="14"/>
                          <a:pt x="0" y="11"/>
                          <a:pt x="1" y="11"/>
                        </a:cubicBezTo>
                        <a:cubicBezTo>
                          <a:pt x="5" y="9"/>
                          <a:pt x="21" y="5"/>
                          <a:pt x="21" y="5"/>
                        </a:cubicBezTo>
                        <a:cubicBezTo>
                          <a:pt x="21" y="5"/>
                          <a:pt x="32" y="0"/>
                          <a:pt x="35" y="2"/>
                        </a:cubicBezTo>
                        <a:cubicBezTo>
                          <a:pt x="38" y="3"/>
                          <a:pt x="40" y="6"/>
                          <a:pt x="40" y="6"/>
                        </a:cubicBezTo>
                        <a:cubicBezTo>
                          <a:pt x="68" y="21"/>
                          <a:pt x="68" y="21"/>
                          <a:pt x="68" y="21"/>
                        </a:cubicBezTo>
                        <a:lnTo>
                          <a:pt x="71" y="4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" name="Freeform 281">
                    <a:extLst>
                      <a:ext uri="{FF2B5EF4-FFF2-40B4-BE49-F238E27FC236}">
                        <a16:creationId xmlns:a16="http://schemas.microsoft.com/office/drawing/2014/main" id="{E5810284-8449-9170-E255-D8DD7176DF9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978651" y="4955382"/>
                    <a:ext cx="785813" cy="319088"/>
                  </a:xfrm>
                  <a:custGeom>
                    <a:avLst/>
                    <a:gdLst>
                      <a:gd name="T0" fmla="*/ 400 w 400"/>
                      <a:gd name="T1" fmla="*/ 96 h 163"/>
                      <a:gd name="T2" fmla="*/ 199 w 400"/>
                      <a:gd name="T3" fmla="*/ 146 h 163"/>
                      <a:gd name="T4" fmla="*/ 21 w 400"/>
                      <a:gd name="T5" fmla="*/ 163 h 163"/>
                      <a:gd name="T6" fmla="*/ 0 w 400"/>
                      <a:gd name="T7" fmla="*/ 142 h 163"/>
                      <a:gd name="T8" fmla="*/ 188 w 400"/>
                      <a:gd name="T9" fmla="*/ 100 h 163"/>
                      <a:gd name="T10" fmla="*/ 342 w 400"/>
                      <a:gd name="T11" fmla="*/ 0 h 163"/>
                      <a:gd name="T12" fmla="*/ 400 w 400"/>
                      <a:gd name="T13" fmla="*/ 96 h 1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00" h="163">
                        <a:moveTo>
                          <a:pt x="400" y="96"/>
                        </a:moveTo>
                        <a:cubicBezTo>
                          <a:pt x="400" y="96"/>
                          <a:pt x="268" y="137"/>
                          <a:pt x="199" y="146"/>
                        </a:cubicBezTo>
                        <a:cubicBezTo>
                          <a:pt x="130" y="154"/>
                          <a:pt x="21" y="163"/>
                          <a:pt x="21" y="163"/>
                        </a:cubicBezTo>
                        <a:cubicBezTo>
                          <a:pt x="21" y="163"/>
                          <a:pt x="0" y="151"/>
                          <a:pt x="0" y="142"/>
                        </a:cubicBezTo>
                        <a:cubicBezTo>
                          <a:pt x="59" y="127"/>
                          <a:pt x="141" y="104"/>
                          <a:pt x="188" y="100"/>
                        </a:cubicBezTo>
                        <a:cubicBezTo>
                          <a:pt x="246" y="73"/>
                          <a:pt x="342" y="0"/>
                          <a:pt x="342" y="0"/>
                        </a:cubicBezTo>
                        <a:lnTo>
                          <a:pt x="400" y="96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" name="Freeform 282">
                    <a:extLst>
                      <a:ext uri="{FF2B5EF4-FFF2-40B4-BE49-F238E27FC236}">
                        <a16:creationId xmlns:a16="http://schemas.microsoft.com/office/drawing/2014/main" id="{AC8770CA-4245-0B55-AF19-AC5643DA06F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135938" y="5620545"/>
                    <a:ext cx="774700" cy="719138"/>
                  </a:xfrm>
                  <a:custGeom>
                    <a:avLst/>
                    <a:gdLst>
                      <a:gd name="T0" fmla="*/ 17 w 394"/>
                      <a:gd name="T1" fmla="*/ 40 h 367"/>
                      <a:gd name="T2" fmla="*/ 146 w 394"/>
                      <a:gd name="T3" fmla="*/ 44 h 367"/>
                      <a:gd name="T4" fmla="*/ 173 w 394"/>
                      <a:gd name="T5" fmla="*/ 241 h 367"/>
                      <a:gd name="T6" fmla="*/ 349 w 394"/>
                      <a:gd name="T7" fmla="*/ 73 h 367"/>
                      <a:gd name="T8" fmla="*/ 391 w 394"/>
                      <a:gd name="T9" fmla="*/ 85 h 367"/>
                      <a:gd name="T10" fmla="*/ 206 w 394"/>
                      <a:gd name="T11" fmla="*/ 317 h 367"/>
                      <a:gd name="T12" fmla="*/ 106 w 394"/>
                      <a:gd name="T13" fmla="*/ 306 h 367"/>
                      <a:gd name="T14" fmla="*/ 0 w 394"/>
                      <a:gd name="T15" fmla="*/ 104 h 367"/>
                      <a:gd name="T16" fmla="*/ 17 w 394"/>
                      <a:gd name="T17" fmla="*/ 40 h 3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394" h="367">
                        <a:moveTo>
                          <a:pt x="17" y="40"/>
                        </a:moveTo>
                        <a:cubicBezTo>
                          <a:pt x="17" y="40"/>
                          <a:pt x="130" y="0"/>
                          <a:pt x="146" y="44"/>
                        </a:cubicBezTo>
                        <a:cubicBezTo>
                          <a:pt x="163" y="91"/>
                          <a:pt x="172" y="182"/>
                          <a:pt x="173" y="241"/>
                        </a:cubicBezTo>
                        <a:cubicBezTo>
                          <a:pt x="349" y="73"/>
                          <a:pt x="349" y="73"/>
                          <a:pt x="349" y="73"/>
                        </a:cubicBezTo>
                        <a:cubicBezTo>
                          <a:pt x="349" y="73"/>
                          <a:pt x="394" y="80"/>
                          <a:pt x="391" y="85"/>
                        </a:cubicBezTo>
                        <a:cubicBezTo>
                          <a:pt x="342" y="150"/>
                          <a:pt x="218" y="300"/>
                          <a:pt x="206" y="317"/>
                        </a:cubicBezTo>
                        <a:cubicBezTo>
                          <a:pt x="191" y="337"/>
                          <a:pt x="140" y="367"/>
                          <a:pt x="106" y="306"/>
                        </a:cubicBezTo>
                        <a:cubicBezTo>
                          <a:pt x="72" y="246"/>
                          <a:pt x="20" y="143"/>
                          <a:pt x="0" y="104"/>
                        </a:cubicBezTo>
                        <a:cubicBezTo>
                          <a:pt x="151" y="97"/>
                          <a:pt x="17" y="40"/>
                          <a:pt x="17" y="4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" name="Freeform 283">
                    <a:extLst>
                      <a:ext uri="{FF2B5EF4-FFF2-40B4-BE49-F238E27FC236}">
                        <a16:creationId xmlns:a16="http://schemas.microsoft.com/office/drawing/2014/main" id="{F08FCD69-AD29-8D44-64A5-C211AED2BBE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6813" y="4979195"/>
                    <a:ext cx="476250" cy="577850"/>
                  </a:xfrm>
                  <a:custGeom>
                    <a:avLst/>
                    <a:gdLst>
                      <a:gd name="T0" fmla="*/ 242 w 242"/>
                      <a:gd name="T1" fmla="*/ 295 h 295"/>
                      <a:gd name="T2" fmla="*/ 171 w 242"/>
                      <a:gd name="T3" fmla="*/ 242 h 295"/>
                      <a:gd name="T4" fmla="*/ 64 w 242"/>
                      <a:gd name="T5" fmla="*/ 159 h 295"/>
                      <a:gd name="T6" fmla="*/ 35 w 242"/>
                      <a:gd name="T7" fmla="*/ 0 h 295"/>
                      <a:gd name="T8" fmla="*/ 242 w 242"/>
                      <a:gd name="T9" fmla="*/ 295 h 2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2" h="295">
                        <a:moveTo>
                          <a:pt x="242" y="295"/>
                        </a:moveTo>
                        <a:cubicBezTo>
                          <a:pt x="242" y="295"/>
                          <a:pt x="196" y="254"/>
                          <a:pt x="171" y="242"/>
                        </a:cubicBezTo>
                        <a:cubicBezTo>
                          <a:pt x="130" y="221"/>
                          <a:pt x="93" y="197"/>
                          <a:pt x="64" y="159"/>
                        </a:cubicBezTo>
                        <a:cubicBezTo>
                          <a:pt x="0" y="74"/>
                          <a:pt x="35" y="0"/>
                          <a:pt x="35" y="0"/>
                        </a:cubicBezTo>
                        <a:cubicBezTo>
                          <a:pt x="242" y="295"/>
                          <a:pt x="242" y="295"/>
                          <a:pt x="242" y="295"/>
                        </a:cubicBezTo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2" name="Freeform 284">
                    <a:extLst>
                      <a:ext uri="{FF2B5EF4-FFF2-40B4-BE49-F238E27FC236}">
                        <a16:creationId xmlns:a16="http://schemas.microsoft.com/office/drawing/2014/main" id="{7F20FA35-7361-34CB-87BA-6B29711F6D6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66026" y="4920457"/>
                    <a:ext cx="841375" cy="669925"/>
                  </a:xfrm>
                  <a:custGeom>
                    <a:avLst/>
                    <a:gdLst>
                      <a:gd name="T0" fmla="*/ 231 w 428"/>
                      <a:gd name="T1" fmla="*/ 342 h 342"/>
                      <a:gd name="T2" fmla="*/ 52 w 428"/>
                      <a:gd name="T3" fmla="*/ 161 h 342"/>
                      <a:gd name="T4" fmla="*/ 7 w 428"/>
                      <a:gd name="T5" fmla="*/ 36 h 342"/>
                      <a:gd name="T6" fmla="*/ 46 w 428"/>
                      <a:gd name="T7" fmla="*/ 0 h 342"/>
                      <a:gd name="T8" fmla="*/ 238 w 428"/>
                      <a:gd name="T9" fmla="*/ 76 h 342"/>
                      <a:gd name="T10" fmla="*/ 428 w 428"/>
                      <a:gd name="T11" fmla="*/ 295 h 342"/>
                      <a:gd name="T12" fmla="*/ 231 w 428"/>
                      <a:gd name="T13" fmla="*/ 342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28" h="342">
                        <a:moveTo>
                          <a:pt x="231" y="342"/>
                        </a:moveTo>
                        <a:cubicBezTo>
                          <a:pt x="231" y="342"/>
                          <a:pt x="137" y="240"/>
                          <a:pt x="52" y="161"/>
                        </a:cubicBezTo>
                        <a:cubicBezTo>
                          <a:pt x="0" y="114"/>
                          <a:pt x="7" y="36"/>
                          <a:pt x="7" y="36"/>
                        </a:cubicBezTo>
                        <a:cubicBezTo>
                          <a:pt x="7" y="36"/>
                          <a:pt x="26" y="6"/>
                          <a:pt x="46" y="0"/>
                        </a:cubicBezTo>
                        <a:cubicBezTo>
                          <a:pt x="83" y="5"/>
                          <a:pt x="171" y="13"/>
                          <a:pt x="238" y="76"/>
                        </a:cubicBezTo>
                        <a:cubicBezTo>
                          <a:pt x="333" y="166"/>
                          <a:pt x="428" y="295"/>
                          <a:pt x="428" y="295"/>
                        </a:cubicBezTo>
                        <a:cubicBezTo>
                          <a:pt x="231" y="342"/>
                          <a:pt x="231" y="342"/>
                          <a:pt x="231" y="342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3" name="Freeform 285">
                    <a:extLst>
                      <a:ext uri="{FF2B5EF4-FFF2-40B4-BE49-F238E27FC236}">
                        <a16:creationId xmlns:a16="http://schemas.microsoft.com/office/drawing/2014/main" id="{903A9C98-14BB-FF2B-317A-B77123653A3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704138" y="5168107"/>
                    <a:ext cx="355600" cy="409575"/>
                  </a:xfrm>
                  <a:custGeom>
                    <a:avLst/>
                    <a:gdLst>
                      <a:gd name="T0" fmla="*/ 0 w 181"/>
                      <a:gd name="T1" fmla="*/ 0 h 208"/>
                      <a:gd name="T2" fmla="*/ 88 w 181"/>
                      <a:gd name="T3" fmla="*/ 99 h 208"/>
                      <a:gd name="T4" fmla="*/ 164 w 181"/>
                      <a:gd name="T5" fmla="*/ 205 h 208"/>
                      <a:gd name="T6" fmla="*/ 181 w 181"/>
                      <a:gd name="T7" fmla="*/ 208 h 208"/>
                      <a:gd name="T8" fmla="*/ 88 w 181"/>
                      <a:gd name="T9" fmla="*/ 91 h 208"/>
                      <a:gd name="T10" fmla="*/ 0 w 181"/>
                      <a:gd name="T11" fmla="*/ 0 h 2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81" h="208">
                        <a:moveTo>
                          <a:pt x="0" y="0"/>
                        </a:moveTo>
                        <a:cubicBezTo>
                          <a:pt x="0" y="0"/>
                          <a:pt x="35" y="72"/>
                          <a:pt x="88" y="99"/>
                        </a:cubicBezTo>
                        <a:cubicBezTo>
                          <a:pt x="137" y="123"/>
                          <a:pt x="164" y="205"/>
                          <a:pt x="164" y="205"/>
                        </a:cubicBezTo>
                        <a:cubicBezTo>
                          <a:pt x="181" y="208"/>
                          <a:pt x="181" y="208"/>
                          <a:pt x="181" y="208"/>
                        </a:cubicBezTo>
                        <a:cubicBezTo>
                          <a:pt x="181" y="208"/>
                          <a:pt x="140" y="131"/>
                          <a:pt x="88" y="91"/>
                        </a:cubicBezTo>
                        <a:cubicBezTo>
                          <a:pt x="36" y="5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A0C9DC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4" name="Freeform 286">
                    <a:extLst>
                      <a:ext uri="{FF2B5EF4-FFF2-40B4-BE49-F238E27FC236}">
                        <a16:creationId xmlns:a16="http://schemas.microsoft.com/office/drawing/2014/main" id="{0E8AA32D-4459-D2EC-7F10-513999629F6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602538" y="4922045"/>
                    <a:ext cx="82550" cy="117475"/>
                  </a:xfrm>
                  <a:custGeom>
                    <a:avLst/>
                    <a:gdLst>
                      <a:gd name="T0" fmla="*/ 36 w 42"/>
                      <a:gd name="T1" fmla="*/ 0 h 60"/>
                      <a:gd name="T2" fmla="*/ 42 w 42"/>
                      <a:gd name="T3" fmla="*/ 4 h 60"/>
                      <a:gd name="T4" fmla="*/ 36 w 42"/>
                      <a:gd name="T5" fmla="*/ 52 h 60"/>
                      <a:gd name="T6" fmla="*/ 0 w 42"/>
                      <a:gd name="T7" fmla="*/ 47 h 60"/>
                      <a:gd name="T8" fmla="*/ 36 w 42"/>
                      <a:gd name="T9" fmla="*/ 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2" h="60">
                        <a:moveTo>
                          <a:pt x="36" y="0"/>
                        </a:moveTo>
                        <a:cubicBezTo>
                          <a:pt x="42" y="4"/>
                          <a:pt x="42" y="4"/>
                          <a:pt x="42" y="4"/>
                        </a:cubicBezTo>
                        <a:cubicBezTo>
                          <a:pt x="36" y="52"/>
                          <a:pt x="36" y="52"/>
                          <a:pt x="36" y="52"/>
                        </a:cubicBezTo>
                        <a:cubicBezTo>
                          <a:pt x="36" y="52"/>
                          <a:pt x="23" y="60"/>
                          <a:pt x="0" y="47"/>
                        </a:cubicBezTo>
                        <a:cubicBezTo>
                          <a:pt x="21" y="35"/>
                          <a:pt x="36" y="0"/>
                          <a:pt x="36" y="0"/>
                        </a:cubicBezTo>
                        <a:close/>
                      </a:path>
                    </a:pathLst>
                  </a:custGeom>
                  <a:solidFill>
                    <a:srgbClr val="1D99B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5" name="Freeform 287">
                    <a:extLst>
                      <a:ext uri="{FF2B5EF4-FFF2-40B4-BE49-F238E27FC236}">
                        <a16:creationId xmlns:a16="http://schemas.microsoft.com/office/drawing/2014/main" id="{A5A7B0C5-E842-BA81-6D33-B33A6BFC6FF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89838" y="5015707"/>
                    <a:ext cx="503238" cy="488950"/>
                  </a:xfrm>
                  <a:custGeom>
                    <a:avLst/>
                    <a:gdLst>
                      <a:gd name="T0" fmla="*/ 6 w 256"/>
                      <a:gd name="T1" fmla="*/ 0 h 249"/>
                      <a:gd name="T2" fmla="*/ 0 w 256"/>
                      <a:gd name="T3" fmla="*/ 10 h 249"/>
                      <a:gd name="T4" fmla="*/ 10 w 256"/>
                      <a:gd name="T5" fmla="*/ 24 h 249"/>
                      <a:gd name="T6" fmla="*/ 37 w 256"/>
                      <a:gd name="T7" fmla="*/ 123 h 249"/>
                      <a:gd name="T8" fmla="*/ 222 w 256"/>
                      <a:gd name="T9" fmla="*/ 249 h 249"/>
                      <a:gd name="T10" fmla="*/ 256 w 256"/>
                      <a:gd name="T11" fmla="*/ 231 h 249"/>
                      <a:gd name="T12" fmla="*/ 235 w 256"/>
                      <a:gd name="T13" fmla="*/ 193 h 249"/>
                      <a:gd name="T14" fmla="*/ 56 w 256"/>
                      <a:gd name="T15" fmla="*/ 106 h 249"/>
                      <a:gd name="T16" fmla="*/ 18 w 256"/>
                      <a:gd name="T17" fmla="*/ 21 h 249"/>
                      <a:gd name="T18" fmla="*/ 27 w 256"/>
                      <a:gd name="T19" fmla="*/ 6 h 249"/>
                      <a:gd name="T20" fmla="*/ 6 w 256"/>
                      <a:gd name="T21" fmla="*/ 0 h 2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56" h="249">
                        <a:moveTo>
                          <a:pt x="6" y="0"/>
                        </a:moveTo>
                        <a:cubicBezTo>
                          <a:pt x="6" y="0"/>
                          <a:pt x="2" y="4"/>
                          <a:pt x="0" y="10"/>
                        </a:cubicBezTo>
                        <a:cubicBezTo>
                          <a:pt x="3" y="16"/>
                          <a:pt x="10" y="24"/>
                          <a:pt x="10" y="24"/>
                        </a:cubicBezTo>
                        <a:cubicBezTo>
                          <a:pt x="10" y="24"/>
                          <a:pt x="6" y="73"/>
                          <a:pt x="37" y="123"/>
                        </a:cubicBezTo>
                        <a:cubicBezTo>
                          <a:pt x="84" y="200"/>
                          <a:pt x="222" y="249"/>
                          <a:pt x="222" y="249"/>
                        </a:cubicBezTo>
                        <a:cubicBezTo>
                          <a:pt x="256" y="231"/>
                          <a:pt x="256" y="231"/>
                          <a:pt x="256" y="231"/>
                        </a:cubicBezTo>
                        <a:cubicBezTo>
                          <a:pt x="235" y="193"/>
                          <a:pt x="235" y="193"/>
                          <a:pt x="235" y="193"/>
                        </a:cubicBezTo>
                        <a:cubicBezTo>
                          <a:pt x="235" y="193"/>
                          <a:pt x="111" y="175"/>
                          <a:pt x="56" y="106"/>
                        </a:cubicBezTo>
                        <a:cubicBezTo>
                          <a:pt x="18" y="58"/>
                          <a:pt x="18" y="21"/>
                          <a:pt x="18" y="21"/>
                        </a:cubicBezTo>
                        <a:cubicBezTo>
                          <a:pt x="18" y="21"/>
                          <a:pt x="24" y="13"/>
                          <a:pt x="27" y="6"/>
                        </a:cubicBezTo>
                        <a:cubicBezTo>
                          <a:pt x="15" y="5"/>
                          <a:pt x="6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6" name="Freeform 288">
                    <a:extLst>
                      <a:ext uri="{FF2B5EF4-FFF2-40B4-BE49-F238E27FC236}">
                        <a16:creationId xmlns:a16="http://schemas.microsoft.com/office/drawing/2014/main" id="{1EC49A45-FD14-00F7-9F58-D204AAE2F47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67601" y="4853782"/>
                    <a:ext cx="206375" cy="160338"/>
                  </a:xfrm>
                  <a:custGeom>
                    <a:avLst/>
                    <a:gdLst>
                      <a:gd name="T0" fmla="*/ 105 w 105"/>
                      <a:gd name="T1" fmla="*/ 35 h 82"/>
                      <a:gd name="T2" fmla="*/ 93 w 105"/>
                      <a:gd name="T3" fmla="*/ 22 h 82"/>
                      <a:gd name="T4" fmla="*/ 67 w 105"/>
                      <a:gd name="T5" fmla="*/ 0 h 82"/>
                      <a:gd name="T6" fmla="*/ 54 w 105"/>
                      <a:gd name="T7" fmla="*/ 34 h 82"/>
                      <a:gd name="T8" fmla="*/ 34 w 105"/>
                      <a:gd name="T9" fmla="*/ 55 h 82"/>
                      <a:gd name="T10" fmla="*/ 0 w 105"/>
                      <a:gd name="T11" fmla="*/ 56 h 82"/>
                      <a:gd name="T12" fmla="*/ 69 w 105"/>
                      <a:gd name="T13" fmla="*/ 82 h 82"/>
                      <a:gd name="T14" fmla="*/ 105 w 105"/>
                      <a:gd name="T15" fmla="*/ 35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5" h="82">
                        <a:moveTo>
                          <a:pt x="105" y="35"/>
                        </a:moveTo>
                        <a:cubicBezTo>
                          <a:pt x="99" y="32"/>
                          <a:pt x="93" y="22"/>
                          <a:pt x="93" y="22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67" y="0"/>
                          <a:pt x="57" y="21"/>
                          <a:pt x="54" y="34"/>
                        </a:cubicBezTo>
                        <a:cubicBezTo>
                          <a:pt x="52" y="46"/>
                          <a:pt x="39" y="54"/>
                          <a:pt x="34" y="55"/>
                        </a:cubicBezTo>
                        <a:cubicBezTo>
                          <a:pt x="22" y="56"/>
                          <a:pt x="0" y="56"/>
                          <a:pt x="0" y="56"/>
                        </a:cubicBezTo>
                        <a:cubicBezTo>
                          <a:pt x="0" y="56"/>
                          <a:pt x="50" y="69"/>
                          <a:pt x="69" y="82"/>
                        </a:cubicBezTo>
                        <a:cubicBezTo>
                          <a:pt x="91" y="67"/>
                          <a:pt x="101" y="42"/>
                          <a:pt x="105" y="35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7" name="Freeform 289">
                    <a:extLst>
                      <a:ext uri="{FF2B5EF4-FFF2-40B4-BE49-F238E27FC236}">
                        <a16:creationId xmlns:a16="http://schemas.microsoft.com/office/drawing/2014/main" id="{E5160EAA-7B4B-1F17-10AF-5D63C14C3A0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50138" y="4755357"/>
                    <a:ext cx="163513" cy="207963"/>
                  </a:xfrm>
                  <a:custGeom>
                    <a:avLst/>
                    <a:gdLst>
                      <a:gd name="T0" fmla="*/ 9 w 83"/>
                      <a:gd name="T1" fmla="*/ 106 h 106"/>
                      <a:gd name="T2" fmla="*/ 47 w 83"/>
                      <a:gd name="T3" fmla="*/ 105 h 106"/>
                      <a:gd name="T4" fmla="*/ 62 w 83"/>
                      <a:gd name="T5" fmla="*/ 91 h 106"/>
                      <a:gd name="T6" fmla="*/ 69 w 83"/>
                      <a:gd name="T7" fmla="*/ 69 h 106"/>
                      <a:gd name="T8" fmla="*/ 78 w 83"/>
                      <a:gd name="T9" fmla="*/ 62 h 106"/>
                      <a:gd name="T10" fmla="*/ 73 w 83"/>
                      <a:gd name="T11" fmla="*/ 48 h 106"/>
                      <a:gd name="T12" fmla="*/ 70 w 83"/>
                      <a:gd name="T13" fmla="*/ 6 h 106"/>
                      <a:gd name="T14" fmla="*/ 50 w 83"/>
                      <a:gd name="T15" fmla="*/ 0 h 106"/>
                      <a:gd name="T16" fmla="*/ 32 w 83"/>
                      <a:gd name="T17" fmla="*/ 10 h 106"/>
                      <a:gd name="T18" fmla="*/ 0 w 83"/>
                      <a:gd name="T19" fmla="*/ 60 h 106"/>
                      <a:gd name="T20" fmla="*/ 4 w 83"/>
                      <a:gd name="T21" fmla="*/ 63 h 106"/>
                      <a:gd name="T22" fmla="*/ 12 w 83"/>
                      <a:gd name="T23" fmla="*/ 65 h 106"/>
                      <a:gd name="T24" fmla="*/ 8 w 83"/>
                      <a:gd name="T25" fmla="*/ 105 h 106"/>
                      <a:gd name="T26" fmla="*/ 9 w 83"/>
                      <a:gd name="T27" fmla="*/ 106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83" h="106">
                        <a:moveTo>
                          <a:pt x="9" y="106"/>
                        </a:moveTo>
                        <a:cubicBezTo>
                          <a:pt x="19" y="106"/>
                          <a:pt x="38" y="106"/>
                          <a:pt x="47" y="105"/>
                        </a:cubicBezTo>
                        <a:cubicBezTo>
                          <a:pt x="60" y="104"/>
                          <a:pt x="62" y="91"/>
                          <a:pt x="62" y="91"/>
                        </a:cubicBezTo>
                        <a:cubicBezTo>
                          <a:pt x="69" y="69"/>
                          <a:pt x="69" y="69"/>
                          <a:pt x="69" y="69"/>
                        </a:cubicBezTo>
                        <a:cubicBezTo>
                          <a:pt x="69" y="69"/>
                          <a:pt x="74" y="67"/>
                          <a:pt x="78" y="62"/>
                        </a:cubicBezTo>
                        <a:cubicBezTo>
                          <a:pt x="80" y="60"/>
                          <a:pt x="83" y="52"/>
                          <a:pt x="73" y="48"/>
                        </a:cubicBezTo>
                        <a:cubicBezTo>
                          <a:pt x="58" y="42"/>
                          <a:pt x="70" y="6"/>
                          <a:pt x="70" y="6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0" y="60"/>
                          <a:pt x="0" y="63"/>
                          <a:pt x="4" y="63"/>
                        </a:cubicBezTo>
                        <a:cubicBezTo>
                          <a:pt x="7" y="63"/>
                          <a:pt x="12" y="65"/>
                          <a:pt x="12" y="65"/>
                        </a:cubicBezTo>
                        <a:cubicBezTo>
                          <a:pt x="12" y="65"/>
                          <a:pt x="8" y="102"/>
                          <a:pt x="8" y="105"/>
                        </a:cubicBezTo>
                        <a:cubicBezTo>
                          <a:pt x="8" y="106"/>
                          <a:pt x="9" y="106"/>
                          <a:pt x="9" y="106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8" name="Freeform 290">
                    <a:extLst>
                      <a:ext uri="{FF2B5EF4-FFF2-40B4-BE49-F238E27FC236}">
                        <a16:creationId xmlns:a16="http://schemas.microsoft.com/office/drawing/2014/main" id="{D0F87247-32E8-E4D7-6C31-CD90C594FAD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91413" y="4823620"/>
                    <a:ext cx="33338" cy="17463"/>
                  </a:xfrm>
                  <a:custGeom>
                    <a:avLst/>
                    <a:gdLst>
                      <a:gd name="T0" fmla="*/ 1 w 17"/>
                      <a:gd name="T1" fmla="*/ 6 h 9"/>
                      <a:gd name="T2" fmla="*/ 4 w 17"/>
                      <a:gd name="T3" fmla="*/ 9 h 9"/>
                      <a:gd name="T4" fmla="*/ 15 w 17"/>
                      <a:gd name="T5" fmla="*/ 8 h 9"/>
                      <a:gd name="T6" fmla="*/ 2 w 17"/>
                      <a:gd name="T7" fmla="*/ 2 h 9"/>
                      <a:gd name="T8" fmla="*/ 1 w 17"/>
                      <a:gd name="T9" fmla="*/ 6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7" h="9">
                        <a:moveTo>
                          <a:pt x="1" y="6"/>
                        </a:moveTo>
                        <a:cubicBezTo>
                          <a:pt x="1" y="9"/>
                          <a:pt x="1" y="9"/>
                          <a:pt x="4" y="9"/>
                        </a:cubicBezTo>
                        <a:cubicBezTo>
                          <a:pt x="7" y="9"/>
                          <a:pt x="17" y="9"/>
                          <a:pt x="15" y="8"/>
                        </a:cubicBezTo>
                        <a:cubicBezTo>
                          <a:pt x="14" y="8"/>
                          <a:pt x="10" y="6"/>
                          <a:pt x="2" y="2"/>
                        </a:cubicBezTo>
                        <a:cubicBezTo>
                          <a:pt x="0" y="0"/>
                          <a:pt x="1" y="3"/>
                          <a:pt x="1" y="6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" name="Freeform 291">
                    <a:extLst>
                      <a:ext uri="{FF2B5EF4-FFF2-40B4-BE49-F238E27FC236}">
                        <a16:creationId xmlns:a16="http://schemas.microsoft.com/office/drawing/2014/main" id="{F6F928D9-D7AD-CD32-4599-4C0EF4286E6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07288" y="4723607"/>
                    <a:ext cx="157163" cy="173038"/>
                  </a:xfrm>
                  <a:custGeom>
                    <a:avLst/>
                    <a:gdLst>
                      <a:gd name="T0" fmla="*/ 76 w 80"/>
                      <a:gd name="T1" fmla="*/ 31 h 88"/>
                      <a:gd name="T2" fmla="*/ 1 w 80"/>
                      <a:gd name="T3" fmla="*/ 14 h 88"/>
                      <a:gd name="T4" fmla="*/ 3 w 80"/>
                      <a:gd name="T5" fmla="*/ 26 h 88"/>
                      <a:gd name="T6" fmla="*/ 31 w 80"/>
                      <a:gd name="T7" fmla="*/ 35 h 88"/>
                      <a:gd name="T8" fmla="*/ 27 w 80"/>
                      <a:gd name="T9" fmla="*/ 78 h 88"/>
                      <a:gd name="T10" fmla="*/ 47 w 80"/>
                      <a:gd name="T11" fmla="*/ 66 h 88"/>
                      <a:gd name="T12" fmla="*/ 74 w 80"/>
                      <a:gd name="T13" fmla="*/ 88 h 88"/>
                      <a:gd name="T14" fmla="*/ 76 w 80"/>
                      <a:gd name="T15" fmla="*/ 31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0" h="88">
                        <a:moveTo>
                          <a:pt x="76" y="31"/>
                        </a:moveTo>
                        <a:cubicBezTo>
                          <a:pt x="26" y="2"/>
                          <a:pt x="6" y="0"/>
                          <a:pt x="1" y="14"/>
                        </a:cubicBezTo>
                        <a:cubicBezTo>
                          <a:pt x="0" y="17"/>
                          <a:pt x="0" y="22"/>
                          <a:pt x="3" y="26"/>
                        </a:cubicBezTo>
                        <a:cubicBezTo>
                          <a:pt x="19" y="24"/>
                          <a:pt x="35" y="24"/>
                          <a:pt x="31" y="35"/>
                        </a:cubicBezTo>
                        <a:cubicBezTo>
                          <a:pt x="30" y="39"/>
                          <a:pt x="13" y="76"/>
                          <a:pt x="27" y="78"/>
                        </a:cubicBezTo>
                        <a:cubicBezTo>
                          <a:pt x="30" y="73"/>
                          <a:pt x="37" y="60"/>
                          <a:pt x="47" y="66"/>
                        </a:cubicBezTo>
                        <a:cubicBezTo>
                          <a:pt x="53" y="69"/>
                          <a:pt x="47" y="83"/>
                          <a:pt x="74" y="88"/>
                        </a:cubicBezTo>
                        <a:cubicBezTo>
                          <a:pt x="76" y="66"/>
                          <a:pt x="80" y="39"/>
                          <a:pt x="76" y="31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" name="Freeform 292">
                    <a:extLst>
                      <a:ext uri="{FF2B5EF4-FFF2-40B4-BE49-F238E27FC236}">
                        <a16:creationId xmlns:a16="http://schemas.microsoft.com/office/drawing/2014/main" id="{56ECBF40-0388-2641-C9B6-72ED3CBC00A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215188" y="4896645"/>
                    <a:ext cx="711200" cy="517525"/>
                  </a:xfrm>
                  <a:custGeom>
                    <a:avLst/>
                    <a:gdLst>
                      <a:gd name="T0" fmla="*/ 339 w 362"/>
                      <a:gd name="T1" fmla="*/ 123 h 264"/>
                      <a:gd name="T2" fmla="*/ 256 w 362"/>
                      <a:gd name="T3" fmla="*/ 236 h 264"/>
                      <a:gd name="T4" fmla="*/ 191 w 362"/>
                      <a:gd name="T5" fmla="*/ 262 h 264"/>
                      <a:gd name="T6" fmla="*/ 3 w 362"/>
                      <a:gd name="T7" fmla="*/ 259 h 264"/>
                      <a:gd name="T8" fmla="*/ 0 w 362"/>
                      <a:gd name="T9" fmla="*/ 236 h 264"/>
                      <a:gd name="T10" fmla="*/ 200 w 362"/>
                      <a:gd name="T11" fmla="*/ 220 h 264"/>
                      <a:gd name="T12" fmla="*/ 268 w 362"/>
                      <a:gd name="T13" fmla="*/ 58 h 264"/>
                      <a:gd name="T14" fmla="*/ 339 w 362"/>
                      <a:gd name="T15" fmla="*/ 123 h 2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62" h="264">
                        <a:moveTo>
                          <a:pt x="339" y="123"/>
                        </a:moveTo>
                        <a:cubicBezTo>
                          <a:pt x="316" y="156"/>
                          <a:pt x="262" y="228"/>
                          <a:pt x="256" y="236"/>
                        </a:cubicBezTo>
                        <a:cubicBezTo>
                          <a:pt x="249" y="243"/>
                          <a:pt x="241" y="262"/>
                          <a:pt x="191" y="262"/>
                        </a:cubicBezTo>
                        <a:cubicBezTo>
                          <a:pt x="126" y="264"/>
                          <a:pt x="3" y="259"/>
                          <a:pt x="3" y="259"/>
                        </a:cubicBezTo>
                        <a:cubicBezTo>
                          <a:pt x="3" y="259"/>
                          <a:pt x="1" y="247"/>
                          <a:pt x="0" y="236"/>
                        </a:cubicBezTo>
                        <a:cubicBezTo>
                          <a:pt x="71" y="229"/>
                          <a:pt x="200" y="220"/>
                          <a:pt x="200" y="220"/>
                        </a:cubicBezTo>
                        <a:cubicBezTo>
                          <a:pt x="200" y="220"/>
                          <a:pt x="250" y="92"/>
                          <a:pt x="268" y="58"/>
                        </a:cubicBezTo>
                        <a:cubicBezTo>
                          <a:pt x="315" y="0"/>
                          <a:pt x="362" y="89"/>
                          <a:pt x="339" y="123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" name="Freeform 293">
                    <a:extLst>
                      <a:ext uri="{FF2B5EF4-FFF2-40B4-BE49-F238E27FC236}">
                        <a16:creationId xmlns:a16="http://schemas.microsoft.com/office/drawing/2014/main" id="{F12BFF2E-20E2-143C-6802-8E021457405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26326" y="6409532"/>
                    <a:ext cx="142875" cy="50800"/>
                  </a:xfrm>
                  <a:custGeom>
                    <a:avLst/>
                    <a:gdLst>
                      <a:gd name="T0" fmla="*/ 72 w 72"/>
                      <a:gd name="T1" fmla="*/ 4 h 26"/>
                      <a:gd name="T2" fmla="*/ 72 w 72"/>
                      <a:gd name="T3" fmla="*/ 26 h 26"/>
                      <a:gd name="T4" fmla="*/ 53 w 72"/>
                      <a:gd name="T5" fmla="*/ 26 h 26"/>
                      <a:gd name="T6" fmla="*/ 53 w 72"/>
                      <a:gd name="T7" fmla="*/ 18 h 26"/>
                      <a:gd name="T8" fmla="*/ 27 w 72"/>
                      <a:gd name="T9" fmla="*/ 26 h 26"/>
                      <a:gd name="T10" fmla="*/ 3 w 72"/>
                      <a:gd name="T11" fmla="*/ 25 h 26"/>
                      <a:gd name="T12" fmla="*/ 4 w 72"/>
                      <a:gd name="T13" fmla="*/ 20 h 26"/>
                      <a:gd name="T14" fmla="*/ 29 w 72"/>
                      <a:gd name="T15" fmla="*/ 13 h 26"/>
                      <a:gd name="T16" fmla="*/ 48 w 72"/>
                      <a:gd name="T17" fmla="*/ 0 h 26"/>
                      <a:gd name="T18" fmla="*/ 72 w 72"/>
                      <a:gd name="T19" fmla="*/ 4 h 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2" h="26">
                        <a:moveTo>
                          <a:pt x="72" y="4"/>
                        </a:moveTo>
                        <a:cubicBezTo>
                          <a:pt x="72" y="26"/>
                          <a:pt x="72" y="26"/>
                          <a:pt x="72" y="26"/>
                        </a:cubicBez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18"/>
                          <a:pt x="53" y="18"/>
                          <a:pt x="53" y="18"/>
                        </a:cubicBezTo>
                        <a:cubicBezTo>
                          <a:pt x="27" y="26"/>
                          <a:pt x="27" y="26"/>
                          <a:pt x="27" y="26"/>
                        </a:cubicBezTo>
                        <a:cubicBezTo>
                          <a:pt x="3" y="25"/>
                          <a:pt x="3" y="25"/>
                          <a:pt x="3" y="25"/>
                        </a:cubicBezTo>
                        <a:cubicBezTo>
                          <a:pt x="3" y="25"/>
                          <a:pt x="0" y="21"/>
                          <a:pt x="4" y="20"/>
                        </a:cubicBezTo>
                        <a:cubicBezTo>
                          <a:pt x="5" y="20"/>
                          <a:pt x="29" y="13"/>
                          <a:pt x="29" y="13"/>
                        </a:cubicBezTo>
                        <a:cubicBezTo>
                          <a:pt x="48" y="0"/>
                          <a:pt x="48" y="0"/>
                          <a:pt x="48" y="0"/>
                        </a:cubicBezTo>
                        <a:lnTo>
                          <a:pt x="72" y="4"/>
                        </a:lnTo>
                        <a:close/>
                      </a:path>
                    </a:pathLst>
                  </a:custGeom>
                  <a:solidFill>
                    <a:srgbClr val="17235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Freeform 294">
                    <a:extLst>
                      <a:ext uri="{FF2B5EF4-FFF2-40B4-BE49-F238E27FC236}">
                        <a16:creationId xmlns:a16="http://schemas.microsoft.com/office/drawing/2014/main" id="{3A8A0627-222C-384C-BE23-22D4FB8166E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2051" y="5498307"/>
                    <a:ext cx="1069975" cy="912813"/>
                  </a:xfrm>
                  <a:custGeom>
                    <a:avLst/>
                    <a:gdLst>
                      <a:gd name="T0" fmla="*/ 4 w 545"/>
                      <a:gd name="T1" fmla="*/ 465 h 465"/>
                      <a:gd name="T2" fmla="*/ 0 w 545"/>
                      <a:gd name="T3" fmla="*/ 147 h 465"/>
                      <a:gd name="T4" fmla="*/ 0 w 545"/>
                      <a:gd name="T5" fmla="*/ 147 h 465"/>
                      <a:gd name="T6" fmla="*/ 51 w 545"/>
                      <a:gd name="T7" fmla="*/ 77 h 465"/>
                      <a:gd name="T8" fmla="*/ 456 w 545"/>
                      <a:gd name="T9" fmla="*/ 0 h 465"/>
                      <a:gd name="T10" fmla="*/ 313 w 545"/>
                      <a:gd name="T11" fmla="*/ 160 h 465"/>
                      <a:gd name="T12" fmla="*/ 83 w 545"/>
                      <a:gd name="T13" fmla="*/ 160 h 465"/>
                      <a:gd name="T14" fmla="*/ 38 w 545"/>
                      <a:gd name="T15" fmla="*/ 463 h 465"/>
                      <a:gd name="T16" fmla="*/ 4 w 545"/>
                      <a:gd name="T17" fmla="*/ 465 h 4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545" h="465">
                        <a:moveTo>
                          <a:pt x="4" y="465"/>
                        </a:move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3" y="93"/>
                          <a:pt x="38" y="80"/>
                          <a:pt x="51" y="77"/>
                        </a:cubicBezTo>
                        <a:cubicBezTo>
                          <a:pt x="64" y="74"/>
                          <a:pt x="456" y="0"/>
                          <a:pt x="456" y="0"/>
                        </a:cubicBezTo>
                        <a:cubicBezTo>
                          <a:pt x="456" y="0"/>
                          <a:pt x="545" y="149"/>
                          <a:pt x="313" y="160"/>
                        </a:cubicBezTo>
                        <a:cubicBezTo>
                          <a:pt x="255" y="163"/>
                          <a:pt x="234" y="154"/>
                          <a:pt x="83" y="160"/>
                        </a:cubicBezTo>
                        <a:cubicBezTo>
                          <a:pt x="113" y="217"/>
                          <a:pt x="38" y="463"/>
                          <a:pt x="38" y="463"/>
                        </a:cubicBezTo>
                        <a:lnTo>
                          <a:pt x="4" y="46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3" name="Group 1028">
                  <a:extLst>
                    <a:ext uri="{FF2B5EF4-FFF2-40B4-BE49-F238E27FC236}">
                      <a16:creationId xmlns:a16="http://schemas.microsoft.com/office/drawing/2014/main" id="{8AD8F3D8-1838-B233-CCBE-87A8E21C4966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683568" y="4089209"/>
                  <a:ext cx="936299" cy="705312"/>
                  <a:chOff x="9990467" y="4838701"/>
                  <a:chExt cx="1203326" cy="906463"/>
                </a:xfrm>
              </p:grpSpPr>
              <p:sp>
                <p:nvSpPr>
                  <p:cNvPr id="17" name="Freeform 277">
                    <a:extLst>
                      <a:ext uri="{FF2B5EF4-FFF2-40B4-BE49-F238E27FC236}">
                        <a16:creationId xmlns:a16="http://schemas.microsoft.com/office/drawing/2014/main" id="{EF586BD3-8FC5-830C-3D8A-1640351F791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990467" y="4922838"/>
                    <a:ext cx="176213" cy="80963"/>
                  </a:xfrm>
                  <a:custGeom>
                    <a:avLst/>
                    <a:gdLst>
                      <a:gd name="T0" fmla="*/ 37 w 89"/>
                      <a:gd name="T1" fmla="*/ 27 h 42"/>
                      <a:gd name="T2" fmla="*/ 13 w 89"/>
                      <a:gd name="T3" fmla="*/ 29 h 42"/>
                      <a:gd name="T4" fmla="*/ 17 w 89"/>
                      <a:gd name="T5" fmla="*/ 24 h 42"/>
                      <a:gd name="T6" fmla="*/ 24 w 89"/>
                      <a:gd name="T7" fmla="*/ 21 h 42"/>
                      <a:gd name="T8" fmla="*/ 10 w 89"/>
                      <a:gd name="T9" fmla="*/ 8 h 42"/>
                      <a:gd name="T10" fmla="*/ 6 w 89"/>
                      <a:gd name="T11" fmla="*/ 8 h 42"/>
                      <a:gd name="T12" fmla="*/ 3 w 89"/>
                      <a:gd name="T13" fmla="*/ 5 h 42"/>
                      <a:gd name="T14" fmla="*/ 10 w 89"/>
                      <a:gd name="T15" fmla="*/ 4 h 42"/>
                      <a:gd name="T16" fmla="*/ 2 w 89"/>
                      <a:gd name="T17" fmla="*/ 3 h 42"/>
                      <a:gd name="T18" fmla="*/ 1 w 89"/>
                      <a:gd name="T19" fmla="*/ 0 h 42"/>
                      <a:gd name="T20" fmla="*/ 18 w 89"/>
                      <a:gd name="T21" fmla="*/ 1 h 42"/>
                      <a:gd name="T22" fmla="*/ 37 w 89"/>
                      <a:gd name="T23" fmla="*/ 16 h 42"/>
                      <a:gd name="T24" fmla="*/ 88 w 89"/>
                      <a:gd name="T25" fmla="*/ 24 h 42"/>
                      <a:gd name="T26" fmla="*/ 84 w 89"/>
                      <a:gd name="T27" fmla="*/ 42 h 42"/>
                      <a:gd name="T28" fmla="*/ 37 w 89"/>
                      <a:gd name="T29" fmla="*/ 27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89" h="42">
                        <a:moveTo>
                          <a:pt x="37" y="27"/>
                        </a:moveTo>
                        <a:cubicBezTo>
                          <a:pt x="28" y="27"/>
                          <a:pt x="13" y="29"/>
                          <a:pt x="13" y="29"/>
                        </a:cubicBezTo>
                        <a:cubicBezTo>
                          <a:pt x="13" y="29"/>
                          <a:pt x="14" y="24"/>
                          <a:pt x="17" y="24"/>
                        </a:cubicBezTo>
                        <a:cubicBezTo>
                          <a:pt x="23" y="23"/>
                          <a:pt x="24" y="21"/>
                          <a:pt x="24" y="21"/>
                        </a:cubicBezTo>
                        <a:cubicBezTo>
                          <a:pt x="10" y="8"/>
                          <a:pt x="10" y="8"/>
                          <a:pt x="10" y="8"/>
                        </a:cubicBezTo>
                        <a:cubicBezTo>
                          <a:pt x="6" y="8"/>
                          <a:pt x="6" y="8"/>
                          <a:pt x="6" y="8"/>
                        </a:cubicBezTo>
                        <a:cubicBezTo>
                          <a:pt x="3" y="5"/>
                          <a:pt x="3" y="5"/>
                          <a:pt x="3" y="5"/>
                        </a:cubicBezTo>
                        <a:cubicBezTo>
                          <a:pt x="10" y="4"/>
                          <a:pt x="10" y="4"/>
                          <a:pt x="10" y="4"/>
                        </a:cubicBezTo>
                        <a:cubicBezTo>
                          <a:pt x="10" y="4"/>
                          <a:pt x="3" y="4"/>
                          <a:pt x="2" y="3"/>
                        </a:cubicBezTo>
                        <a:cubicBezTo>
                          <a:pt x="1" y="2"/>
                          <a:pt x="0" y="0"/>
                          <a:pt x="1" y="0"/>
                        </a:cubicBezTo>
                        <a:cubicBezTo>
                          <a:pt x="9" y="0"/>
                          <a:pt x="17" y="0"/>
                          <a:pt x="18" y="1"/>
                        </a:cubicBezTo>
                        <a:cubicBezTo>
                          <a:pt x="20" y="2"/>
                          <a:pt x="37" y="16"/>
                          <a:pt x="37" y="16"/>
                        </a:cubicBezTo>
                        <a:cubicBezTo>
                          <a:pt x="88" y="24"/>
                          <a:pt x="88" y="24"/>
                          <a:pt x="88" y="24"/>
                        </a:cubicBezTo>
                        <a:cubicBezTo>
                          <a:pt x="88" y="24"/>
                          <a:pt x="89" y="34"/>
                          <a:pt x="84" y="42"/>
                        </a:cubicBezTo>
                        <a:cubicBezTo>
                          <a:pt x="84" y="42"/>
                          <a:pt x="37" y="27"/>
                          <a:pt x="37" y="27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" name="Freeform 220">
                    <a:extLst>
                      <a:ext uri="{FF2B5EF4-FFF2-40B4-BE49-F238E27FC236}">
                        <a16:creationId xmlns:a16="http://schemas.microsoft.com/office/drawing/2014/main" id="{C61457AB-9DFC-15B7-CBBB-2CB4F9745F9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00042" y="4918076"/>
                    <a:ext cx="52388" cy="66675"/>
                  </a:xfrm>
                  <a:custGeom>
                    <a:avLst/>
                    <a:gdLst>
                      <a:gd name="T0" fmla="*/ 18 w 28"/>
                      <a:gd name="T1" fmla="*/ 23 h 36"/>
                      <a:gd name="T2" fmla="*/ 24 w 28"/>
                      <a:gd name="T3" fmla="*/ 33 h 36"/>
                      <a:gd name="T4" fmla="*/ 28 w 28"/>
                      <a:gd name="T5" fmla="*/ 33 h 36"/>
                      <a:gd name="T6" fmla="*/ 26 w 28"/>
                      <a:gd name="T7" fmla="*/ 17 h 36"/>
                      <a:gd name="T8" fmla="*/ 15 w 28"/>
                      <a:gd name="T9" fmla="*/ 7 h 36"/>
                      <a:gd name="T10" fmla="*/ 25 w 28"/>
                      <a:gd name="T11" fmla="*/ 6 h 36"/>
                      <a:gd name="T12" fmla="*/ 24 w 28"/>
                      <a:gd name="T13" fmla="*/ 1 h 36"/>
                      <a:gd name="T14" fmla="*/ 7 w 28"/>
                      <a:gd name="T15" fmla="*/ 0 h 36"/>
                      <a:gd name="T16" fmla="*/ 0 w 28"/>
                      <a:gd name="T17" fmla="*/ 1 h 36"/>
                      <a:gd name="T18" fmla="*/ 9 w 28"/>
                      <a:gd name="T19" fmla="*/ 9 h 36"/>
                      <a:gd name="T20" fmla="*/ 18 w 28"/>
                      <a:gd name="T21" fmla="*/ 23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8" h="36">
                        <a:moveTo>
                          <a:pt x="18" y="23"/>
                        </a:moveTo>
                        <a:cubicBezTo>
                          <a:pt x="20" y="26"/>
                          <a:pt x="24" y="32"/>
                          <a:pt x="24" y="33"/>
                        </a:cubicBezTo>
                        <a:cubicBezTo>
                          <a:pt x="25" y="36"/>
                          <a:pt x="28" y="33"/>
                          <a:pt x="28" y="33"/>
                        </a:cubicBezTo>
                        <a:cubicBezTo>
                          <a:pt x="28" y="33"/>
                          <a:pt x="27" y="20"/>
                          <a:pt x="26" y="17"/>
                        </a:cubicBezTo>
                        <a:cubicBezTo>
                          <a:pt x="26" y="15"/>
                          <a:pt x="15" y="7"/>
                          <a:pt x="15" y="7"/>
                        </a:cubicBezTo>
                        <a:cubicBezTo>
                          <a:pt x="25" y="6"/>
                          <a:pt x="25" y="6"/>
                          <a:pt x="25" y="6"/>
                        </a:cubicBezTo>
                        <a:cubicBezTo>
                          <a:pt x="24" y="1"/>
                          <a:pt x="24" y="1"/>
                          <a:pt x="24" y="1"/>
                        </a:cubicBezTo>
                        <a:cubicBezTo>
                          <a:pt x="24" y="1"/>
                          <a:pt x="15" y="1"/>
                          <a:pt x="7" y="0"/>
                        </a:cubicBezTo>
                        <a:cubicBezTo>
                          <a:pt x="3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9" y="9"/>
                        </a:cubicBezTo>
                        <a:cubicBezTo>
                          <a:pt x="18" y="15"/>
                          <a:pt x="18" y="21"/>
                          <a:pt x="18" y="2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" name="Freeform 260">
                    <a:extLst>
                      <a:ext uri="{FF2B5EF4-FFF2-40B4-BE49-F238E27FC236}">
                        <a16:creationId xmlns:a16="http://schemas.microsoft.com/office/drawing/2014/main" id="{25B660A6-0597-D7E3-26A2-029A4254FDF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58805" y="5259389"/>
                    <a:ext cx="534988" cy="322263"/>
                  </a:xfrm>
                  <a:custGeom>
                    <a:avLst/>
                    <a:gdLst>
                      <a:gd name="T0" fmla="*/ 270 w 272"/>
                      <a:gd name="T1" fmla="*/ 136 h 164"/>
                      <a:gd name="T2" fmla="*/ 262 w 272"/>
                      <a:gd name="T3" fmla="*/ 138 h 164"/>
                      <a:gd name="T4" fmla="*/ 271 w 272"/>
                      <a:gd name="T5" fmla="*/ 147 h 164"/>
                      <a:gd name="T6" fmla="*/ 272 w 272"/>
                      <a:gd name="T7" fmla="*/ 157 h 164"/>
                      <a:gd name="T8" fmla="*/ 269 w 272"/>
                      <a:gd name="T9" fmla="*/ 157 h 164"/>
                      <a:gd name="T10" fmla="*/ 265 w 272"/>
                      <a:gd name="T11" fmla="*/ 150 h 164"/>
                      <a:gd name="T12" fmla="*/ 251 w 272"/>
                      <a:gd name="T13" fmla="*/ 141 h 164"/>
                      <a:gd name="T14" fmla="*/ 146 w 272"/>
                      <a:gd name="T15" fmla="*/ 156 h 164"/>
                      <a:gd name="T16" fmla="*/ 92 w 272"/>
                      <a:gd name="T17" fmla="*/ 164 h 164"/>
                      <a:gd name="T18" fmla="*/ 65 w 272"/>
                      <a:gd name="T19" fmla="*/ 148 h 164"/>
                      <a:gd name="T20" fmla="*/ 0 w 272"/>
                      <a:gd name="T21" fmla="*/ 9 h 164"/>
                      <a:gd name="T22" fmla="*/ 76 w 272"/>
                      <a:gd name="T23" fmla="*/ 19 h 164"/>
                      <a:gd name="T24" fmla="*/ 93 w 272"/>
                      <a:gd name="T25" fmla="*/ 134 h 164"/>
                      <a:gd name="T26" fmla="*/ 251 w 272"/>
                      <a:gd name="T27" fmla="*/ 132 h 164"/>
                      <a:gd name="T28" fmla="*/ 257 w 272"/>
                      <a:gd name="T29" fmla="*/ 132 h 164"/>
                      <a:gd name="T30" fmla="*/ 270 w 272"/>
                      <a:gd name="T31" fmla="*/ 133 h 164"/>
                      <a:gd name="T32" fmla="*/ 270 w 272"/>
                      <a:gd name="T33" fmla="*/ 136 h 1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272" h="164">
                        <a:moveTo>
                          <a:pt x="270" y="136"/>
                        </a:moveTo>
                        <a:cubicBezTo>
                          <a:pt x="262" y="138"/>
                          <a:pt x="262" y="138"/>
                          <a:pt x="262" y="138"/>
                        </a:cubicBezTo>
                        <a:cubicBezTo>
                          <a:pt x="271" y="147"/>
                          <a:pt x="271" y="147"/>
                          <a:pt x="271" y="147"/>
                        </a:cubicBezTo>
                        <a:cubicBezTo>
                          <a:pt x="272" y="157"/>
                          <a:pt x="272" y="157"/>
                          <a:pt x="272" y="157"/>
                        </a:cubicBezTo>
                        <a:cubicBezTo>
                          <a:pt x="272" y="157"/>
                          <a:pt x="270" y="159"/>
                          <a:pt x="269" y="157"/>
                        </a:cubicBezTo>
                        <a:cubicBezTo>
                          <a:pt x="269" y="156"/>
                          <a:pt x="265" y="150"/>
                          <a:pt x="265" y="150"/>
                        </a:cubicBezTo>
                        <a:cubicBezTo>
                          <a:pt x="251" y="141"/>
                          <a:pt x="251" y="141"/>
                          <a:pt x="251" y="141"/>
                        </a:cubicBezTo>
                        <a:cubicBezTo>
                          <a:pt x="146" y="156"/>
                          <a:pt x="146" y="156"/>
                          <a:pt x="146" y="156"/>
                        </a:cubicBezTo>
                        <a:cubicBezTo>
                          <a:pt x="92" y="164"/>
                          <a:pt x="92" y="164"/>
                          <a:pt x="92" y="164"/>
                        </a:cubicBezTo>
                        <a:cubicBezTo>
                          <a:pt x="92" y="164"/>
                          <a:pt x="76" y="163"/>
                          <a:pt x="65" y="148"/>
                        </a:cubicBezTo>
                        <a:cubicBezTo>
                          <a:pt x="62" y="143"/>
                          <a:pt x="0" y="9"/>
                          <a:pt x="0" y="9"/>
                        </a:cubicBezTo>
                        <a:cubicBezTo>
                          <a:pt x="0" y="9"/>
                          <a:pt x="64" y="0"/>
                          <a:pt x="76" y="19"/>
                        </a:cubicBezTo>
                        <a:cubicBezTo>
                          <a:pt x="91" y="45"/>
                          <a:pt x="92" y="106"/>
                          <a:pt x="93" y="134"/>
                        </a:cubicBezTo>
                        <a:cubicBezTo>
                          <a:pt x="105" y="124"/>
                          <a:pt x="196" y="133"/>
                          <a:pt x="251" y="132"/>
                        </a:cubicBezTo>
                        <a:cubicBezTo>
                          <a:pt x="253" y="132"/>
                          <a:pt x="257" y="132"/>
                          <a:pt x="257" y="132"/>
                        </a:cubicBezTo>
                        <a:cubicBezTo>
                          <a:pt x="270" y="133"/>
                          <a:pt x="270" y="133"/>
                          <a:pt x="270" y="133"/>
                        </a:cubicBezTo>
                        <a:lnTo>
                          <a:pt x="270" y="136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" name="Freeform 261">
                    <a:extLst>
                      <a:ext uri="{FF2B5EF4-FFF2-40B4-BE49-F238E27FC236}">
                        <a16:creationId xmlns:a16="http://schemas.microsoft.com/office/drawing/2014/main" id="{9E36F091-A19D-4C03-0478-77C620118B0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52517" y="5516564"/>
                    <a:ext cx="41275" cy="57150"/>
                  </a:xfrm>
                  <a:custGeom>
                    <a:avLst/>
                    <a:gdLst>
                      <a:gd name="T0" fmla="*/ 14 w 21"/>
                      <a:gd name="T1" fmla="*/ 19 h 29"/>
                      <a:gd name="T2" fmla="*/ 18 w 21"/>
                      <a:gd name="T3" fmla="*/ 26 h 29"/>
                      <a:gd name="T4" fmla="*/ 21 w 21"/>
                      <a:gd name="T5" fmla="*/ 27 h 29"/>
                      <a:gd name="T6" fmla="*/ 20 w 21"/>
                      <a:gd name="T7" fmla="*/ 15 h 29"/>
                      <a:gd name="T8" fmla="*/ 11 w 21"/>
                      <a:gd name="T9" fmla="*/ 7 h 29"/>
                      <a:gd name="T10" fmla="*/ 19 w 21"/>
                      <a:gd name="T11" fmla="*/ 5 h 29"/>
                      <a:gd name="T12" fmla="*/ 19 w 21"/>
                      <a:gd name="T13" fmla="*/ 1 h 29"/>
                      <a:gd name="T14" fmla="*/ 6 w 21"/>
                      <a:gd name="T15" fmla="*/ 1 h 29"/>
                      <a:gd name="T16" fmla="*/ 0 w 21"/>
                      <a:gd name="T17" fmla="*/ 1 h 29"/>
                      <a:gd name="T18" fmla="*/ 6 w 21"/>
                      <a:gd name="T19" fmla="*/ 8 h 29"/>
                      <a:gd name="T20" fmla="*/ 14 w 21"/>
                      <a:gd name="T21" fmla="*/ 19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1" h="29">
                        <a:moveTo>
                          <a:pt x="14" y="19"/>
                        </a:moveTo>
                        <a:cubicBezTo>
                          <a:pt x="15" y="21"/>
                          <a:pt x="18" y="26"/>
                          <a:pt x="18" y="26"/>
                        </a:cubicBezTo>
                        <a:cubicBezTo>
                          <a:pt x="19" y="29"/>
                          <a:pt x="21" y="27"/>
                          <a:pt x="21" y="27"/>
                        </a:cubicBezTo>
                        <a:cubicBezTo>
                          <a:pt x="21" y="27"/>
                          <a:pt x="20" y="17"/>
                          <a:pt x="20" y="15"/>
                        </a:cubicBezTo>
                        <a:cubicBezTo>
                          <a:pt x="20" y="12"/>
                          <a:pt x="11" y="7"/>
                          <a:pt x="11" y="7"/>
                        </a:cubicBezTo>
                        <a:cubicBezTo>
                          <a:pt x="19" y="5"/>
                          <a:pt x="19" y="5"/>
                          <a:pt x="19" y="5"/>
                        </a:cubicBezTo>
                        <a:cubicBezTo>
                          <a:pt x="19" y="1"/>
                          <a:pt x="19" y="1"/>
                          <a:pt x="19" y="1"/>
                        </a:cubicBezTo>
                        <a:cubicBezTo>
                          <a:pt x="19" y="1"/>
                          <a:pt x="11" y="1"/>
                          <a:pt x="6" y="1"/>
                        </a:cubicBezTo>
                        <a:cubicBezTo>
                          <a:pt x="2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6" y="8"/>
                        </a:cubicBezTo>
                        <a:cubicBezTo>
                          <a:pt x="14" y="12"/>
                          <a:pt x="13" y="17"/>
                          <a:pt x="14" y="1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" name="Freeform 262">
                    <a:extLst>
                      <a:ext uri="{FF2B5EF4-FFF2-40B4-BE49-F238E27FC236}">
                        <a16:creationId xmlns:a16="http://schemas.microsoft.com/office/drawing/2014/main" id="{85DA6AB0-008C-79DA-71BC-07B55A1C78B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39692" y="4965701"/>
                    <a:ext cx="346075" cy="90488"/>
                  </a:xfrm>
                  <a:custGeom>
                    <a:avLst/>
                    <a:gdLst>
                      <a:gd name="T0" fmla="*/ 3 w 176"/>
                      <a:gd name="T1" fmla="*/ 0 h 46"/>
                      <a:gd name="T2" fmla="*/ 47 w 176"/>
                      <a:gd name="T3" fmla="*/ 6 h 46"/>
                      <a:gd name="T4" fmla="*/ 133 w 176"/>
                      <a:gd name="T5" fmla="*/ 5 h 46"/>
                      <a:gd name="T6" fmla="*/ 167 w 176"/>
                      <a:gd name="T7" fmla="*/ 22 h 46"/>
                      <a:gd name="T8" fmla="*/ 145 w 176"/>
                      <a:gd name="T9" fmla="*/ 46 h 46"/>
                      <a:gd name="T10" fmla="*/ 0 w 176"/>
                      <a:gd name="T11" fmla="*/ 19 h 46"/>
                      <a:gd name="T12" fmla="*/ 3 w 176"/>
                      <a:gd name="T13" fmla="*/ 0 h 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76" h="46">
                        <a:moveTo>
                          <a:pt x="3" y="0"/>
                        </a:moveTo>
                        <a:cubicBezTo>
                          <a:pt x="10" y="1"/>
                          <a:pt x="29" y="5"/>
                          <a:pt x="47" y="6"/>
                        </a:cubicBezTo>
                        <a:cubicBezTo>
                          <a:pt x="79" y="8"/>
                          <a:pt x="93" y="6"/>
                          <a:pt x="133" y="5"/>
                        </a:cubicBezTo>
                        <a:cubicBezTo>
                          <a:pt x="176" y="3"/>
                          <a:pt x="167" y="22"/>
                          <a:pt x="167" y="22"/>
                        </a:cubicBezTo>
                        <a:cubicBezTo>
                          <a:pt x="167" y="22"/>
                          <a:pt x="152" y="40"/>
                          <a:pt x="145" y="46"/>
                        </a:cubicBezTo>
                        <a:cubicBezTo>
                          <a:pt x="68" y="36"/>
                          <a:pt x="21" y="25"/>
                          <a:pt x="0" y="19"/>
                        </a:cubicBezTo>
                        <a:cubicBezTo>
                          <a:pt x="0" y="19"/>
                          <a:pt x="1" y="4"/>
                          <a:pt x="3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" name="Freeform 263">
                    <a:extLst>
                      <a:ext uri="{FF2B5EF4-FFF2-40B4-BE49-F238E27FC236}">
                        <a16:creationId xmlns:a16="http://schemas.microsoft.com/office/drawing/2014/main" id="{99DAAEB9-84E9-A7DB-DF3C-1433156FCF3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74642" y="4941889"/>
                    <a:ext cx="420688" cy="288925"/>
                  </a:xfrm>
                  <a:custGeom>
                    <a:avLst/>
                    <a:gdLst>
                      <a:gd name="T0" fmla="*/ 126 w 214"/>
                      <a:gd name="T1" fmla="*/ 147 h 147"/>
                      <a:gd name="T2" fmla="*/ 63 w 214"/>
                      <a:gd name="T3" fmla="*/ 110 h 147"/>
                      <a:gd name="T4" fmla="*/ 7 w 214"/>
                      <a:gd name="T5" fmla="*/ 22 h 147"/>
                      <a:gd name="T6" fmla="*/ 28 w 214"/>
                      <a:gd name="T7" fmla="*/ 8 h 147"/>
                      <a:gd name="T8" fmla="*/ 130 w 214"/>
                      <a:gd name="T9" fmla="*/ 44 h 147"/>
                      <a:gd name="T10" fmla="*/ 214 w 214"/>
                      <a:gd name="T11" fmla="*/ 136 h 147"/>
                      <a:gd name="T12" fmla="*/ 126 w 214"/>
                      <a:gd name="T13" fmla="*/ 147 h 1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14" h="147">
                        <a:moveTo>
                          <a:pt x="126" y="147"/>
                        </a:moveTo>
                        <a:cubicBezTo>
                          <a:pt x="123" y="141"/>
                          <a:pt x="112" y="111"/>
                          <a:pt x="63" y="110"/>
                        </a:cubicBezTo>
                        <a:cubicBezTo>
                          <a:pt x="0" y="108"/>
                          <a:pt x="7" y="22"/>
                          <a:pt x="7" y="22"/>
                        </a:cubicBezTo>
                        <a:cubicBezTo>
                          <a:pt x="7" y="22"/>
                          <a:pt x="18" y="11"/>
                          <a:pt x="28" y="8"/>
                        </a:cubicBezTo>
                        <a:cubicBezTo>
                          <a:pt x="53" y="0"/>
                          <a:pt x="94" y="11"/>
                          <a:pt x="130" y="44"/>
                        </a:cubicBezTo>
                        <a:cubicBezTo>
                          <a:pt x="181" y="90"/>
                          <a:pt x="214" y="136"/>
                          <a:pt x="214" y="136"/>
                        </a:cubicBezTo>
                        <a:cubicBezTo>
                          <a:pt x="214" y="136"/>
                          <a:pt x="175" y="134"/>
                          <a:pt x="126" y="147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" name="Freeform 264">
                    <a:extLst>
                      <a:ext uri="{FF2B5EF4-FFF2-40B4-BE49-F238E27FC236}">
                        <a16:creationId xmlns:a16="http://schemas.microsoft.com/office/drawing/2014/main" id="{FAAA3570-3ABC-C585-2830-06A40EE1ABA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5580" y="5221289"/>
                    <a:ext cx="611188" cy="523875"/>
                  </a:xfrm>
                  <a:custGeom>
                    <a:avLst/>
                    <a:gdLst>
                      <a:gd name="T0" fmla="*/ 2 w 311"/>
                      <a:gd name="T1" fmla="*/ 259 h 267"/>
                      <a:gd name="T2" fmla="*/ 10 w 311"/>
                      <a:gd name="T3" fmla="*/ 257 h 267"/>
                      <a:gd name="T4" fmla="*/ 22 w 311"/>
                      <a:gd name="T5" fmla="*/ 247 h 267"/>
                      <a:gd name="T6" fmla="*/ 44 w 311"/>
                      <a:gd name="T7" fmla="*/ 81 h 267"/>
                      <a:gd name="T8" fmla="*/ 44 w 311"/>
                      <a:gd name="T9" fmla="*/ 81 h 267"/>
                      <a:gd name="T10" fmla="*/ 66 w 311"/>
                      <a:gd name="T11" fmla="*/ 42 h 267"/>
                      <a:gd name="T12" fmla="*/ 276 w 311"/>
                      <a:gd name="T13" fmla="*/ 0 h 267"/>
                      <a:gd name="T14" fmla="*/ 213 w 311"/>
                      <a:gd name="T15" fmla="*/ 71 h 267"/>
                      <a:gd name="T16" fmla="*/ 82 w 311"/>
                      <a:gd name="T17" fmla="*/ 79 h 267"/>
                      <a:gd name="T18" fmla="*/ 31 w 311"/>
                      <a:gd name="T19" fmla="*/ 249 h 267"/>
                      <a:gd name="T20" fmla="*/ 29 w 311"/>
                      <a:gd name="T21" fmla="*/ 255 h 267"/>
                      <a:gd name="T22" fmla="*/ 25 w 311"/>
                      <a:gd name="T23" fmla="*/ 267 h 267"/>
                      <a:gd name="T24" fmla="*/ 22 w 311"/>
                      <a:gd name="T25" fmla="*/ 266 h 267"/>
                      <a:gd name="T26" fmla="*/ 22 w 311"/>
                      <a:gd name="T27" fmla="*/ 259 h 267"/>
                      <a:gd name="T28" fmla="*/ 11 w 311"/>
                      <a:gd name="T29" fmla="*/ 264 h 267"/>
                      <a:gd name="T30" fmla="*/ 1 w 311"/>
                      <a:gd name="T31" fmla="*/ 262 h 267"/>
                      <a:gd name="T32" fmla="*/ 2 w 311"/>
                      <a:gd name="T33" fmla="*/ 259 h 2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11" h="267">
                        <a:moveTo>
                          <a:pt x="2" y="259"/>
                        </a:moveTo>
                        <a:cubicBezTo>
                          <a:pt x="3" y="259"/>
                          <a:pt x="10" y="257"/>
                          <a:pt x="10" y="257"/>
                        </a:cubicBezTo>
                        <a:cubicBezTo>
                          <a:pt x="22" y="247"/>
                          <a:pt x="22" y="247"/>
                          <a:pt x="22" y="247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2" y="52"/>
                          <a:pt x="66" y="42"/>
                          <a:pt x="66" y="42"/>
                        </a:cubicBezTo>
                        <a:cubicBezTo>
                          <a:pt x="276" y="0"/>
                          <a:pt x="276" y="0"/>
                          <a:pt x="276" y="0"/>
                        </a:cubicBezTo>
                        <a:cubicBezTo>
                          <a:pt x="276" y="0"/>
                          <a:pt x="311" y="59"/>
                          <a:pt x="213" y="71"/>
                        </a:cubicBezTo>
                        <a:cubicBezTo>
                          <a:pt x="182" y="74"/>
                          <a:pt x="161" y="70"/>
                          <a:pt x="82" y="79"/>
                        </a:cubicBezTo>
                        <a:cubicBezTo>
                          <a:pt x="99" y="107"/>
                          <a:pt x="31" y="249"/>
                          <a:pt x="31" y="249"/>
                        </a:cubicBezTo>
                        <a:cubicBezTo>
                          <a:pt x="29" y="255"/>
                          <a:pt x="29" y="255"/>
                          <a:pt x="29" y="255"/>
                        </a:cubicBezTo>
                        <a:cubicBezTo>
                          <a:pt x="25" y="267"/>
                          <a:pt x="25" y="267"/>
                          <a:pt x="25" y="267"/>
                        </a:cubicBezTo>
                        <a:cubicBezTo>
                          <a:pt x="22" y="266"/>
                          <a:pt x="22" y="266"/>
                          <a:pt x="22" y="266"/>
                        </a:cubicBezTo>
                        <a:cubicBezTo>
                          <a:pt x="22" y="259"/>
                          <a:pt x="22" y="259"/>
                          <a:pt x="22" y="259"/>
                        </a:cubicBezTo>
                        <a:cubicBezTo>
                          <a:pt x="11" y="264"/>
                          <a:pt x="11" y="264"/>
                          <a:pt x="11" y="264"/>
                        </a:cubicBezTo>
                        <a:cubicBezTo>
                          <a:pt x="1" y="262"/>
                          <a:pt x="1" y="262"/>
                          <a:pt x="1" y="262"/>
                        </a:cubicBezTo>
                        <a:cubicBezTo>
                          <a:pt x="1" y="262"/>
                          <a:pt x="0" y="259"/>
                          <a:pt x="2" y="25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" name="Freeform 265">
                    <a:extLst>
                      <a:ext uri="{FF2B5EF4-FFF2-40B4-BE49-F238E27FC236}">
                        <a16:creationId xmlns:a16="http://schemas.microsoft.com/office/drawing/2014/main" id="{BE859C72-F2DF-B082-9F78-DD236597676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4167" y="5197476"/>
                    <a:ext cx="487363" cy="219075"/>
                  </a:xfrm>
                  <a:custGeom>
                    <a:avLst/>
                    <a:gdLst>
                      <a:gd name="T0" fmla="*/ 206 w 248"/>
                      <a:gd name="T1" fmla="*/ 0 h 112"/>
                      <a:gd name="T2" fmla="*/ 248 w 248"/>
                      <a:gd name="T3" fmla="*/ 97 h 112"/>
                      <a:gd name="T4" fmla="*/ 26 w 248"/>
                      <a:gd name="T5" fmla="*/ 83 h 112"/>
                      <a:gd name="T6" fmla="*/ 0 w 248"/>
                      <a:gd name="T7" fmla="*/ 52 h 112"/>
                      <a:gd name="T8" fmla="*/ 206 w 248"/>
                      <a:gd name="T9" fmla="*/ 0 h 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8" h="112">
                        <a:moveTo>
                          <a:pt x="206" y="0"/>
                        </a:moveTo>
                        <a:cubicBezTo>
                          <a:pt x="240" y="22"/>
                          <a:pt x="215" y="69"/>
                          <a:pt x="248" y="97"/>
                        </a:cubicBezTo>
                        <a:cubicBezTo>
                          <a:pt x="219" y="112"/>
                          <a:pt x="79" y="112"/>
                          <a:pt x="26" y="83"/>
                        </a:cubicBezTo>
                        <a:cubicBezTo>
                          <a:pt x="4" y="71"/>
                          <a:pt x="0" y="52"/>
                          <a:pt x="0" y="52"/>
                        </a:cubicBezTo>
                        <a:cubicBezTo>
                          <a:pt x="0" y="52"/>
                          <a:pt x="177" y="6"/>
                          <a:pt x="206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" name="Freeform 266">
                    <a:extLst>
                      <a:ext uri="{FF2B5EF4-FFF2-40B4-BE49-F238E27FC236}">
                        <a16:creationId xmlns:a16="http://schemas.microsoft.com/office/drawing/2014/main" id="{24AE5D0B-93DC-4CE9-25B7-176798D1D9A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2105" y="4964114"/>
                    <a:ext cx="63500" cy="134938"/>
                  </a:xfrm>
                  <a:custGeom>
                    <a:avLst/>
                    <a:gdLst>
                      <a:gd name="T0" fmla="*/ 32 w 32"/>
                      <a:gd name="T1" fmla="*/ 69 h 69"/>
                      <a:gd name="T2" fmla="*/ 20 w 32"/>
                      <a:gd name="T3" fmla="*/ 0 h 69"/>
                      <a:gd name="T4" fmla="*/ 4 w 32"/>
                      <a:gd name="T5" fmla="*/ 14 h 69"/>
                      <a:gd name="T6" fmla="*/ 32 w 32"/>
                      <a:gd name="T7" fmla="*/ 69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2" h="69">
                        <a:moveTo>
                          <a:pt x="32" y="69"/>
                        </a:moveTo>
                        <a:cubicBezTo>
                          <a:pt x="32" y="69"/>
                          <a:pt x="7" y="24"/>
                          <a:pt x="20" y="0"/>
                        </a:cubicBezTo>
                        <a:cubicBezTo>
                          <a:pt x="17" y="5"/>
                          <a:pt x="12" y="15"/>
                          <a:pt x="4" y="14"/>
                        </a:cubicBezTo>
                        <a:cubicBezTo>
                          <a:pt x="0" y="41"/>
                          <a:pt x="32" y="69"/>
                          <a:pt x="32" y="6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" name="Freeform 267">
                    <a:extLst>
                      <a:ext uri="{FF2B5EF4-FFF2-40B4-BE49-F238E27FC236}">
                        <a16:creationId xmlns:a16="http://schemas.microsoft.com/office/drawing/2014/main" id="{72653335-188A-68B5-8841-F3B9C1BF59A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69880" y="4946651"/>
                    <a:ext cx="88900" cy="160338"/>
                  </a:xfrm>
                  <a:custGeom>
                    <a:avLst/>
                    <a:gdLst>
                      <a:gd name="T0" fmla="*/ 45 w 45"/>
                      <a:gd name="T1" fmla="*/ 82 h 82"/>
                      <a:gd name="T2" fmla="*/ 17 w 45"/>
                      <a:gd name="T3" fmla="*/ 19 h 82"/>
                      <a:gd name="T4" fmla="*/ 12 w 45"/>
                      <a:gd name="T5" fmla="*/ 12 h 82"/>
                      <a:gd name="T6" fmla="*/ 45 w 45"/>
                      <a:gd name="T7" fmla="*/ 82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5" h="82">
                        <a:moveTo>
                          <a:pt x="45" y="82"/>
                        </a:moveTo>
                        <a:cubicBezTo>
                          <a:pt x="45" y="82"/>
                          <a:pt x="15" y="54"/>
                          <a:pt x="17" y="19"/>
                        </a:cubicBezTo>
                        <a:cubicBezTo>
                          <a:pt x="17" y="9"/>
                          <a:pt x="15" y="0"/>
                          <a:pt x="12" y="12"/>
                        </a:cubicBezTo>
                        <a:cubicBezTo>
                          <a:pt x="0" y="63"/>
                          <a:pt x="45" y="82"/>
                          <a:pt x="45" y="8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" name="Freeform 268">
                    <a:extLst>
                      <a:ext uri="{FF2B5EF4-FFF2-40B4-BE49-F238E27FC236}">
                        <a16:creationId xmlns:a16="http://schemas.microsoft.com/office/drawing/2014/main" id="{B6AC05F0-DC2B-26AE-0264-027AED9D5AE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3367" y="4899026"/>
                    <a:ext cx="103188" cy="93663"/>
                  </a:xfrm>
                  <a:custGeom>
                    <a:avLst/>
                    <a:gdLst>
                      <a:gd name="T0" fmla="*/ 52 w 53"/>
                      <a:gd name="T1" fmla="*/ 27 h 48"/>
                      <a:gd name="T2" fmla="*/ 42 w 53"/>
                      <a:gd name="T3" fmla="*/ 12 h 48"/>
                      <a:gd name="T4" fmla="*/ 30 w 53"/>
                      <a:gd name="T5" fmla="*/ 0 h 48"/>
                      <a:gd name="T6" fmla="*/ 24 w 53"/>
                      <a:gd name="T7" fmla="*/ 18 h 48"/>
                      <a:gd name="T8" fmla="*/ 13 w 53"/>
                      <a:gd name="T9" fmla="*/ 28 h 48"/>
                      <a:gd name="T10" fmla="*/ 0 w 53"/>
                      <a:gd name="T11" fmla="*/ 29 h 48"/>
                      <a:gd name="T12" fmla="*/ 36 w 53"/>
                      <a:gd name="T13" fmla="*/ 48 h 48"/>
                      <a:gd name="T14" fmla="*/ 52 w 53"/>
                      <a:gd name="T15" fmla="*/ 27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3" h="48">
                        <a:moveTo>
                          <a:pt x="52" y="27"/>
                        </a:moveTo>
                        <a:cubicBezTo>
                          <a:pt x="42" y="23"/>
                          <a:pt x="42" y="12"/>
                          <a:pt x="42" y="12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30" y="0"/>
                          <a:pt x="25" y="11"/>
                          <a:pt x="24" y="18"/>
                        </a:cubicBezTo>
                        <a:cubicBezTo>
                          <a:pt x="22" y="25"/>
                          <a:pt x="16" y="27"/>
                          <a:pt x="13" y="28"/>
                        </a:cubicBezTo>
                        <a:cubicBezTo>
                          <a:pt x="7" y="29"/>
                          <a:pt x="0" y="29"/>
                          <a:pt x="0" y="29"/>
                        </a:cubicBezTo>
                        <a:cubicBezTo>
                          <a:pt x="0" y="29"/>
                          <a:pt x="26" y="31"/>
                          <a:pt x="36" y="48"/>
                        </a:cubicBezTo>
                        <a:cubicBezTo>
                          <a:pt x="53" y="47"/>
                          <a:pt x="48" y="32"/>
                          <a:pt x="52" y="27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" name="Freeform 269">
                    <a:extLst>
                      <a:ext uri="{FF2B5EF4-FFF2-40B4-BE49-F238E27FC236}">
                        <a16:creationId xmlns:a16="http://schemas.microsoft.com/office/drawing/2014/main" id="{8980ECD3-D200-AB54-D382-D866224F353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20667" y="4848226"/>
                    <a:ext cx="80963" cy="107950"/>
                  </a:xfrm>
                  <a:custGeom>
                    <a:avLst/>
                    <a:gdLst>
                      <a:gd name="T0" fmla="*/ 9 w 41"/>
                      <a:gd name="T1" fmla="*/ 55 h 55"/>
                      <a:gd name="T2" fmla="*/ 22 w 41"/>
                      <a:gd name="T3" fmla="*/ 55 h 55"/>
                      <a:gd name="T4" fmla="*/ 30 w 41"/>
                      <a:gd name="T5" fmla="*/ 48 h 55"/>
                      <a:gd name="T6" fmla="*/ 33 w 41"/>
                      <a:gd name="T7" fmla="*/ 36 h 55"/>
                      <a:gd name="T8" fmla="*/ 38 w 41"/>
                      <a:gd name="T9" fmla="*/ 32 h 55"/>
                      <a:gd name="T10" fmla="*/ 36 w 41"/>
                      <a:gd name="T11" fmla="*/ 24 h 55"/>
                      <a:gd name="T12" fmla="*/ 34 w 41"/>
                      <a:gd name="T13" fmla="*/ 3 h 55"/>
                      <a:gd name="T14" fmla="*/ 23 w 41"/>
                      <a:gd name="T15" fmla="*/ 0 h 55"/>
                      <a:gd name="T16" fmla="*/ 12 w 41"/>
                      <a:gd name="T17" fmla="*/ 8 h 55"/>
                      <a:gd name="T18" fmla="*/ 0 w 41"/>
                      <a:gd name="T19" fmla="*/ 30 h 55"/>
                      <a:gd name="T20" fmla="*/ 2 w 41"/>
                      <a:gd name="T21" fmla="*/ 32 h 55"/>
                      <a:gd name="T22" fmla="*/ 5 w 41"/>
                      <a:gd name="T23" fmla="*/ 33 h 55"/>
                      <a:gd name="T24" fmla="*/ 5 w 41"/>
                      <a:gd name="T25" fmla="*/ 54 h 55"/>
                      <a:gd name="T26" fmla="*/ 9 w 41"/>
                      <a:gd name="T27" fmla="*/ 55 h 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1" h="55">
                        <a:moveTo>
                          <a:pt x="9" y="55"/>
                        </a:moveTo>
                        <a:cubicBezTo>
                          <a:pt x="12" y="55"/>
                          <a:pt x="17" y="55"/>
                          <a:pt x="22" y="55"/>
                        </a:cubicBezTo>
                        <a:cubicBezTo>
                          <a:pt x="29" y="54"/>
                          <a:pt x="30" y="48"/>
                          <a:pt x="30" y="48"/>
                        </a:cubicBezTo>
                        <a:cubicBezTo>
                          <a:pt x="33" y="36"/>
                          <a:pt x="33" y="36"/>
                          <a:pt x="33" y="36"/>
                        </a:cubicBezTo>
                        <a:cubicBezTo>
                          <a:pt x="33" y="36"/>
                          <a:pt x="36" y="35"/>
                          <a:pt x="38" y="32"/>
                        </a:cubicBezTo>
                        <a:cubicBezTo>
                          <a:pt x="39" y="31"/>
                          <a:pt x="41" y="26"/>
                          <a:pt x="36" y="24"/>
                        </a:cubicBezTo>
                        <a:cubicBezTo>
                          <a:pt x="28" y="21"/>
                          <a:pt x="34" y="3"/>
                          <a:pt x="34" y="3"/>
                        </a:cubicBezTo>
                        <a:cubicBezTo>
                          <a:pt x="23" y="0"/>
                          <a:pt x="23" y="0"/>
                          <a:pt x="23" y="0"/>
                        </a:cubicBezTo>
                        <a:cubicBezTo>
                          <a:pt x="12" y="8"/>
                          <a:pt x="12" y="8"/>
                          <a:pt x="12" y="8"/>
                        </a:cubicBezTo>
                        <a:cubicBezTo>
                          <a:pt x="0" y="30"/>
                          <a:pt x="0" y="30"/>
                          <a:pt x="0" y="30"/>
                        </a:cubicBezTo>
                        <a:cubicBezTo>
                          <a:pt x="0" y="30"/>
                          <a:pt x="0" y="31"/>
                          <a:pt x="2" y="32"/>
                        </a:cubicBezTo>
                        <a:cubicBezTo>
                          <a:pt x="4" y="32"/>
                          <a:pt x="5" y="33"/>
                          <a:pt x="5" y="33"/>
                        </a:cubicBezTo>
                        <a:cubicBezTo>
                          <a:pt x="5" y="33"/>
                          <a:pt x="5" y="53"/>
                          <a:pt x="5" y="54"/>
                        </a:cubicBezTo>
                        <a:cubicBezTo>
                          <a:pt x="5" y="55"/>
                          <a:pt x="7" y="55"/>
                          <a:pt x="9" y="55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" name="Freeform 270">
                    <a:extLst>
                      <a:ext uri="{FF2B5EF4-FFF2-40B4-BE49-F238E27FC236}">
                        <a16:creationId xmlns:a16="http://schemas.microsoft.com/office/drawing/2014/main" id="{FFE8851B-C90F-6484-1D8A-DB3AD5E914E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44480" y="4838701"/>
                    <a:ext cx="92075" cy="85725"/>
                  </a:xfrm>
                  <a:custGeom>
                    <a:avLst/>
                    <a:gdLst>
                      <a:gd name="T0" fmla="*/ 45 w 47"/>
                      <a:gd name="T1" fmla="*/ 22 h 44"/>
                      <a:gd name="T2" fmla="*/ 44 w 47"/>
                      <a:gd name="T3" fmla="*/ 18 h 44"/>
                      <a:gd name="T4" fmla="*/ 25 w 47"/>
                      <a:gd name="T5" fmla="*/ 3 h 44"/>
                      <a:gd name="T6" fmla="*/ 0 w 47"/>
                      <a:gd name="T7" fmla="*/ 14 h 44"/>
                      <a:gd name="T8" fmla="*/ 14 w 47"/>
                      <a:gd name="T9" fmla="*/ 21 h 44"/>
                      <a:gd name="T10" fmla="*/ 21 w 47"/>
                      <a:gd name="T11" fmla="*/ 30 h 44"/>
                      <a:gd name="T12" fmla="*/ 27 w 47"/>
                      <a:gd name="T13" fmla="*/ 35 h 44"/>
                      <a:gd name="T14" fmla="*/ 36 w 47"/>
                      <a:gd name="T15" fmla="*/ 44 h 44"/>
                      <a:gd name="T16" fmla="*/ 45 w 47"/>
                      <a:gd name="T17" fmla="*/ 22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7" h="44">
                        <a:moveTo>
                          <a:pt x="45" y="22"/>
                        </a:moveTo>
                        <a:cubicBezTo>
                          <a:pt x="44" y="18"/>
                          <a:pt x="44" y="18"/>
                          <a:pt x="44" y="18"/>
                        </a:cubicBezTo>
                        <a:cubicBezTo>
                          <a:pt x="44" y="18"/>
                          <a:pt x="42" y="7"/>
                          <a:pt x="25" y="3"/>
                        </a:cubicBezTo>
                        <a:cubicBezTo>
                          <a:pt x="6" y="0"/>
                          <a:pt x="0" y="14"/>
                          <a:pt x="0" y="14"/>
                        </a:cubicBezTo>
                        <a:cubicBezTo>
                          <a:pt x="0" y="14"/>
                          <a:pt x="14" y="12"/>
                          <a:pt x="14" y="21"/>
                        </a:cubicBezTo>
                        <a:cubicBezTo>
                          <a:pt x="14" y="31"/>
                          <a:pt x="20" y="30"/>
                          <a:pt x="21" y="30"/>
                        </a:cubicBezTo>
                        <a:cubicBezTo>
                          <a:pt x="22" y="30"/>
                          <a:pt x="26" y="31"/>
                          <a:pt x="27" y="35"/>
                        </a:cubicBezTo>
                        <a:cubicBezTo>
                          <a:pt x="27" y="41"/>
                          <a:pt x="33" y="44"/>
                          <a:pt x="36" y="44"/>
                        </a:cubicBezTo>
                        <a:cubicBezTo>
                          <a:pt x="47" y="32"/>
                          <a:pt x="45" y="22"/>
                          <a:pt x="45" y="22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" name="Freeform 271">
                    <a:extLst>
                      <a:ext uri="{FF2B5EF4-FFF2-40B4-BE49-F238E27FC236}">
                        <a16:creationId xmlns:a16="http://schemas.microsoft.com/office/drawing/2014/main" id="{D245C54D-6D52-4E62-D292-3CB27AB8ADB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6542" y="4886326"/>
                    <a:ext cx="15875" cy="7938"/>
                  </a:xfrm>
                  <a:custGeom>
                    <a:avLst/>
                    <a:gdLst>
                      <a:gd name="T0" fmla="*/ 1 w 8"/>
                      <a:gd name="T1" fmla="*/ 3 h 4"/>
                      <a:gd name="T2" fmla="*/ 2 w 8"/>
                      <a:gd name="T3" fmla="*/ 4 h 4"/>
                      <a:gd name="T4" fmla="*/ 8 w 8"/>
                      <a:gd name="T5" fmla="*/ 4 h 4"/>
                      <a:gd name="T6" fmla="*/ 1 w 8"/>
                      <a:gd name="T7" fmla="*/ 1 h 4"/>
                      <a:gd name="T8" fmla="*/ 1 w 8"/>
                      <a:gd name="T9" fmla="*/ 3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" h="4">
                        <a:moveTo>
                          <a:pt x="1" y="3"/>
                        </a:moveTo>
                        <a:cubicBezTo>
                          <a:pt x="1" y="4"/>
                          <a:pt x="1" y="4"/>
                          <a:pt x="2" y="4"/>
                        </a:cubicBezTo>
                        <a:cubicBezTo>
                          <a:pt x="4" y="4"/>
                          <a:pt x="6" y="4"/>
                          <a:pt x="8" y="4"/>
                        </a:cubicBezTo>
                        <a:cubicBezTo>
                          <a:pt x="8" y="4"/>
                          <a:pt x="6" y="3"/>
                          <a:pt x="1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" name="Freeform 272">
                    <a:extLst>
                      <a:ext uri="{FF2B5EF4-FFF2-40B4-BE49-F238E27FC236}">
                        <a16:creationId xmlns:a16="http://schemas.microsoft.com/office/drawing/2014/main" id="{5D3E36C5-5648-DD0E-2537-9FE9A491C02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1792" y="4857751"/>
                    <a:ext cx="217488" cy="93663"/>
                  </a:xfrm>
                  <a:custGeom>
                    <a:avLst/>
                    <a:gdLst>
                      <a:gd name="T0" fmla="*/ 0 w 111"/>
                      <a:gd name="T1" fmla="*/ 8 h 48"/>
                      <a:gd name="T2" fmla="*/ 17 w 111"/>
                      <a:gd name="T3" fmla="*/ 1 h 48"/>
                      <a:gd name="T4" fmla="*/ 42 w 111"/>
                      <a:gd name="T5" fmla="*/ 11 h 48"/>
                      <a:gd name="T6" fmla="*/ 75 w 111"/>
                      <a:gd name="T7" fmla="*/ 12 h 48"/>
                      <a:gd name="T8" fmla="*/ 94 w 111"/>
                      <a:gd name="T9" fmla="*/ 19 h 48"/>
                      <a:gd name="T10" fmla="*/ 111 w 111"/>
                      <a:gd name="T11" fmla="*/ 34 h 48"/>
                      <a:gd name="T12" fmla="*/ 79 w 111"/>
                      <a:gd name="T13" fmla="*/ 42 h 48"/>
                      <a:gd name="T14" fmla="*/ 50 w 111"/>
                      <a:gd name="T15" fmla="*/ 34 h 48"/>
                      <a:gd name="T16" fmla="*/ 28 w 111"/>
                      <a:gd name="T17" fmla="*/ 22 h 48"/>
                      <a:gd name="T18" fmla="*/ 14 w 111"/>
                      <a:gd name="T19" fmla="*/ 13 h 48"/>
                      <a:gd name="T20" fmla="*/ 1 w 111"/>
                      <a:gd name="T21" fmla="*/ 13 h 48"/>
                      <a:gd name="T22" fmla="*/ 0 w 111"/>
                      <a:gd name="T23" fmla="*/ 8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11" h="48">
                        <a:moveTo>
                          <a:pt x="0" y="8"/>
                        </a:moveTo>
                        <a:cubicBezTo>
                          <a:pt x="0" y="8"/>
                          <a:pt x="7" y="0"/>
                          <a:pt x="17" y="1"/>
                        </a:cubicBezTo>
                        <a:cubicBezTo>
                          <a:pt x="27" y="2"/>
                          <a:pt x="30" y="5"/>
                          <a:pt x="42" y="11"/>
                        </a:cubicBezTo>
                        <a:cubicBezTo>
                          <a:pt x="54" y="16"/>
                          <a:pt x="62" y="11"/>
                          <a:pt x="75" y="12"/>
                        </a:cubicBezTo>
                        <a:cubicBezTo>
                          <a:pt x="88" y="13"/>
                          <a:pt x="92" y="17"/>
                          <a:pt x="94" y="19"/>
                        </a:cubicBezTo>
                        <a:cubicBezTo>
                          <a:pt x="102" y="24"/>
                          <a:pt x="111" y="34"/>
                          <a:pt x="111" y="34"/>
                        </a:cubicBezTo>
                        <a:cubicBezTo>
                          <a:pt x="111" y="34"/>
                          <a:pt x="94" y="48"/>
                          <a:pt x="79" y="42"/>
                        </a:cubicBezTo>
                        <a:cubicBezTo>
                          <a:pt x="74" y="40"/>
                          <a:pt x="66" y="31"/>
                          <a:pt x="50" y="34"/>
                        </a:cubicBezTo>
                        <a:cubicBezTo>
                          <a:pt x="39" y="36"/>
                          <a:pt x="33" y="29"/>
                          <a:pt x="28" y="22"/>
                        </a:cubicBezTo>
                        <a:cubicBezTo>
                          <a:pt x="25" y="18"/>
                          <a:pt x="19" y="14"/>
                          <a:pt x="14" y="13"/>
                        </a:cubicBezTo>
                        <a:cubicBezTo>
                          <a:pt x="9" y="11"/>
                          <a:pt x="1" y="13"/>
                          <a:pt x="1" y="13"/>
                        </a:cubicBez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" name="Freeform 273">
                    <a:extLst>
                      <a:ext uri="{FF2B5EF4-FFF2-40B4-BE49-F238E27FC236}">
                        <a16:creationId xmlns:a16="http://schemas.microsoft.com/office/drawing/2014/main" id="{27BF853E-741A-9F7C-033F-26F3DDF0EC1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8617" y="4868864"/>
                    <a:ext cx="7938" cy="15875"/>
                  </a:xfrm>
                  <a:custGeom>
                    <a:avLst/>
                    <a:gdLst>
                      <a:gd name="T0" fmla="*/ 1 w 4"/>
                      <a:gd name="T1" fmla="*/ 6 h 8"/>
                      <a:gd name="T2" fmla="*/ 3 w 4"/>
                      <a:gd name="T3" fmla="*/ 8 h 8"/>
                      <a:gd name="T4" fmla="*/ 4 w 4"/>
                      <a:gd name="T5" fmla="*/ 5 h 8"/>
                      <a:gd name="T6" fmla="*/ 3 w 4"/>
                      <a:gd name="T7" fmla="*/ 2 h 8"/>
                      <a:gd name="T8" fmla="*/ 1 w 4"/>
                      <a:gd name="T9" fmla="*/ 0 h 8"/>
                      <a:gd name="T10" fmla="*/ 0 w 4"/>
                      <a:gd name="T11" fmla="*/ 2 h 8"/>
                      <a:gd name="T12" fmla="*/ 1 w 4"/>
                      <a:gd name="T13" fmla="*/ 6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" h="8">
                        <a:moveTo>
                          <a:pt x="1" y="6"/>
                        </a:moveTo>
                        <a:cubicBezTo>
                          <a:pt x="1" y="7"/>
                          <a:pt x="2" y="8"/>
                          <a:pt x="3" y="8"/>
                        </a:cubicBezTo>
                        <a:cubicBezTo>
                          <a:pt x="4" y="7"/>
                          <a:pt x="4" y="6"/>
                          <a:pt x="4" y="5"/>
                        </a:cubicBezTo>
                        <a:cubicBezTo>
                          <a:pt x="3" y="2"/>
                          <a:pt x="3" y="2"/>
                          <a:pt x="3" y="2"/>
                        </a:cubicBezTo>
                        <a:cubicBezTo>
                          <a:pt x="3" y="1"/>
                          <a:pt x="2" y="0"/>
                          <a:pt x="1" y="0"/>
                        </a:cubicBezTo>
                        <a:cubicBezTo>
                          <a:pt x="0" y="1"/>
                          <a:pt x="0" y="1"/>
                          <a:pt x="0" y="2"/>
                        </a:cubicBezTo>
                        <a:lnTo>
                          <a:pt x="1" y="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" name="Freeform 274">
                    <a:extLst>
                      <a:ext uri="{FF2B5EF4-FFF2-40B4-BE49-F238E27FC236}">
                        <a16:creationId xmlns:a16="http://schemas.microsoft.com/office/drawing/2014/main" id="{F90F2859-7F90-32F0-F344-2D9284D8842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7505" y="4951414"/>
                    <a:ext cx="50800" cy="150813"/>
                  </a:xfrm>
                  <a:custGeom>
                    <a:avLst/>
                    <a:gdLst>
                      <a:gd name="T0" fmla="*/ 8 w 26"/>
                      <a:gd name="T1" fmla="*/ 0 h 77"/>
                      <a:gd name="T2" fmla="*/ 1 w 26"/>
                      <a:gd name="T3" fmla="*/ 34 h 77"/>
                      <a:gd name="T4" fmla="*/ 26 w 26"/>
                      <a:gd name="T5" fmla="*/ 77 h 77"/>
                      <a:gd name="T6" fmla="*/ 12 w 26"/>
                      <a:gd name="T7" fmla="*/ 31 h 77"/>
                      <a:gd name="T8" fmla="*/ 5 w 26"/>
                      <a:gd name="T9" fmla="*/ 28 h 77"/>
                      <a:gd name="T10" fmla="*/ 12 w 26"/>
                      <a:gd name="T11" fmla="*/ 23 h 77"/>
                      <a:gd name="T12" fmla="*/ 12 w 26"/>
                      <a:gd name="T13" fmla="*/ 1 h 77"/>
                      <a:gd name="T14" fmla="*/ 8 w 26"/>
                      <a:gd name="T15" fmla="*/ 0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6" h="77">
                        <a:moveTo>
                          <a:pt x="8" y="0"/>
                        </a:moveTo>
                        <a:cubicBezTo>
                          <a:pt x="8" y="0"/>
                          <a:pt x="0" y="15"/>
                          <a:pt x="1" y="34"/>
                        </a:cubicBezTo>
                        <a:cubicBezTo>
                          <a:pt x="2" y="54"/>
                          <a:pt x="22" y="73"/>
                          <a:pt x="26" y="77"/>
                        </a:cubicBezTo>
                        <a:cubicBezTo>
                          <a:pt x="16" y="59"/>
                          <a:pt x="12" y="31"/>
                          <a:pt x="12" y="31"/>
                        </a:cubicBezTo>
                        <a:cubicBezTo>
                          <a:pt x="5" y="28"/>
                          <a:pt x="5" y="28"/>
                          <a:pt x="5" y="28"/>
                        </a:cubicBezTo>
                        <a:cubicBezTo>
                          <a:pt x="12" y="23"/>
                          <a:pt x="12" y="23"/>
                          <a:pt x="12" y="23"/>
                        </a:cubicBezTo>
                        <a:cubicBezTo>
                          <a:pt x="12" y="1"/>
                          <a:pt x="12" y="1"/>
                          <a:pt x="12" y="1"/>
                        </a:cubicBezTo>
                        <a:lnTo>
                          <a:pt x="8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" name="Freeform 275">
                    <a:extLst>
                      <a:ext uri="{FF2B5EF4-FFF2-40B4-BE49-F238E27FC236}">
                        <a16:creationId xmlns:a16="http://schemas.microsoft.com/office/drawing/2014/main" id="{267FA511-174C-7A14-DD90-FD14A7336F6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87317" y="5113339"/>
                    <a:ext cx="174625" cy="79375"/>
                  </a:xfrm>
                  <a:custGeom>
                    <a:avLst/>
                    <a:gdLst>
                      <a:gd name="T0" fmla="*/ 1 w 110"/>
                      <a:gd name="T1" fmla="*/ 0 h 50"/>
                      <a:gd name="T2" fmla="*/ 110 w 110"/>
                      <a:gd name="T3" fmla="*/ 22 h 50"/>
                      <a:gd name="T4" fmla="*/ 95 w 110"/>
                      <a:gd name="T5" fmla="*/ 50 h 50"/>
                      <a:gd name="T6" fmla="*/ 0 w 110"/>
                      <a:gd name="T7" fmla="*/ 12 h 50"/>
                      <a:gd name="T8" fmla="*/ 1 w 110"/>
                      <a:gd name="T9" fmla="*/ 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0" h="50">
                        <a:moveTo>
                          <a:pt x="1" y="0"/>
                        </a:moveTo>
                        <a:lnTo>
                          <a:pt x="110" y="22"/>
                        </a:lnTo>
                        <a:lnTo>
                          <a:pt x="95" y="50"/>
                        </a:lnTo>
                        <a:lnTo>
                          <a:pt x="0" y="12"/>
                        </a:ln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" name="Freeform 276">
                    <a:extLst>
                      <a:ext uri="{FF2B5EF4-FFF2-40B4-BE49-F238E27FC236}">
                        <a16:creationId xmlns:a16="http://schemas.microsoft.com/office/drawing/2014/main" id="{9F21D1B1-2B54-0EBF-7C98-21363093C8F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77805" y="4949826"/>
                    <a:ext cx="252413" cy="258763"/>
                  </a:xfrm>
                  <a:custGeom>
                    <a:avLst/>
                    <a:gdLst>
                      <a:gd name="T0" fmla="*/ 7 w 128"/>
                      <a:gd name="T1" fmla="*/ 93 h 132"/>
                      <a:gd name="T2" fmla="*/ 49 w 128"/>
                      <a:gd name="T3" fmla="*/ 102 h 132"/>
                      <a:gd name="T4" fmla="*/ 91 w 128"/>
                      <a:gd name="T5" fmla="*/ 24 h 132"/>
                      <a:gd name="T6" fmla="*/ 121 w 128"/>
                      <a:gd name="T7" fmla="*/ 53 h 132"/>
                      <a:gd name="T8" fmla="*/ 70 w 128"/>
                      <a:gd name="T9" fmla="*/ 119 h 132"/>
                      <a:gd name="T10" fmla="*/ 38 w 128"/>
                      <a:gd name="T11" fmla="*/ 127 h 132"/>
                      <a:gd name="T12" fmla="*/ 0 w 128"/>
                      <a:gd name="T13" fmla="*/ 112 h 132"/>
                      <a:gd name="T14" fmla="*/ 7 w 128"/>
                      <a:gd name="T15" fmla="*/ 93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8" h="132">
                        <a:moveTo>
                          <a:pt x="7" y="93"/>
                        </a:moveTo>
                        <a:cubicBezTo>
                          <a:pt x="49" y="102"/>
                          <a:pt x="49" y="102"/>
                          <a:pt x="49" y="102"/>
                        </a:cubicBezTo>
                        <a:cubicBezTo>
                          <a:pt x="49" y="102"/>
                          <a:pt x="81" y="54"/>
                          <a:pt x="91" y="24"/>
                        </a:cubicBezTo>
                        <a:cubicBezTo>
                          <a:pt x="109" y="0"/>
                          <a:pt x="128" y="26"/>
                          <a:pt x="121" y="53"/>
                        </a:cubicBezTo>
                        <a:cubicBezTo>
                          <a:pt x="101" y="86"/>
                          <a:pt x="82" y="108"/>
                          <a:pt x="70" y="119"/>
                        </a:cubicBezTo>
                        <a:cubicBezTo>
                          <a:pt x="55" y="132"/>
                          <a:pt x="38" y="127"/>
                          <a:pt x="38" y="127"/>
                        </a:cubicBezTo>
                        <a:cubicBezTo>
                          <a:pt x="38" y="127"/>
                          <a:pt x="14" y="117"/>
                          <a:pt x="0" y="112"/>
                        </a:cubicBezTo>
                        <a:lnTo>
                          <a:pt x="7" y="93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" name="Freeform 278">
                    <a:extLst>
                      <a:ext uri="{FF2B5EF4-FFF2-40B4-BE49-F238E27FC236}">
                        <a16:creationId xmlns:a16="http://schemas.microsoft.com/office/drawing/2014/main" id="{BC3F84F6-9795-89B0-D9FD-E622CBEFF08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12705" y="5087939"/>
                    <a:ext cx="79375" cy="46038"/>
                  </a:xfrm>
                  <a:custGeom>
                    <a:avLst/>
                    <a:gdLst>
                      <a:gd name="T0" fmla="*/ 40 w 40"/>
                      <a:gd name="T1" fmla="*/ 14 h 24"/>
                      <a:gd name="T2" fmla="*/ 31 w 40"/>
                      <a:gd name="T3" fmla="*/ 9 h 24"/>
                      <a:gd name="T4" fmla="*/ 24 w 40"/>
                      <a:gd name="T5" fmla="*/ 4 h 24"/>
                      <a:gd name="T6" fmla="*/ 21 w 40"/>
                      <a:gd name="T7" fmla="*/ 2 h 24"/>
                      <a:gd name="T8" fmla="*/ 4 w 40"/>
                      <a:gd name="T9" fmla="*/ 1 h 24"/>
                      <a:gd name="T10" fmla="*/ 4 w 40"/>
                      <a:gd name="T11" fmla="*/ 2 h 24"/>
                      <a:gd name="T12" fmla="*/ 12 w 40"/>
                      <a:gd name="T13" fmla="*/ 4 h 24"/>
                      <a:gd name="T14" fmla="*/ 1 w 40"/>
                      <a:gd name="T15" fmla="*/ 7 h 24"/>
                      <a:gd name="T16" fmla="*/ 3 w 40"/>
                      <a:gd name="T17" fmla="*/ 9 h 24"/>
                      <a:gd name="T18" fmla="*/ 11 w 40"/>
                      <a:gd name="T19" fmla="*/ 8 h 24"/>
                      <a:gd name="T20" fmla="*/ 25 w 40"/>
                      <a:gd name="T21" fmla="*/ 20 h 24"/>
                      <a:gd name="T22" fmla="*/ 19 w 40"/>
                      <a:gd name="T23" fmla="*/ 21 h 24"/>
                      <a:gd name="T24" fmla="*/ 22 w 40"/>
                      <a:gd name="T25" fmla="*/ 24 h 24"/>
                      <a:gd name="T26" fmla="*/ 39 w 40"/>
                      <a:gd name="T27" fmla="*/ 23 h 24"/>
                      <a:gd name="T28" fmla="*/ 40 w 40"/>
                      <a:gd name="T29" fmla="*/ 14 h 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0" h="24">
                        <a:moveTo>
                          <a:pt x="40" y="14"/>
                        </a:moveTo>
                        <a:cubicBezTo>
                          <a:pt x="40" y="14"/>
                          <a:pt x="35" y="12"/>
                          <a:pt x="31" y="9"/>
                        </a:cubicBezTo>
                        <a:cubicBezTo>
                          <a:pt x="28" y="7"/>
                          <a:pt x="24" y="4"/>
                          <a:pt x="24" y="4"/>
                        </a:cubicBezTo>
                        <a:cubicBezTo>
                          <a:pt x="24" y="4"/>
                          <a:pt x="23" y="3"/>
                          <a:pt x="21" y="2"/>
                        </a:cubicBezTo>
                        <a:cubicBezTo>
                          <a:pt x="20" y="1"/>
                          <a:pt x="12" y="0"/>
                          <a:pt x="4" y="1"/>
                        </a:cubicBezTo>
                        <a:cubicBezTo>
                          <a:pt x="3" y="1"/>
                          <a:pt x="3" y="2"/>
                          <a:pt x="4" y="2"/>
                        </a:cubicBezTo>
                        <a:cubicBezTo>
                          <a:pt x="5" y="3"/>
                          <a:pt x="12" y="4"/>
                          <a:pt x="12" y="4"/>
                        </a:cubicBezTo>
                        <a:cubicBezTo>
                          <a:pt x="12" y="4"/>
                          <a:pt x="3" y="6"/>
                          <a:pt x="1" y="7"/>
                        </a:cubicBezTo>
                        <a:cubicBezTo>
                          <a:pt x="0" y="7"/>
                          <a:pt x="1" y="9"/>
                          <a:pt x="3" y="9"/>
                        </a:cubicBezTo>
                        <a:cubicBezTo>
                          <a:pt x="4" y="9"/>
                          <a:pt x="11" y="8"/>
                          <a:pt x="11" y="8"/>
                        </a:cubicBezTo>
                        <a:cubicBezTo>
                          <a:pt x="25" y="20"/>
                          <a:pt x="25" y="20"/>
                          <a:pt x="25" y="20"/>
                        </a:cubicBezTo>
                        <a:cubicBezTo>
                          <a:pt x="19" y="21"/>
                          <a:pt x="19" y="21"/>
                          <a:pt x="19" y="21"/>
                        </a:cubicBezTo>
                        <a:cubicBezTo>
                          <a:pt x="22" y="24"/>
                          <a:pt x="22" y="24"/>
                          <a:pt x="22" y="24"/>
                        </a:cubicBezTo>
                        <a:cubicBezTo>
                          <a:pt x="22" y="24"/>
                          <a:pt x="30" y="24"/>
                          <a:pt x="39" y="23"/>
                        </a:cubicBezTo>
                        <a:lnTo>
                          <a:pt x="40" y="14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" name="Freeform 279">
                    <a:extLst>
                      <a:ext uri="{FF2B5EF4-FFF2-40B4-BE49-F238E27FC236}">
                        <a16:creationId xmlns:a16="http://schemas.microsoft.com/office/drawing/2014/main" id="{09DFEC30-3D53-14AA-0FF4-46B3C6F66C7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2405" y="5707064"/>
                    <a:ext cx="63500" cy="38100"/>
                  </a:xfrm>
                  <a:custGeom>
                    <a:avLst/>
                    <a:gdLst>
                      <a:gd name="T0" fmla="*/ 11 w 32"/>
                      <a:gd name="T1" fmla="*/ 9 h 19"/>
                      <a:gd name="T2" fmla="*/ 2 w 32"/>
                      <a:gd name="T3" fmla="*/ 11 h 19"/>
                      <a:gd name="T4" fmla="*/ 1 w 32"/>
                      <a:gd name="T5" fmla="*/ 14 h 19"/>
                      <a:gd name="T6" fmla="*/ 13 w 32"/>
                      <a:gd name="T7" fmla="*/ 16 h 19"/>
                      <a:gd name="T8" fmla="*/ 23 w 32"/>
                      <a:gd name="T9" fmla="*/ 10 h 19"/>
                      <a:gd name="T10" fmla="*/ 22 w 32"/>
                      <a:gd name="T11" fmla="*/ 18 h 19"/>
                      <a:gd name="T12" fmla="*/ 26 w 32"/>
                      <a:gd name="T13" fmla="*/ 19 h 19"/>
                      <a:gd name="T14" fmla="*/ 30 w 32"/>
                      <a:gd name="T15" fmla="*/ 6 h 19"/>
                      <a:gd name="T16" fmla="*/ 31 w 32"/>
                      <a:gd name="T17" fmla="*/ 0 h 19"/>
                      <a:gd name="T18" fmla="*/ 23 w 32"/>
                      <a:gd name="T19" fmla="*/ 5 h 19"/>
                      <a:gd name="T20" fmla="*/ 11 w 32"/>
                      <a:gd name="T21" fmla="*/ 9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2" h="19">
                        <a:moveTo>
                          <a:pt x="11" y="9"/>
                        </a:moveTo>
                        <a:cubicBezTo>
                          <a:pt x="8" y="9"/>
                          <a:pt x="3" y="11"/>
                          <a:pt x="2" y="11"/>
                        </a:cubicBezTo>
                        <a:cubicBezTo>
                          <a:pt x="0" y="11"/>
                          <a:pt x="1" y="14"/>
                          <a:pt x="1" y="14"/>
                        </a:cubicBezTo>
                        <a:cubicBezTo>
                          <a:pt x="1" y="14"/>
                          <a:pt x="11" y="15"/>
                          <a:pt x="13" y="16"/>
                        </a:cubicBezTo>
                        <a:cubicBezTo>
                          <a:pt x="15" y="16"/>
                          <a:pt x="23" y="10"/>
                          <a:pt x="23" y="10"/>
                        </a:cubicBezTo>
                        <a:cubicBezTo>
                          <a:pt x="22" y="18"/>
                          <a:pt x="22" y="18"/>
                          <a:pt x="22" y="18"/>
                        </a:cubicBezTo>
                        <a:cubicBezTo>
                          <a:pt x="26" y="19"/>
                          <a:pt x="26" y="19"/>
                          <a:pt x="26" y="19"/>
                        </a:cubicBezTo>
                        <a:cubicBezTo>
                          <a:pt x="26" y="19"/>
                          <a:pt x="28" y="12"/>
                          <a:pt x="30" y="6"/>
                        </a:cubicBezTo>
                        <a:cubicBezTo>
                          <a:pt x="32" y="3"/>
                          <a:pt x="31" y="0"/>
                          <a:pt x="31" y="0"/>
                        </a:cubicBezTo>
                        <a:cubicBezTo>
                          <a:pt x="31" y="0"/>
                          <a:pt x="29" y="0"/>
                          <a:pt x="23" y="5"/>
                        </a:cubicBezTo>
                        <a:cubicBezTo>
                          <a:pt x="17" y="11"/>
                          <a:pt x="13" y="9"/>
                          <a:pt x="11" y="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4" name="Freeform 179">
                  <a:extLst>
                    <a:ext uri="{FF2B5EF4-FFF2-40B4-BE49-F238E27FC236}">
                      <a16:creationId xmlns:a16="http://schemas.microsoft.com/office/drawing/2014/main" id="{7B954827-99B6-9349-6251-FF03FA3573B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81113" y="4808808"/>
                  <a:ext cx="566968" cy="273800"/>
                </a:xfrm>
                <a:custGeom>
                  <a:avLst/>
                  <a:gdLst>
                    <a:gd name="T0" fmla="*/ 262 w 551"/>
                    <a:gd name="T1" fmla="*/ 0 h 266"/>
                    <a:gd name="T2" fmla="*/ 238 w 551"/>
                    <a:gd name="T3" fmla="*/ 1 h 266"/>
                    <a:gd name="T4" fmla="*/ 240 w 551"/>
                    <a:gd name="T5" fmla="*/ 6 h 266"/>
                    <a:gd name="T6" fmla="*/ 264 w 551"/>
                    <a:gd name="T7" fmla="*/ 12 h 266"/>
                    <a:gd name="T8" fmla="*/ 282 w 551"/>
                    <a:gd name="T9" fmla="*/ 24 h 266"/>
                    <a:gd name="T10" fmla="*/ 281 w 551"/>
                    <a:gd name="T11" fmla="*/ 24 h 266"/>
                    <a:gd name="T12" fmla="*/ 280 w 551"/>
                    <a:gd name="T13" fmla="*/ 111 h 266"/>
                    <a:gd name="T14" fmla="*/ 218 w 551"/>
                    <a:gd name="T15" fmla="*/ 100 h 266"/>
                    <a:gd name="T16" fmla="*/ 166 w 551"/>
                    <a:gd name="T17" fmla="*/ 128 h 266"/>
                    <a:gd name="T18" fmla="*/ 94 w 551"/>
                    <a:gd name="T19" fmla="*/ 246 h 266"/>
                    <a:gd name="T20" fmla="*/ 0 w 551"/>
                    <a:gd name="T21" fmla="*/ 266 h 266"/>
                    <a:gd name="T22" fmla="*/ 224 w 551"/>
                    <a:gd name="T23" fmla="*/ 266 h 266"/>
                    <a:gd name="T24" fmla="*/ 241 w 551"/>
                    <a:gd name="T25" fmla="*/ 240 h 266"/>
                    <a:gd name="T26" fmla="*/ 212 w 551"/>
                    <a:gd name="T27" fmla="*/ 236 h 266"/>
                    <a:gd name="T28" fmla="*/ 217 w 551"/>
                    <a:gd name="T29" fmla="*/ 156 h 266"/>
                    <a:gd name="T30" fmla="*/ 280 w 551"/>
                    <a:gd name="T31" fmla="*/ 166 h 266"/>
                    <a:gd name="T32" fmla="*/ 279 w 551"/>
                    <a:gd name="T33" fmla="*/ 266 h 266"/>
                    <a:gd name="T34" fmla="*/ 364 w 551"/>
                    <a:gd name="T35" fmla="*/ 266 h 266"/>
                    <a:gd name="T36" fmla="*/ 348 w 551"/>
                    <a:gd name="T37" fmla="*/ 167 h 266"/>
                    <a:gd name="T38" fmla="*/ 451 w 551"/>
                    <a:gd name="T39" fmla="*/ 166 h 266"/>
                    <a:gd name="T40" fmla="*/ 510 w 551"/>
                    <a:gd name="T41" fmla="*/ 167 h 266"/>
                    <a:gd name="T42" fmla="*/ 519 w 551"/>
                    <a:gd name="T43" fmla="*/ 168 h 266"/>
                    <a:gd name="T44" fmla="*/ 521 w 551"/>
                    <a:gd name="T45" fmla="*/ 168 h 266"/>
                    <a:gd name="T46" fmla="*/ 545 w 551"/>
                    <a:gd name="T47" fmla="*/ 168 h 266"/>
                    <a:gd name="T48" fmla="*/ 546 w 551"/>
                    <a:gd name="T49" fmla="*/ 160 h 266"/>
                    <a:gd name="T50" fmla="*/ 532 w 551"/>
                    <a:gd name="T51" fmla="*/ 158 h 266"/>
                    <a:gd name="T52" fmla="*/ 548 w 551"/>
                    <a:gd name="T53" fmla="*/ 143 h 266"/>
                    <a:gd name="T54" fmla="*/ 551 w 551"/>
                    <a:gd name="T55" fmla="*/ 121 h 266"/>
                    <a:gd name="T56" fmla="*/ 548 w 551"/>
                    <a:gd name="T57" fmla="*/ 119 h 266"/>
                    <a:gd name="T58" fmla="*/ 545 w 551"/>
                    <a:gd name="T59" fmla="*/ 121 h 266"/>
                    <a:gd name="T60" fmla="*/ 537 w 551"/>
                    <a:gd name="T61" fmla="*/ 135 h 266"/>
                    <a:gd name="T62" fmla="*/ 511 w 551"/>
                    <a:gd name="T63" fmla="*/ 150 h 266"/>
                    <a:gd name="T64" fmla="*/ 338 w 551"/>
                    <a:gd name="T65" fmla="*/ 121 h 266"/>
                    <a:gd name="T66" fmla="*/ 315 w 551"/>
                    <a:gd name="T67" fmla="*/ 27 h 266"/>
                    <a:gd name="T68" fmla="*/ 306 w 551"/>
                    <a:gd name="T69" fmla="*/ 25 h 266"/>
                    <a:gd name="T70" fmla="*/ 306 w 551"/>
                    <a:gd name="T71" fmla="*/ 22 h 266"/>
                    <a:gd name="T72" fmla="*/ 306 w 551"/>
                    <a:gd name="T73" fmla="*/ 0 h 266"/>
                    <a:gd name="T74" fmla="*/ 288 w 551"/>
                    <a:gd name="T75" fmla="*/ 0 h 266"/>
                    <a:gd name="T76" fmla="*/ 287 w 551"/>
                    <a:gd name="T77" fmla="*/ 8 h 266"/>
                    <a:gd name="T78" fmla="*/ 262 w 551"/>
                    <a:gd name="T79" fmla="*/ 0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551" h="266">
                      <a:moveTo>
                        <a:pt x="262" y="0"/>
                      </a:moveTo>
                      <a:cubicBezTo>
                        <a:pt x="238" y="1"/>
                        <a:pt x="238" y="1"/>
                        <a:pt x="238" y="1"/>
                      </a:cubicBezTo>
                      <a:cubicBezTo>
                        <a:pt x="238" y="1"/>
                        <a:pt x="235" y="5"/>
                        <a:pt x="240" y="6"/>
                      </a:cubicBezTo>
                      <a:cubicBezTo>
                        <a:pt x="241" y="6"/>
                        <a:pt x="264" y="12"/>
                        <a:pt x="264" y="12"/>
                      </a:cubicBezTo>
                      <a:cubicBezTo>
                        <a:pt x="282" y="24"/>
                        <a:pt x="282" y="24"/>
                        <a:pt x="282" y="24"/>
                      </a:cubicBezTo>
                      <a:cubicBezTo>
                        <a:pt x="281" y="24"/>
                        <a:pt x="281" y="24"/>
                        <a:pt x="281" y="24"/>
                      </a:cubicBezTo>
                      <a:cubicBezTo>
                        <a:pt x="280" y="111"/>
                        <a:pt x="280" y="111"/>
                        <a:pt x="280" y="111"/>
                      </a:cubicBezTo>
                      <a:cubicBezTo>
                        <a:pt x="218" y="100"/>
                        <a:pt x="218" y="100"/>
                        <a:pt x="218" y="100"/>
                      </a:cubicBezTo>
                      <a:cubicBezTo>
                        <a:pt x="218" y="100"/>
                        <a:pt x="187" y="101"/>
                        <a:pt x="166" y="128"/>
                      </a:cubicBezTo>
                      <a:cubicBezTo>
                        <a:pt x="163" y="132"/>
                        <a:pt x="129" y="188"/>
                        <a:pt x="94" y="246"/>
                      </a:cubicBezTo>
                      <a:cubicBezTo>
                        <a:pt x="63" y="251"/>
                        <a:pt x="31" y="258"/>
                        <a:pt x="0" y="266"/>
                      </a:cubicBezTo>
                      <a:cubicBezTo>
                        <a:pt x="224" y="266"/>
                        <a:pt x="224" y="266"/>
                        <a:pt x="224" y="266"/>
                      </a:cubicBezTo>
                      <a:cubicBezTo>
                        <a:pt x="228" y="258"/>
                        <a:pt x="233" y="249"/>
                        <a:pt x="241" y="240"/>
                      </a:cubicBezTo>
                      <a:cubicBezTo>
                        <a:pt x="234" y="238"/>
                        <a:pt x="224" y="237"/>
                        <a:pt x="212" y="236"/>
                      </a:cubicBezTo>
                      <a:cubicBezTo>
                        <a:pt x="215" y="205"/>
                        <a:pt x="216" y="176"/>
                        <a:pt x="217" y="156"/>
                      </a:cubicBezTo>
                      <a:cubicBezTo>
                        <a:pt x="224" y="162"/>
                        <a:pt x="248" y="165"/>
                        <a:pt x="280" y="166"/>
                      </a:cubicBezTo>
                      <a:cubicBezTo>
                        <a:pt x="279" y="266"/>
                        <a:pt x="279" y="266"/>
                        <a:pt x="279" y="266"/>
                      </a:cubicBezTo>
                      <a:cubicBezTo>
                        <a:pt x="364" y="266"/>
                        <a:pt x="364" y="266"/>
                        <a:pt x="364" y="266"/>
                      </a:cubicBezTo>
                      <a:cubicBezTo>
                        <a:pt x="362" y="236"/>
                        <a:pt x="356" y="201"/>
                        <a:pt x="348" y="167"/>
                      </a:cubicBezTo>
                      <a:cubicBezTo>
                        <a:pt x="382" y="166"/>
                        <a:pt x="417" y="166"/>
                        <a:pt x="451" y="166"/>
                      </a:cubicBezTo>
                      <a:cubicBezTo>
                        <a:pt x="472" y="166"/>
                        <a:pt x="492" y="166"/>
                        <a:pt x="510" y="167"/>
                      </a:cubicBezTo>
                      <a:cubicBezTo>
                        <a:pt x="510" y="167"/>
                        <a:pt x="514" y="168"/>
                        <a:pt x="519" y="168"/>
                      </a:cubicBezTo>
                      <a:cubicBezTo>
                        <a:pt x="520" y="168"/>
                        <a:pt x="520" y="168"/>
                        <a:pt x="521" y="168"/>
                      </a:cubicBezTo>
                      <a:cubicBezTo>
                        <a:pt x="532" y="168"/>
                        <a:pt x="545" y="168"/>
                        <a:pt x="545" y="168"/>
                      </a:cubicBezTo>
                      <a:cubicBezTo>
                        <a:pt x="546" y="160"/>
                        <a:pt x="546" y="160"/>
                        <a:pt x="546" y="160"/>
                      </a:cubicBezTo>
                      <a:cubicBezTo>
                        <a:pt x="532" y="158"/>
                        <a:pt x="532" y="158"/>
                        <a:pt x="532" y="158"/>
                      </a:cubicBezTo>
                      <a:cubicBezTo>
                        <a:pt x="532" y="158"/>
                        <a:pt x="547" y="147"/>
                        <a:pt x="548" y="143"/>
                      </a:cubicBezTo>
                      <a:cubicBezTo>
                        <a:pt x="548" y="139"/>
                        <a:pt x="551" y="121"/>
                        <a:pt x="551" y="121"/>
                      </a:cubicBezTo>
                      <a:cubicBezTo>
                        <a:pt x="551" y="121"/>
                        <a:pt x="549" y="119"/>
                        <a:pt x="548" y="119"/>
                      </a:cubicBezTo>
                      <a:cubicBezTo>
                        <a:pt x="547" y="119"/>
                        <a:pt x="546" y="120"/>
                        <a:pt x="545" y="121"/>
                      </a:cubicBezTo>
                      <a:cubicBezTo>
                        <a:pt x="545" y="123"/>
                        <a:pt x="539" y="131"/>
                        <a:pt x="537" y="135"/>
                      </a:cubicBezTo>
                      <a:cubicBezTo>
                        <a:pt x="511" y="150"/>
                        <a:pt x="511" y="150"/>
                        <a:pt x="511" y="150"/>
                      </a:cubicBezTo>
                      <a:cubicBezTo>
                        <a:pt x="338" y="121"/>
                        <a:pt x="338" y="121"/>
                        <a:pt x="338" y="121"/>
                      </a:cubicBezTo>
                      <a:cubicBezTo>
                        <a:pt x="326" y="73"/>
                        <a:pt x="315" y="27"/>
                        <a:pt x="315" y="27"/>
                      </a:cubicBezTo>
                      <a:cubicBezTo>
                        <a:pt x="306" y="25"/>
                        <a:pt x="306" y="25"/>
                        <a:pt x="306" y="25"/>
                      </a:cubicBezTo>
                      <a:cubicBezTo>
                        <a:pt x="306" y="22"/>
                        <a:pt x="306" y="22"/>
                        <a:pt x="306" y="22"/>
                      </a:cubicBezTo>
                      <a:cubicBezTo>
                        <a:pt x="306" y="0"/>
                        <a:pt x="306" y="0"/>
                        <a:pt x="306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87" y="8"/>
                        <a:pt x="287" y="8"/>
                        <a:pt x="287" y="8"/>
                      </a:cubicBezTo>
                      <a:cubicBezTo>
                        <a:pt x="262" y="0"/>
                        <a:pt x="262" y="0"/>
                        <a:pt x="262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5" name="Freeform 178">
                  <a:extLst>
                    <a:ext uri="{FF2B5EF4-FFF2-40B4-BE49-F238E27FC236}">
                      <a16:creationId xmlns:a16="http://schemas.microsoft.com/office/drawing/2014/main" id="{6889883C-C83F-972B-C4EA-9D50EB0999D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695018" y="4798755"/>
                  <a:ext cx="340636" cy="295218"/>
                </a:xfrm>
                <a:custGeom>
                  <a:avLst/>
                  <a:gdLst>
                    <a:gd name="T0" fmla="*/ 214 w 308"/>
                    <a:gd name="T1" fmla="*/ 0 h 267"/>
                    <a:gd name="T2" fmla="*/ 208 w 308"/>
                    <a:gd name="T3" fmla="*/ 1 h 267"/>
                    <a:gd name="T4" fmla="*/ 210 w 308"/>
                    <a:gd name="T5" fmla="*/ 13 h 267"/>
                    <a:gd name="T6" fmla="*/ 195 w 308"/>
                    <a:gd name="T7" fmla="*/ 4 h 267"/>
                    <a:gd name="T8" fmla="*/ 194 w 308"/>
                    <a:gd name="T9" fmla="*/ 4 h 267"/>
                    <a:gd name="T10" fmla="*/ 175 w 308"/>
                    <a:gd name="T11" fmla="*/ 8 h 267"/>
                    <a:gd name="T12" fmla="*/ 177 w 308"/>
                    <a:gd name="T13" fmla="*/ 12 h 267"/>
                    <a:gd name="T14" fmla="*/ 190 w 308"/>
                    <a:gd name="T15" fmla="*/ 16 h 267"/>
                    <a:gd name="T16" fmla="*/ 210 w 308"/>
                    <a:gd name="T17" fmla="*/ 32 h 267"/>
                    <a:gd name="T18" fmla="*/ 230 w 308"/>
                    <a:gd name="T19" fmla="*/ 190 h 267"/>
                    <a:gd name="T20" fmla="*/ 172 w 308"/>
                    <a:gd name="T21" fmla="*/ 119 h 267"/>
                    <a:gd name="T22" fmla="*/ 124 w 308"/>
                    <a:gd name="T23" fmla="*/ 94 h 267"/>
                    <a:gd name="T24" fmla="*/ 74 w 308"/>
                    <a:gd name="T25" fmla="*/ 128 h 267"/>
                    <a:gd name="T26" fmla="*/ 0 w 308"/>
                    <a:gd name="T27" fmla="*/ 267 h 267"/>
                    <a:gd name="T28" fmla="*/ 135 w 308"/>
                    <a:gd name="T29" fmla="*/ 267 h 267"/>
                    <a:gd name="T30" fmla="*/ 139 w 308"/>
                    <a:gd name="T31" fmla="*/ 192 h 267"/>
                    <a:gd name="T32" fmla="*/ 218 w 308"/>
                    <a:gd name="T33" fmla="*/ 267 h 267"/>
                    <a:gd name="T34" fmla="*/ 308 w 308"/>
                    <a:gd name="T35" fmla="*/ 267 h 267"/>
                    <a:gd name="T36" fmla="*/ 223 w 308"/>
                    <a:gd name="T37" fmla="*/ 29 h 267"/>
                    <a:gd name="T38" fmla="*/ 222 w 308"/>
                    <a:gd name="T39" fmla="*/ 20 h 267"/>
                    <a:gd name="T40" fmla="*/ 214 w 308"/>
                    <a:gd name="T41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08" h="267">
                      <a:moveTo>
                        <a:pt x="214" y="0"/>
                      </a:moveTo>
                      <a:cubicBezTo>
                        <a:pt x="208" y="1"/>
                        <a:pt x="208" y="1"/>
                        <a:pt x="208" y="1"/>
                      </a:cubicBezTo>
                      <a:cubicBezTo>
                        <a:pt x="210" y="13"/>
                        <a:pt x="210" y="13"/>
                        <a:pt x="210" y="13"/>
                      </a:cubicBezTo>
                      <a:cubicBezTo>
                        <a:pt x="210" y="13"/>
                        <a:pt x="198" y="4"/>
                        <a:pt x="195" y="4"/>
                      </a:cubicBezTo>
                      <a:cubicBezTo>
                        <a:pt x="194" y="4"/>
                        <a:pt x="194" y="4"/>
                        <a:pt x="194" y="4"/>
                      </a:cubicBezTo>
                      <a:cubicBezTo>
                        <a:pt x="191" y="5"/>
                        <a:pt x="175" y="8"/>
                        <a:pt x="175" y="8"/>
                      </a:cubicBezTo>
                      <a:cubicBezTo>
                        <a:pt x="175" y="8"/>
                        <a:pt x="173" y="12"/>
                        <a:pt x="177" y="12"/>
                      </a:cubicBezTo>
                      <a:cubicBezTo>
                        <a:pt x="178" y="12"/>
                        <a:pt x="187" y="15"/>
                        <a:pt x="190" y="16"/>
                      </a:cubicBezTo>
                      <a:cubicBezTo>
                        <a:pt x="210" y="32"/>
                        <a:pt x="210" y="32"/>
                        <a:pt x="210" y="32"/>
                      </a:cubicBezTo>
                      <a:cubicBezTo>
                        <a:pt x="230" y="190"/>
                        <a:pt x="230" y="190"/>
                        <a:pt x="230" y="190"/>
                      </a:cubicBezTo>
                      <a:cubicBezTo>
                        <a:pt x="200" y="154"/>
                        <a:pt x="177" y="125"/>
                        <a:pt x="172" y="119"/>
                      </a:cubicBezTo>
                      <a:cubicBezTo>
                        <a:pt x="164" y="107"/>
                        <a:pt x="145" y="94"/>
                        <a:pt x="124" y="94"/>
                      </a:cubicBezTo>
                      <a:cubicBezTo>
                        <a:pt x="107" y="94"/>
                        <a:pt x="89" y="102"/>
                        <a:pt x="74" y="128"/>
                      </a:cubicBezTo>
                      <a:cubicBezTo>
                        <a:pt x="54" y="164"/>
                        <a:pt x="24" y="222"/>
                        <a:pt x="0" y="267"/>
                      </a:cubicBezTo>
                      <a:cubicBezTo>
                        <a:pt x="135" y="267"/>
                        <a:pt x="135" y="267"/>
                        <a:pt x="135" y="267"/>
                      </a:cubicBezTo>
                      <a:cubicBezTo>
                        <a:pt x="138" y="241"/>
                        <a:pt x="139" y="214"/>
                        <a:pt x="139" y="192"/>
                      </a:cubicBezTo>
                      <a:cubicBezTo>
                        <a:pt x="218" y="267"/>
                        <a:pt x="218" y="267"/>
                        <a:pt x="218" y="267"/>
                      </a:cubicBezTo>
                      <a:cubicBezTo>
                        <a:pt x="308" y="267"/>
                        <a:pt x="308" y="267"/>
                        <a:pt x="308" y="267"/>
                      </a:cubicBezTo>
                      <a:cubicBezTo>
                        <a:pt x="297" y="187"/>
                        <a:pt x="223" y="29"/>
                        <a:pt x="223" y="29"/>
                      </a:cubicBezTo>
                      <a:cubicBezTo>
                        <a:pt x="223" y="29"/>
                        <a:pt x="223" y="24"/>
                        <a:pt x="222" y="20"/>
                      </a:cubicBezTo>
                      <a:cubicBezTo>
                        <a:pt x="218" y="11"/>
                        <a:pt x="214" y="0"/>
                        <a:pt x="214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6" name="Freeform 176">
                  <a:extLst>
                    <a:ext uri="{FF2B5EF4-FFF2-40B4-BE49-F238E27FC236}">
                      <a16:creationId xmlns:a16="http://schemas.microsoft.com/office/drawing/2014/main" id="{04534560-2156-0B51-0C3C-A8876353CCF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36034" y="4916018"/>
                  <a:ext cx="541027" cy="181578"/>
                </a:xfrm>
                <a:custGeom>
                  <a:avLst/>
                  <a:gdLst>
                    <a:gd name="T0" fmla="*/ 91 w 375"/>
                    <a:gd name="T1" fmla="*/ 0 h 126"/>
                    <a:gd name="T2" fmla="*/ 48 w 375"/>
                    <a:gd name="T3" fmla="*/ 25 h 126"/>
                    <a:gd name="T4" fmla="*/ 0 w 375"/>
                    <a:gd name="T5" fmla="*/ 126 h 126"/>
                    <a:gd name="T6" fmla="*/ 88 w 375"/>
                    <a:gd name="T7" fmla="*/ 126 h 126"/>
                    <a:gd name="T8" fmla="*/ 92 w 375"/>
                    <a:gd name="T9" fmla="*/ 48 h 126"/>
                    <a:gd name="T10" fmla="*/ 152 w 375"/>
                    <a:gd name="T11" fmla="*/ 55 h 126"/>
                    <a:gd name="T12" fmla="*/ 240 w 375"/>
                    <a:gd name="T13" fmla="*/ 52 h 126"/>
                    <a:gd name="T14" fmla="*/ 331 w 375"/>
                    <a:gd name="T15" fmla="*/ 50 h 126"/>
                    <a:gd name="T16" fmla="*/ 341 w 375"/>
                    <a:gd name="T17" fmla="*/ 50 h 126"/>
                    <a:gd name="T18" fmla="*/ 349 w 375"/>
                    <a:gd name="T19" fmla="*/ 51 h 126"/>
                    <a:gd name="T20" fmla="*/ 351 w 375"/>
                    <a:gd name="T21" fmla="*/ 51 h 126"/>
                    <a:gd name="T22" fmla="*/ 371 w 375"/>
                    <a:gd name="T23" fmla="*/ 50 h 126"/>
                    <a:gd name="T24" fmla="*/ 372 w 375"/>
                    <a:gd name="T25" fmla="*/ 44 h 126"/>
                    <a:gd name="T26" fmla="*/ 360 w 375"/>
                    <a:gd name="T27" fmla="*/ 42 h 126"/>
                    <a:gd name="T28" fmla="*/ 373 w 375"/>
                    <a:gd name="T29" fmla="*/ 29 h 126"/>
                    <a:gd name="T30" fmla="*/ 375 w 375"/>
                    <a:gd name="T31" fmla="*/ 10 h 126"/>
                    <a:gd name="T32" fmla="*/ 372 w 375"/>
                    <a:gd name="T33" fmla="*/ 9 h 126"/>
                    <a:gd name="T34" fmla="*/ 370 w 375"/>
                    <a:gd name="T35" fmla="*/ 10 h 126"/>
                    <a:gd name="T36" fmla="*/ 363 w 375"/>
                    <a:gd name="T37" fmla="*/ 22 h 126"/>
                    <a:gd name="T38" fmla="*/ 342 w 375"/>
                    <a:gd name="T39" fmla="*/ 36 h 126"/>
                    <a:gd name="T40" fmla="*/ 176 w 375"/>
                    <a:gd name="T41" fmla="*/ 13 h 126"/>
                    <a:gd name="T42" fmla="*/ 91 w 375"/>
                    <a:gd name="T43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75" h="126">
                      <a:moveTo>
                        <a:pt x="91" y="0"/>
                      </a:moveTo>
                      <a:cubicBezTo>
                        <a:pt x="91" y="0"/>
                        <a:pt x="65" y="2"/>
                        <a:pt x="48" y="25"/>
                      </a:cubicBezTo>
                      <a:cubicBezTo>
                        <a:pt x="46" y="29"/>
                        <a:pt x="23" y="76"/>
                        <a:pt x="0" y="126"/>
                      </a:cubicBezTo>
                      <a:cubicBezTo>
                        <a:pt x="88" y="126"/>
                        <a:pt x="88" y="126"/>
                        <a:pt x="88" y="126"/>
                      </a:cubicBezTo>
                      <a:cubicBezTo>
                        <a:pt x="91" y="96"/>
                        <a:pt x="92" y="67"/>
                        <a:pt x="92" y="48"/>
                      </a:cubicBezTo>
                      <a:cubicBezTo>
                        <a:pt x="99" y="53"/>
                        <a:pt x="121" y="55"/>
                        <a:pt x="152" y="55"/>
                      </a:cubicBezTo>
                      <a:cubicBezTo>
                        <a:pt x="177" y="55"/>
                        <a:pt x="208" y="53"/>
                        <a:pt x="240" y="52"/>
                      </a:cubicBezTo>
                      <a:cubicBezTo>
                        <a:pt x="271" y="51"/>
                        <a:pt x="303" y="50"/>
                        <a:pt x="331" y="50"/>
                      </a:cubicBezTo>
                      <a:cubicBezTo>
                        <a:pt x="334" y="50"/>
                        <a:pt x="338" y="50"/>
                        <a:pt x="341" y="50"/>
                      </a:cubicBezTo>
                      <a:cubicBezTo>
                        <a:pt x="341" y="50"/>
                        <a:pt x="345" y="51"/>
                        <a:pt x="349" y="51"/>
                      </a:cubicBezTo>
                      <a:cubicBezTo>
                        <a:pt x="349" y="51"/>
                        <a:pt x="350" y="51"/>
                        <a:pt x="351" y="51"/>
                      </a:cubicBezTo>
                      <a:cubicBezTo>
                        <a:pt x="360" y="50"/>
                        <a:pt x="371" y="50"/>
                        <a:pt x="371" y="50"/>
                      </a:cubicBezTo>
                      <a:cubicBezTo>
                        <a:pt x="372" y="44"/>
                        <a:pt x="372" y="44"/>
                        <a:pt x="372" y="44"/>
                      </a:cubicBezTo>
                      <a:cubicBezTo>
                        <a:pt x="360" y="42"/>
                        <a:pt x="360" y="42"/>
                        <a:pt x="360" y="42"/>
                      </a:cubicBezTo>
                      <a:cubicBezTo>
                        <a:pt x="360" y="42"/>
                        <a:pt x="373" y="33"/>
                        <a:pt x="373" y="29"/>
                      </a:cubicBezTo>
                      <a:cubicBezTo>
                        <a:pt x="373" y="26"/>
                        <a:pt x="375" y="10"/>
                        <a:pt x="375" y="10"/>
                      </a:cubicBezTo>
                      <a:cubicBezTo>
                        <a:pt x="375" y="10"/>
                        <a:pt x="374" y="9"/>
                        <a:pt x="372" y="9"/>
                      </a:cubicBezTo>
                      <a:cubicBezTo>
                        <a:pt x="372" y="9"/>
                        <a:pt x="371" y="9"/>
                        <a:pt x="370" y="10"/>
                      </a:cubicBezTo>
                      <a:cubicBezTo>
                        <a:pt x="370" y="11"/>
                        <a:pt x="365" y="19"/>
                        <a:pt x="363" y="22"/>
                      </a:cubicBezTo>
                      <a:cubicBezTo>
                        <a:pt x="342" y="36"/>
                        <a:pt x="342" y="36"/>
                        <a:pt x="342" y="36"/>
                      </a:cubicBezTo>
                      <a:cubicBezTo>
                        <a:pt x="176" y="13"/>
                        <a:pt x="176" y="13"/>
                        <a:pt x="176" y="13"/>
                      </a:cubicBezTo>
                      <a:cubicBezTo>
                        <a:pt x="91" y="0"/>
                        <a:pt x="91" y="0"/>
                        <a:pt x="91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1756102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09AE49-E348-8773-34A4-44FC4A5817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7257DB3-4A36-6F78-2B87-E93C7268A9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763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606" imgH="608" progId="TCLayout.ActiveDocument.1">
                  <p:embed/>
                </p:oleObj>
              </mc:Choice>
              <mc:Fallback>
                <p:oleObj name="think-cell Folie" r:id="rId22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783638-961F-5722-7DB7-7535690D13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E07E20B-1503-D2DF-0A3F-8A4A3D2EF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11305257" cy="936104"/>
          </a:xfrm>
        </p:spPr>
        <p:txBody>
          <a:bodyPr vert="horz"/>
          <a:lstStyle/>
          <a:p>
            <a:r>
              <a:rPr lang="de-DE" dirty="0"/>
              <a:t>ESG-Themen – gekommen, um zu bleiben</a:t>
            </a:r>
          </a:p>
        </p:txBody>
      </p:sp>
      <p:cxnSp>
        <p:nvCxnSpPr>
          <p:cNvPr id="11" name="element_02_01">
            <a:extLst>
              <a:ext uri="{FF2B5EF4-FFF2-40B4-BE49-F238E27FC236}">
                <a16:creationId xmlns:a16="http://schemas.microsoft.com/office/drawing/2014/main" id="{741678FF-50E5-0C06-B95F-51029354EF7F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 flipV="1">
            <a:off x="443372" y="2544942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element_03_01">
            <a:extLst>
              <a:ext uri="{FF2B5EF4-FFF2-40B4-BE49-F238E27FC236}">
                <a16:creationId xmlns:a16="http://schemas.microsoft.com/office/drawing/2014/main" id="{D69112A9-7514-40D8-FE72-96B4745200F4}"/>
              </a:ext>
            </a:extLst>
          </p:cNvPr>
          <p:cNvSpPr txBox="1"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443372" y="1772800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195" name="element_02_02">
            <a:extLst>
              <a:ext uri="{FF2B5EF4-FFF2-40B4-BE49-F238E27FC236}">
                <a16:creationId xmlns:a16="http://schemas.microsoft.com/office/drawing/2014/main" id="{CB836001-3142-8D69-5FF8-7FF914844BA1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V="1">
            <a:off x="443372" y="3461084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6" name="element_03_02">
            <a:extLst>
              <a:ext uri="{FF2B5EF4-FFF2-40B4-BE49-F238E27FC236}">
                <a16:creationId xmlns:a16="http://schemas.microsoft.com/office/drawing/2014/main" id="{18B915A4-D230-54C9-F6A1-643268431791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443372" y="2688942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9" name="element_01_01">
            <a:extLst>
              <a:ext uri="{FF2B5EF4-FFF2-40B4-BE49-F238E27FC236}">
                <a16:creationId xmlns:a16="http://schemas.microsoft.com/office/drawing/2014/main" id="{6BDF462C-4365-2333-9BF2-62A1DF566D00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963553" y="1628800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norme Zunahme der „Awareness“ bzgl. ESG-Themen, auch auf Versicherer-Seite</a:t>
            </a:r>
          </a:p>
        </p:txBody>
      </p:sp>
      <p:sp>
        <p:nvSpPr>
          <p:cNvPr id="10" name="element_01_02">
            <a:extLst>
              <a:ext uri="{FF2B5EF4-FFF2-40B4-BE49-F238E27FC236}">
                <a16:creationId xmlns:a16="http://schemas.microsoft.com/office/drawing/2014/main" id="{0B4241FE-0352-2566-0EE4-2D57EF818DF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963553" y="2544942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er Europäische Green Deal der EU in 2019 </a:t>
            </a:r>
          </a:p>
        </p:txBody>
      </p:sp>
      <p:cxnSp>
        <p:nvCxnSpPr>
          <p:cNvPr id="20" name="element_02_03">
            <a:extLst>
              <a:ext uri="{FF2B5EF4-FFF2-40B4-BE49-F238E27FC236}">
                <a16:creationId xmlns:a16="http://schemas.microsoft.com/office/drawing/2014/main" id="{B277CFF6-87F2-2799-6DB6-98D6E7672A46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V="1">
            <a:off x="442910" y="4377226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" name="element_03_03">
            <a:extLst>
              <a:ext uri="{FF2B5EF4-FFF2-40B4-BE49-F238E27FC236}">
                <a16:creationId xmlns:a16="http://schemas.microsoft.com/office/drawing/2014/main" id="{2C4FE64C-953E-303A-C5E4-A25D9D70EB9D}"/>
              </a:ext>
            </a:extLst>
          </p:cNvPr>
          <p:cNvSpPr txBox="1">
            <a:spLocks noChangeAspect="1"/>
          </p:cNvSpPr>
          <p:nvPr>
            <p:custDataLst>
              <p:tags r:id="rId9"/>
            </p:custDataLst>
          </p:nvPr>
        </p:nvSpPr>
        <p:spPr bwMode="gray">
          <a:xfrm>
            <a:off x="443372" y="3605084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2" name="element_01_03">
            <a:extLst>
              <a:ext uri="{FF2B5EF4-FFF2-40B4-BE49-F238E27FC236}">
                <a16:creationId xmlns:a16="http://schemas.microsoft.com/office/drawing/2014/main" id="{05F39047-E60B-9E36-A49C-3589A3BF517E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963553" y="3461084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Begrenzte Kapazitäten zur Versicherung „nicht grüner“ Risiken – erfüllen Versicherer hier noch ihre „Pflicht“?</a:t>
            </a:r>
          </a:p>
        </p:txBody>
      </p:sp>
      <p:cxnSp>
        <p:nvCxnSpPr>
          <p:cNvPr id="25" name="element_02_04" hidden="1">
            <a:extLst>
              <a:ext uri="{FF2B5EF4-FFF2-40B4-BE49-F238E27FC236}">
                <a16:creationId xmlns:a16="http://schemas.microsoft.com/office/drawing/2014/main" id="{0BD4CA31-2CFC-31F6-1E5D-D870FA2A02CB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V="1">
            <a:off x="443372" y="5293368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element_03_04">
            <a:extLst>
              <a:ext uri="{FF2B5EF4-FFF2-40B4-BE49-F238E27FC236}">
                <a16:creationId xmlns:a16="http://schemas.microsoft.com/office/drawing/2014/main" id="{A3670B53-05C9-AFB1-4E41-1BC401612061}"/>
              </a:ext>
            </a:extLst>
          </p:cNvPr>
          <p:cNvSpPr txBox="1">
            <a:spLocks noChangeAspect="1"/>
          </p:cNvSpPr>
          <p:nvPr>
            <p:custDataLst>
              <p:tags r:id="rId12"/>
            </p:custDataLst>
          </p:nvPr>
        </p:nvSpPr>
        <p:spPr bwMode="gray">
          <a:xfrm>
            <a:off x="443372" y="4521226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3" name="element_01_04">
            <a:extLst>
              <a:ext uri="{FF2B5EF4-FFF2-40B4-BE49-F238E27FC236}">
                <a16:creationId xmlns:a16="http://schemas.microsoft.com/office/drawing/2014/main" id="{9CC6DF07-9641-CB79-6B58-1A8D4B7114D8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63553" y="4377226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inführung </a:t>
            </a:r>
            <a:r>
              <a:rPr lang="de-DE" dirty="0" err="1"/>
              <a:t>LkSG</a:t>
            </a:r>
            <a:r>
              <a:rPr lang="de-DE" dirty="0"/>
              <a:t> per 01.01.2023 erfolgt, Verschärfung per 01.01.2024 zur Durchsetzung von ESG-Themen entlang der Lieferket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83B143-02AF-7A34-6A4C-9A1086539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90A2D73-0D44-1B75-FDC3-B7331F1FBD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70A2C8-24BE-F240-86FB-FB1C1AC17C5F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37" name="element_03_04">
            <a:extLst>
              <a:ext uri="{FF2B5EF4-FFF2-40B4-BE49-F238E27FC236}">
                <a16:creationId xmlns:a16="http://schemas.microsoft.com/office/drawing/2014/main" id="{8212E7DF-3BF9-A858-5BC6-6D1DEE0602C6}"/>
              </a:ext>
            </a:extLst>
          </p:cNvPr>
          <p:cNvSpPr txBox="1">
            <a:spLocks noChangeAspect="1"/>
          </p:cNvSpPr>
          <p:nvPr>
            <p:custDataLst>
              <p:tags r:id="rId14"/>
            </p:custDataLst>
          </p:nvPr>
        </p:nvSpPr>
        <p:spPr bwMode="gray">
          <a:xfrm>
            <a:off x="443372" y="5293368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8" name="element_01_04">
            <a:extLst>
              <a:ext uri="{FF2B5EF4-FFF2-40B4-BE49-F238E27FC236}">
                <a16:creationId xmlns:a16="http://schemas.microsoft.com/office/drawing/2014/main" id="{B8D19500-6CBE-46A4-49DD-A7FAF9A2654B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964013" y="5129323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eitere Verschärfung der Haftung durch EU-Richtlinie, zu den Sorgfaltspflichten in der Lieferkette (2025)</a:t>
            </a:r>
          </a:p>
        </p:txBody>
      </p:sp>
      <p:sp>
        <p:nvSpPr>
          <p:cNvPr id="39" name="element_03_04">
            <a:extLst>
              <a:ext uri="{FF2B5EF4-FFF2-40B4-BE49-F238E27FC236}">
                <a16:creationId xmlns:a16="http://schemas.microsoft.com/office/drawing/2014/main" id="{3F25A2AE-D9B4-A92F-200B-4AAD50026B47}"/>
              </a:ext>
            </a:extLst>
          </p:cNvPr>
          <p:cNvSpPr txBox="1">
            <a:spLocks noChangeAspect="1"/>
          </p:cNvSpPr>
          <p:nvPr>
            <p:custDataLst>
              <p:tags r:id="rId16"/>
            </p:custDataLst>
          </p:nvPr>
        </p:nvSpPr>
        <p:spPr bwMode="gray">
          <a:xfrm>
            <a:off x="442913" y="6065510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" name="element_01_04">
            <a:extLst>
              <a:ext uri="{FF2B5EF4-FFF2-40B4-BE49-F238E27FC236}">
                <a16:creationId xmlns:a16="http://schemas.microsoft.com/office/drawing/2014/main" id="{3E5619A9-1890-E0EF-457F-B6E6116B600F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964013" y="5901464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ich weiter verschärfende Umweltgesetzgebung, auch in den BRICK-Staaten</a:t>
            </a:r>
          </a:p>
        </p:txBody>
      </p:sp>
      <p:cxnSp>
        <p:nvCxnSpPr>
          <p:cNvPr id="41" name="element_02_03">
            <a:extLst>
              <a:ext uri="{FF2B5EF4-FFF2-40B4-BE49-F238E27FC236}">
                <a16:creationId xmlns:a16="http://schemas.microsoft.com/office/drawing/2014/main" id="{B120510C-134D-836F-78D6-2AC63929011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 flipV="1">
            <a:off x="442911" y="5180826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2" name="element_02_03">
            <a:extLst>
              <a:ext uri="{FF2B5EF4-FFF2-40B4-BE49-F238E27FC236}">
                <a16:creationId xmlns:a16="http://schemas.microsoft.com/office/drawing/2014/main" id="{DAA7AF73-9E1C-ADDE-FAE1-D4393300ED2A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 flipV="1">
            <a:off x="442912" y="5984875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6610777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96" grpId="0" animBg="1"/>
      <p:bldP spid="9" grpId="0"/>
      <p:bldP spid="10" grpId="0"/>
      <p:bldP spid="21" grpId="0" animBg="1"/>
      <p:bldP spid="12" grpId="0"/>
      <p:bldP spid="26" grpId="0" animBg="1"/>
      <p:bldP spid="13" grpId="0"/>
      <p:bldP spid="37" grpId="0" animBg="1"/>
      <p:bldP spid="38" grpId="0"/>
      <p:bldP spid="39" grpId="0" animBg="1"/>
      <p:bldP spid="40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A07F5E-9286-E8AD-A539-F3D58AD689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154A98D-136D-AF66-4249-64015FA5C4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3650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606" imgH="608" progId="TCLayout.ActiveDocument.1">
                  <p:embed/>
                </p:oleObj>
              </mc:Choice>
              <mc:Fallback>
                <p:oleObj name="think-cell Folie" r:id="rId13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257DB3-4A36-6F78-2B87-E93C7268A9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FB0D014-2B70-928F-3C90-4FD1B7C6B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11305257" cy="936104"/>
          </a:xfrm>
        </p:spPr>
        <p:txBody>
          <a:bodyPr vert="horz"/>
          <a:lstStyle/>
          <a:p>
            <a:r>
              <a:rPr lang="de-DE" dirty="0"/>
              <a:t>ESG-Themen – gekommen, um zu bleiben</a:t>
            </a:r>
          </a:p>
        </p:txBody>
      </p:sp>
      <p:cxnSp>
        <p:nvCxnSpPr>
          <p:cNvPr id="11" name="element_02_01">
            <a:extLst>
              <a:ext uri="{FF2B5EF4-FFF2-40B4-BE49-F238E27FC236}">
                <a16:creationId xmlns:a16="http://schemas.microsoft.com/office/drawing/2014/main" id="{E4122713-7A7B-F69F-4E12-A115A48E6399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 flipV="1">
            <a:off x="443372" y="2544942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element_03_01">
            <a:extLst>
              <a:ext uri="{FF2B5EF4-FFF2-40B4-BE49-F238E27FC236}">
                <a16:creationId xmlns:a16="http://schemas.microsoft.com/office/drawing/2014/main" id="{FE4A2CEB-7B3F-CEF2-655B-D5271C0EF2D7}"/>
              </a:ext>
            </a:extLst>
          </p:cNvPr>
          <p:cNvSpPr txBox="1"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443372" y="1772800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195" name="element_02_02">
            <a:extLst>
              <a:ext uri="{FF2B5EF4-FFF2-40B4-BE49-F238E27FC236}">
                <a16:creationId xmlns:a16="http://schemas.microsoft.com/office/drawing/2014/main" id="{5175C06C-31B3-A651-55FD-256A5116CBF7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V="1">
            <a:off x="443372" y="3461084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6" name="element_03_02">
            <a:extLst>
              <a:ext uri="{FF2B5EF4-FFF2-40B4-BE49-F238E27FC236}">
                <a16:creationId xmlns:a16="http://schemas.microsoft.com/office/drawing/2014/main" id="{DF57A067-FD90-CCD7-56E6-467CE2906E81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443372" y="2688942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9" name="element_01_01">
            <a:extLst>
              <a:ext uri="{FF2B5EF4-FFF2-40B4-BE49-F238E27FC236}">
                <a16:creationId xmlns:a16="http://schemas.microsoft.com/office/drawing/2014/main" id="{264F500C-70AF-E96A-95EA-17380725A94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963553" y="1628800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Zunahme der „Klimaklagen“ weltweit (z.B. RWE, BMW), Klagen gegen Unternehmen wegen Beitrag zum Klimawandel</a:t>
            </a:r>
          </a:p>
        </p:txBody>
      </p:sp>
      <p:sp>
        <p:nvSpPr>
          <p:cNvPr id="10" name="element_01_02">
            <a:extLst>
              <a:ext uri="{FF2B5EF4-FFF2-40B4-BE49-F238E27FC236}">
                <a16:creationId xmlns:a16="http://schemas.microsoft.com/office/drawing/2014/main" id="{2F88E7C0-414C-A4A0-CAD7-677D4545DB9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963553" y="2544942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FAS – das neue Asbest? </a:t>
            </a:r>
          </a:p>
        </p:txBody>
      </p:sp>
      <p:sp>
        <p:nvSpPr>
          <p:cNvPr id="21" name="element_03_03">
            <a:extLst>
              <a:ext uri="{FF2B5EF4-FFF2-40B4-BE49-F238E27FC236}">
                <a16:creationId xmlns:a16="http://schemas.microsoft.com/office/drawing/2014/main" id="{4746B878-9042-2424-B8EF-998441C11F4C}"/>
              </a:ext>
            </a:extLst>
          </p:cNvPr>
          <p:cNvSpPr txBox="1">
            <a:spLocks noChangeAspect="1"/>
          </p:cNvSpPr>
          <p:nvPr>
            <p:custDataLst>
              <p:tags r:id="rId8"/>
            </p:custDataLst>
          </p:nvPr>
        </p:nvSpPr>
        <p:spPr bwMode="gray">
          <a:xfrm>
            <a:off x="443372" y="3605084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2" name="element_01_03">
            <a:extLst>
              <a:ext uri="{FF2B5EF4-FFF2-40B4-BE49-F238E27FC236}">
                <a16:creationId xmlns:a16="http://schemas.microsoft.com/office/drawing/2014/main" id="{DCAEC631-3076-030C-79FF-7070F1A6E7B8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963553" y="3461084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Mikroplastik – der PFAS-Nachfolger (EU-Verordnung vom 17.03.2023 untersagt für bestimmte Bereiche das Inverkehrbringen von Mikroplastik)? </a:t>
            </a:r>
          </a:p>
        </p:txBody>
      </p:sp>
      <p:cxnSp>
        <p:nvCxnSpPr>
          <p:cNvPr id="25" name="element_02_04" hidden="1">
            <a:extLst>
              <a:ext uri="{FF2B5EF4-FFF2-40B4-BE49-F238E27FC236}">
                <a16:creationId xmlns:a16="http://schemas.microsoft.com/office/drawing/2014/main" id="{FFD568FF-45A3-E126-18E7-B177D4FAFF8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 flipV="1">
            <a:off x="443372" y="5293368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63FFCB9-8E3D-D63D-087D-ECA19852C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350C0F5-A092-0C1B-A8B9-A7DD27C92A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70A2C8-24BE-F240-86FB-FB1C1AC17C5F}" type="datetime1">
              <a:rPr lang="de-DE" smtClean="0"/>
              <a:t>03.03.2025</a:t>
            </a:fld>
            <a:endParaRPr lang="de-DE" dirty="0"/>
          </a:p>
        </p:txBody>
      </p:sp>
      <p:grpSp>
        <p:nvGrpSpPr>
          <p:cNvPr id="3" name="Group 8">
            <a:extLst>
              <a:ext uri="{FF2B5EF4-FFF2-40B4-BE49-F238E27FC236}">
                <a16:creationId xmlns:a16="http://schemas.microsoft.com/office/drawing/2014/main" id="{39248EE7-D335-16BF-CC9E-70B88B544D19}"/>
              </a:ext>
            </a:extLst>
          </p:cNvPr>
          <p:cNvGrpSpPr/>
          <p:nvPr/>
        </p:nvGrpSpPr>
        <p:grpSpPr>
          <a:xfrm>
            <a:off x="-5641304" y="2002525"/>
            <a:ext cx="5113637" cy="4188876"/>
            <a:chOff x="445135" y="1549065"/>
            <a:chExt cx="4331926" cy="3548531"/>
          </a:xfrm>
        </p:grpSpPr>
        <p:grpSp>
          <p:nvGrpSpPr>
            <p:cNvPr id="4" name="Group 7">
              <a:extLst>
                <a:ext uri="{FF2B5EF4-FFF2-40B4-BE49-F238E27FC236}">
                  <a16:creationId xmlns:a16="http://schemas.microsoft.com/office/drawing/2014/main" id="{DACE0778-98C4-073B-B7BA-118DA02D2671}"/>
                </a:ext>
              </a:extLst>
            </p:cNvPr>
            <p:cNvGrpSpPr/>
            <p:nvPr/>
          </p:nvGrpSpPr>
          <p:grpSpPr>
            <a:xfrm>
              <a:off x="445135" y="1549065"/>
              <a:ext cx="3558677" cy="3191816"/>
              <a:chOff x="445135" y="1549065"/>
              <a:chExt cx="3558677" cy="3191816"/>
            </a:xfrm>
          </p:grpSpPr>
          <p:sp>
            <p:nvSpPr>
              <p:cNvPr id="232" name="Block Arc 1015">
                <a:extLst>
                  <a:ext uri="{FF2B5EF4-FFF2-40B4-BE49-F238E27FC236}">
                    <a16:creationId xmlns:a16="http://schemas.microsoft.com/office/drawing/2014/main" id="{330A0A6E-24A3-4743-3087-13F3EB6A10BA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20207308">
                <a:off x="725875" y="1982498"/>
                <a:ext cx="3010427" cy="2737514"/>
              </a:xfrm>
              <a:prstGeom prst="blockArc">
                <a:avLst>
                  <a:gd name="adj1" fmla="val 12006639"/>
                  <a:gd name="adj2" fmla="val 0"/>
                  <a:gd name="adj3" fmla="val 25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solidFill>
                    <a:schemeClr val="tx1"/>
                  </a:solidFill>
                </a:endParaRPr>
              </a:p>
            </p:txBody>
          </p:sp>
          <p:pic>
            <p:nvPicPr>
              <p:cNvPr id="233" name="Picture 8">
                <a:extLst>
                  <a:ext uri="{FF2B5EF4-FFF2-40B4-BE49-F238E27FC236}">
                    <a16:creationId xmlns:a16="http://schemas.microsoft.com/office/drawing/2014/main" id="{14200BC7-EE92-FA2D-0513-E61AB4F8AD4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34972" y="1928279"/>
                <a:ext cx="9882" cy="61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234" name="Group 1018">
                <a:extLst>
                  <a:ext uri="{FF2B5EF4-FFF2-40B4-BE49-F238E27FC236}">
                    <a16:creationId xmlns:a16="http://schemas.microsoft.com/office/drawing/2014/main" id="{EFB97C8D-718B-AB6D-6459-3B9C1846935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45135" y="1549065"/>
                <a:ext cx="3106586" cy="2757018"/>
                <a:chOff x="528638" y="2306638"/>
                <a:chExt cx="3992563" cy="3543301"/>
              </a:xfrm>
            </p:grpSpPr>
            <p:sp>
              <p:nvSpPr>
                <p:cNvPr id="364" name="Freeform 38">
                  <a:extLst>
                    <a:ext uri="{FF2B5EF4-FFF2-40B4-BE49-F238E27FC236}">
                      <a16:creationId xmlns:a16="http://schemas.microsoft.com/office/drawing/2014/main" id="{5F74A0E4-E450-0E04-B314-BD647059C90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58800" y="4167188"/>
                  <a:ext cx="139700" cy="38100"/>
                </a:xfrm>
                <a:custGeom>
                  <a:avLst/>
                  <a:gdLst>
                    <a:gd name="T0" fmla="*/ 75 w 76"/>
                    <a:gd name="T1" fmla="*/ 21 h 21"/>
                    <a:gd name="T2" fmla="*/ 76 w 76"/>
                    <a:gd name="T3" fmla="*/ 13 h 21"/>
                    <a:gd name="T4" fmla="*/ 2 w 76"/>
                    <a:gd name="T5" fmla="*/ 0 h 21"/>
                    <a:gd name="T6" fmla="*/ 0 w 76"/>
                    <a:gd name="T7" fmla="*/ 8 h 21"/>
                    <a:gd name="T8" fmla="*/ 75 w 76"/>
                    <a:gd name="T9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6" h="21">
                      <a:moveTo>
                        <a:pt x="75" y="21"/>
                      </a:moveTo>
                      <a:cubicBezTo>
                        <a:pt x="75" y="18"/>
                        <a:pt x="76" y="15"/>
                        <a:pt x="76" y="13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2"/>
                        <a:pt x="1" y="5"/>
                        <a:pt x="0" y="8"/>
                      </a:cubicBezTo>
                      <a:lnTo>
                        <a:pt x="75" y="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5" name="Freeform 45">
                  <a:extLst>
                    <a:ext uri="{FF2B5EF4-FFF2-40B4-BE49-F238E27FC236}">
                      <a16:creationId xmlns:a16="http://schemas.microsoft.com/office/drawing/2014/main" id="{18741F89-0B61-165A-1DB5-84B7D9B83B2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95313" y="3963988"/>
                  <a:ext cx="177800" cy="80963"/>
                </a:xfrm>
                <a:custGeom>
                  <a:avLst/>
                  <a:gdLst>
                    <a:gd name="T0" fmla="*/ 0 w 96"/>
                    <a:gd name="T1" fmla="*/ 19 h 44"/>
                    <a:gd name="T2" fmla="*/ 91 w 96"/>
                    <a:gd name="T3" fmla="*/ 44 h 44"/>
                    <a:gd name="T4" fmla="*/ 93 w 96"/>
                    <a:gd name="T5" fmla="*/ 35 h 44"/>
                    <a:gd name="T6" fmla="*/ 96 w 96"/>
                    <a:gd name="T7" fmla="*/ 25 h 44"/>
                    <a:gd name="T8" fmla="*/ 6 w 96"/>
                    <a:gd name="T9" fmla="*/ 0 h 44"/>
                    <a:gd name="T10" fmla="*/ 3 w 96"/>
                    <a:gd name="T11" fmla="*/ 10 h 44"/>
                    <a:gd name="T12" fmla="*/ 0 w 96"/>
                    <a:gd name="T13" fmla="*/ 19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6" h="44">
                      <a:moveTo>
                        <a:pt x="0" y="19"/>
                      </a:moveTo>
                      <a:cubicBezTo>
                        <a:pt x="91" y="44"/>
                        <a:pt x="91" y="44"/>
                        <a:pt x="91" y="44"/>
                      </a:cubicBezTo>
                      <a:cubicBezTo>
                        <a:pt x="91" y="43"/>
                        <a:pt x="93" y="36"/>
                        <a:pt x="93" y="35"/>
                      </a:cubicBezTo>
                      <a:cubicBezTo>
                        <a:pt x="94" y="33"/>
                        <a:pt x="96" y="26"/>
                        <a:pt x="96" y="25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5" y="1"/>
                        <a:pt x="3" y="8"/>
                        <a:pt x="3" y="10"/>
                      </a:cubicBezTo>
                      <a:cubicBezTo>
                        <a:pt x="3" y="11"/>
                        <a:pt x="1" y="18"/>
                        <a:pt x="0" y="1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366" name="Group 1238">
                  <a:extLst>
                    <a:ext uri="{FF2B5EF4-FFF2-40B4-BE49-F238E27FC236}">
                      <a16:creationId xmlns:a16="http://schemas.microsoft.com/office/drawing/2014/main" id="{4E27F69D-FAAD-2CC6-84CB-B9C2244C24AD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528638" y="2306638"/>
                  <a:ext cx="3992563" cy="3543301"/>
                  <a:chOff x="528638" y="2306638"/>
                  <a:chExt cx="3992563" cy="3543301"/>
                </a:xfrm>
              </p:grpSpPr>
              <p:sp>
                <p:nvSpPr>
                  <p:cNvPr id="367" name="Oval 10">
                    <a:extLst>
                      <a:ext uri="{FF2B5EF4-FFF2-40B4-BE49-F238E27FC236}">
                        <a16:creationId xmlns:a16="http://schemas.microsoft.com/office/drawing/2014/main" id="{9F0BB602-7F7B-304F-1E7A-0BDE5DDF0005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957263" y="5762626"/>
                    <a:ext cx="87313" cy="8731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8" name="Freeform 11">
                    <a:extLst>
                      <a:ext uri="{FF2B5EF4-FFF2-40B4-BE49-F238E27FC236}">
                        <a16:creationId xmlns:a16="http://schemas.microsoft.com/office/drawing/2014/main" id="{6D0CB5C8-F455-41FD-2858-2A0E011F6A1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008188" y="2438401"/>
                    <a:ext cx="63500" cy="136525"/>
                  </a:xfrm>
                  <a:custGeom>
                    <a:avLst/>
                    <a:gdLst>
                      <a:gd name="T0" fmla="*/ 26 w 34"/>
                      <a:gd name="T1" fmla="*/ 74 h 74"/>
                      <a:gd name="T2" fmla="*/ 34 w 34"/>
                      <a:gd name="T3" fmla="*/ 71 h 74"/>
                      <a:gd name="T4" fmla="*/ 8 w 34"/>
                      <a:gd name="T5" fmla="*/ 0 h 74"/>
                      <a:gd name="T6" fmla="*/ 0 w 34"/>
                      <a:gd name="T7" fmla="*/ 2 h 74"/>
                      <a:gd name="T8" fmla="*/ 26 w 34"/>
                      <a:gd name="T9" fmla="*/ 7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" h="74">
                        <a:moveTo>
                          <a:pt x="26" y="74"/>
                        </a:moveTo>
                        <a:cubicBezTo>
                          <a:pt x="28" y="73"/>
                          <a:pt x="31" y="72"/>
                          <a:pt x="34" y="71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3" y="1"/>
                          <a:pt x="0" y="2"/>
                        </a:cubicBezTo>
                        <a:lnTo>
                          <a:pt x="26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9" name="Freeform 12">
                    <a:extLst>
                      <a:ext uri="{FF2B5EF4-FFF2-40B4-BE49-F238E27FC236}">
                        <a16:creationId xmlns:a16="http://schemas.microsoft.com/office/drawing/2014/main" id="{D3665F0B-215D-89F8-C712-825B4311FD5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389188" y="2338388"/>
                    <a:ext cx="39688" cy="139700"/>
                  </a:xfrm>
                  <a:custGeom>
                    <a:avLst/>
                    <a:gdLst>
                      <a:gd name="T0" fmla="*/ 13 w 21"/>
                      <a:gd name="T1" fmla="*/ 76 h 76"/>
                      <a:gd name="T2" fmla="*/ 21 w 21"/>
                      <a:gd name="T3" fmla="*/ 75 h 76"/>
                      <a:gd name="T4" fmla="*/ 8 w 21"/>
                      <a:gd name="T5" fmla="*/ 0 h 76"/>
                      <a:gd name="T6" fmla="*/ 0 w 21"/>
                      <a:gd name="T7" fmla="*/ 1 h 76"/>
                      <a:gd name="T8" fmla="*/ 13 w 21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6">
                        <a:moveTo>
                          <a:pt x="13" y="76"/>
                        </a:moveTo>
                        <a:cubicBezTo>
                          <a:pt x="15" y="75"/>
                          <a:pt x="18" y="75"/>
                          <a:pt x="21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2" y="1"/>
                          <a:pt x="0" y="1"/>
                        </a:cubicBezTo>
                        <a:lnTo>
                          <a:pt x="13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0" name="Freeform 13">
                    <a:extLst>
                      <a:ext uri="{FF2B5EF4-FFF2-40B4-BE49-F238E27FC236}">
                        <a16:creationId xmlns:a16="http://schemas.microsoft.com/office/drawing/2014/main" id="{0B9E0A49-9EDC-3872-DA0A-477BAD5A767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584450" y="2314576"/>
                    <a:ext cx="28575" cy="139700"/>
                  </a:xfrm>
                  <a:custGeom>
                    <a:avLst/>
                    <a:gdLst>
                      <a:gd name="T0" fmla="*/ 7 w 15"/>
                      <a:gd name="T1" fmla="*/ 76 h 76"/>
                      <a:gd name="T2" fmla="*/ 15 w 15"/>
                      <a:gd name="T3" fmla="*/ 75 h 76"/>
                      <a:gd name="T4" fmla="*/ 8 w 15"/>
                      <a:gd name="T5" fmla="*/ 0 h 76"/>
                      <a:gd name="T6" fmla="*/ 0 w 15"/>
                      <a:gd name="T7" fmla="*/ 1 h 76"/>
                      <a:gd name="T8" fmla="*/ 7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7" y="76"/>
                        </a:moveTo>
                        <a:cubicBezTo>
                          <a:pt x="9" y="76"/>
                          <a:pt x="12" y="75"/>
                          <a:pt x="15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6" y="0"/>
                          <a:pt x="3" y="0"/>
                          <a:pt x="0" y="1"/>
                        </a:cubicBezTo>
                        <a:lnTo>
                          <a:pt x="7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1" name="Freeform 14">
                    <a:extLst>
                      <a:ext uri="{FF2B5EF4-FFF2-40B4-BE49-F238E27FC236}">
                        <a16:creationId xmlns:a16="http://schemas.microsoft.com/office/drawing/2014/main" id="{B339E001-4681-9997-EBB3-EDF127E1480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197100" y="2378076"/>
                    <a:ext cx="49213" cy="141288"/>
                  </a:xfrm>
                  <a:custGeom>
                    <a:avLst/>
                    <a:gdLst>
                      <a:gd name="T0" fmla="*/ 19 w 27"/>
                      <a:gd name="T1" fmla="*/ 76 h 76"/>
                      <a:gd name="T2" fmla="*/ 27 w 27"/>
                      <a:gd name="T3" fmla="*/ 73 h 76"/>
                      <a:gd name="T4" fmla="*/ 7 w 27"/>
                      <a:gd name="T5" fmla="*/ 0 h 76"/>
                      <a:gd name="T6" fmla="*/ 0 w 27"/>
                      <a:gd name="T7" fmla="*/ 2 h 76"/>
                      <a:gd name="T8" fmla="*/ 19 w 27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6">
                        <a:moveTo>
                          <a:pt x="19" y="76"/>
                        </a:moveTo>
                        <a:cubicBezTo>
                          <a:pt x="22" y="75"/>
                          <a:pt x="24" y="74"/>
                          <a:pt x="27" y="73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2" y="2"/>
                          <a:pt x="0" y="2"/>
                        </a:cubicBezTo>
                        <a:lnTo>
                          <a:pt x="19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2" name="Freeform 15">
                    <a:extLst>
                      <a:ext uri="{FF2B5EF4-FFF2-40B4-BE49-F238E27FC236}">
                        <a16:creationId xmlns:a16="http://schemas.microsoft.com/office/drawing/2014/main" id="{3A911C23-9E24-75F8-6A4D-A709CD70F70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322638" y="2381251"/>
                    <a:ext cx="49213" cy="138113"/>
                  </a:xfrm>
                  <a:custGeom>
                    <a:avLst/>
                    <a:gdLst>
                      <a:gd name="T0" fmla="*/ 0 w 27"/>
                      <a:gd name="T1" fmla="*/ 73 h 75"/>
                      <a:gd name="T2" fmla="*/ 8 w 27"/>
                      <a:gd name="T3" fmla="*/ 75 h 75"/>
                      <a:gd name="T4" fmla="*/ 27 w 27"/>
                      <a:gd name="T5" fmla="*/ 2 h 75"/>
                      <a:gd name="T6" fmla="*/ 20 w 27"/>
                      <a:gd name="T7" fmla="*/ 0 h 75"/>
                      <a:gd name="T8" fmla="*/ 0 w 27"/>
                      <a:gd name="T9" fmla="*/ 73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5">
                        <a:moveTo>
                          <a:pt x="0" y="73"/>
                        </a:moveTo>
                        <a:cubicBezTo>
                          <a:pt x="3" y="74"/>
                          <a:pt x="5" y="75"/>
                          <a:pt x="8" y="75"/>
                        </a:cubicBezTo>
                        <a:cubicBezTo>
                          <a:pt x="27" y="2"/>
                          <a:pt x="27" y="2"/>
                          <a:pt x="27" y="2"/>
                        </a:cubicBezTo>
                        <a:cubicBezTo>
                          <a:pt x="25" y="1"/>
                          <a:pt x="22" y="1"/>
                          <a:pt x="20" y="0"/>
                        </a:cubicBezTo>
                        <a:lnTo>
                          <a:pt x="0" y="7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3" name="Freeform 16">
                    <a:extLst>
                      <a:ext uri="{FF2B5EF4-FFF2-40B4-BE49-F238E27FC236}">
                        <a16:creationId xmlns:a16="http://schemas.microsoft.com/office/drawing/2014/main" id="{5DFAE7B1-FE2A-E4B5-0E92-EDB7B9538FE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763838" y="2306638"/>
                    <a:ext cx="38100" cy="174625"/>
                  </a:xfrm>
                  <a:custGeom>
                    <a:avLst/>
                    <a:gdLst>
                      <a:gd name="T0" fmla="*/ 0 w 20"/>
                      <a:gd name="T1" fmla="*/ 0 h 94"/>
                      <a:gd name="T2" fmla="*/ 0 w 20"/>
                      <a:gd name="T3" fmla="*/ 94 h 94"/>
                      <a:gd name="T4" fmla="*/ 10 w 20"/>
                      <a:gd name="T5" fmla="*/ 94 h 94"/>
                      <a:gd name="T6" fmla="*/ 20 w 20"/>
                      <a:gd name="T7" fmla="*/ 94 h 94"/>
                      <a:gd name="T8" fmla="*/ 20 w 20"/>
                      <a:gd name="T9" fmla="*/ 0 h 94"/>
                      <a:gd name="T10" fmla="*/ 10 w 20"/>
                      <a:gd name="T11" fmla="*/ 0 h 94"/>
                      <a:gd name="T12" fmla="*/ 0 w 20"/>
                      <a:gd name="T13" fmla="*/ 0 h 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" h="94">
                        <a:moveTo>
                          <a:pt x="0" y="0"/>
                        </a:moveTo>
                        <a:cubicBezTo>
                          <a:pt x="0" y="94"/>
                          <a:pt x="0" y="94"/>
                          <a:pt x="0" y="94"/>
                        </a:cubicBezTo>
                        <a:cubicBezTo>
                          <a:pt x="1" y="94"/>
                          <a:pt x="8" y="94"/>
                          <a:pt x="10" y="94"/>
                        </a:cubicBezTo>
                        <a:cubicBezTo>
                          <a:pt x="11" y="94"/>
                          <a:pt x="18" y="94"/>
                          <a:pt x="20" y="94"/>
                        </a:cubicBezTo>
                        <a:cubicBezTo>
                          <a:pt x="20" y="0"/>
                          <a:pt x="20" y="0"/>
                          <a:pt x="20" y="0"/>
                        </a:cubicBezTo>
                        <a:cubicBezTo>
                          <a:pt x="18" y="0"/>
                          <a:pt x="11" y="0"/>
                          <a:pt x="10" y="0"/>
                        </a:cubicBezTo>
                        <a:cubicBezTo>
                          <a:pt x="8" y="0"/>
                          <a:pt x="1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4" name="Freeform 17">
                    <a:extLst>
                      <a:ext uri="{FF2B5EF4-FFF2-40B4-BE49-F238E27FC236}">
                        <a16:creationId xmlns:a16="http://schemas.microsoft.com/office/drawing/2014/main" id="{4DBBDBBF-F788-CF92-89D9-B08A01C5237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143250" y="2339976"/>
                    <a:ext cx="38100" cy="138113"/>
                  </a:xfrm>
                  <a:custGeom>
                    <a:avLst/>
                    <a:gdLst>
                      <a:gd name="T0" fmla="*/ 0 w 21"/>
                      <a:gd name="T1" fmla="*/ 74 h 75"/>
                      <a:gd name="T2" fmla="*/ 8 w 21"/>
                      <a:gd name="T3" fmla="*/ 75 h 75"/>
                      <a:gd name="T4" fmla="*/ 21 w 21"/>
                      <a:gd name="T5" fmla="*/ 1 h 75"/>
                      <a:gd name="T6" fmla="*/ 13 w 21"/>
                      <a:gd name="T7" fmla="*/ 0 h 75"/>
                      <a:gd name="T8" fmla="*/ 0 w 21"/>
                      <a:gd name="T9" fmla="*/ 74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5">
                        <a:moveTo>
                          <a:pt x="0" y="74"/>
                        </a:moveTo>
                        <a:cubicBezTo>
                          <a:pt x="2" y="75"/>
                          <a:pt x="5" y="75"/>
                          <a:pt x="8" y="75"/>
                        </a:cubicBezTo>
                        <a:cubicBezTo>
                          <a:pt x="21" y="1"/>
                          <a:pt x="21" y="1"/>
                          <a:pt x="21" y="1"/>
                        </a:cubicBezTo>
                        <a:cubicBezTo>
                          <a:pt x="18" y="0"/>
                          <a:pt x="15" y="0"/>
                          <a:pt x="13" y="0"/>
                        </a:cubicBezTo>
                        <a:lnTo>
                          <a:pt x="0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5" name="Freeform 18">
                    <a:extLst>
                      <a:ext uri="{FF2B5EF4-FFF2-40B4-BE49-F238E27FC236}">
                        <a16:creationId xmlns:a16="http://schemas.microsoft.com/office/drawing/2014/main" id="{BF5FD777-7477-1CD1-D09E-CB94ECC28CE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959100" y="2314576"/>
                    <a:ext cx="26988" cy="139700"/>
                  </a:xfrm>
                  <a:custGeom>
                    <a:avLst/>
                    <a:gdLst>
                      <a:gd name="T0" fmla="*/ 0 w 15"/>
                      <a:gd name="T1" fmla="*/ 76 h 76"/>
                      <a:gd name="T2" fmla="*/ 8 w 15"/>
                      <a:gd name="T3" fmla="*/ 76 h 76"/>
                      <a:gd name="T4" fmla="*/ 15 w 15"/>
                      <a:gd name="T5" fmla="*/ 1 h 76"/>
                      <a:gd name="T6" fmla="*/ 7 w 15"/>
                      <a:gd name="T7" fmla="*/ 0 h 76"/>
                      <a:gd name="T8" fmla="*/ 0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0" y="76"/>
                        </a:moveTo>
                        <a:cubicBezTo>
                          <a:pt x="3" y="76"/>
                          <a:pt x="5" y="76"/>
                          <a:pt x="8" y="76"/>
                        </a:cubicBezTo>
                        <a:cubicBezTo>
                          <a:pt x="15" y="1"/>
                          <a:pt x="15" y="1"/>
                          <a:pt x="15" y="1"/>
                        </a:cubicBezTo>
                        <a:cubicBezTo>
                          <a:pt x="12" y="1"/>
                          <a:pt x="9" y="0"/>
                          <a:pt x="7" y="0"/>
                        </a:cubicBezTo>
                        <a:lnTo>
                          <a:pt x="0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6" name="Freeform 19">
                    <a:extLst>
                      <a:ext uri="{FF2B5EF4-FFF2-40B4-BE49-F238E27FC236}">
                        <a16:creationId xmlns:a16="http://schemas.microsoft.com/office/drawing/2014/main" id="{31083D49-3EBA-A876-D717-3E3815FDB9C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27100" y="3265488"/>
                    <a:ext cx="123825" cy="92075"/>
                  </a:xfrm>
                  <a:custGeom>
                    <a:avLst/>
                    <a:gdLst>
                      <a:gd name="T0" fmla="*/ 63 w 67"/>
                      <a:gd name="T1" fmla="*/ 50 h 50"/>
                      <a:gd name="T2" fmla="*/ 67 w 67"/>
                      <a:gd name="T3" fmla="*/ 43 h 50"/>
                      <a:gd name="T4" fmla="*/ 5 w 67"/>
                      <a:gd name="T5" fmla="*/ 0 h 50"/>
                      <a:gd name="T6" fmla="*/ 0 w 67"/>
                      <a:gd name="T7" fmla="*/ 6 h 50"/>
                      <a:gd name="T8" fmla="*/ 63 w 67"/>
                      <a:gd name="T9" fmla="*/ 5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7" h="50">
                        <a:moveTo>
                          <a:pt x="63" y="50"/>
                        </a:moveTo>
                        <a:cubicBezTo>
                          <a:pt x="64" y="48"/>
                          <a:pt x="66" y="46"/>
                          <a:pt x="67" y="43"/>
                        </a:cubicBezTo>
                        <a:cubicBezTo>
                          <a:pt x="5" y="0"/>
                          <a:pt x="5" y="0"/>
                          <a:pt x="5" y="0"/>
                        </a:cubicBezTo>
                        <a:cubicBezTo>
                          <a:pt x="3" y="2"/>
                          <a:pt x="2" y="4"/>
                          <a:pt x="0" y="6"/>
                        </a:cubicBezTo>
                        <a:lnTo>
                          <a:pt x="63" y="5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7" name="Freeform 20">
                    <a:extLst>
                      <a:ext uri="{FF2B5EF4-FFF2-40B4-BE49-F238E27FC236}">
                        <a16:creationId xmlns:a16="http://schemas.microsoft.com/office/drawing/2014/main" id="{82E6B6DA-59C4-B21E-9C37-F644305B541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0738" y="3430588"/>
                    <a:ext cx="130175" cy="82550"/>
                  </a:xfrm>
                  <a:custGeom>
                    <a:avLst/>
                    <a:gdLst>
                      <a:gd name="T0" fmla="*/ 66 w 70"/>
                      <a:gd name="T1" fmla="*/ 45 h 45"/>
                      <a:gd name="T2" fmla="*/ 70 w 70"/>
                      <a:gd name="T3" fmla="*/ 38 h 45"/>
                      <a:gd name="T4" fmla="*/ 4 w 70"/>
                      <a:gd name="T5" fmla="*/ 0 h 45"/>
                      <a:gd name="T6" fmla="*/ 0 w 70"/>
                      <a:gd name="T7" fmla="*/ 7 h 45"/>
                      <a:gd name="T8" fmla="*/ 66 w 70"/>
                      <a:gd name="T9" fmla="*/ 45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66" y="45"/>
                        </a:moveTo>
                        <a:cubicBezTo>
                          <a:pt x="68" y="43"/>
                          <a:pt x="69" y="41"/>
                          <a:pt x="70" y="38"/>
                        </a:cubicBez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3" y="3"/>
                          <a:pt x="2" y="5"/>
                          <a:pt x="0" y="7"/>
                        </a:cubicBezTo>
                        <a:lnTo>
                          <a:pt x="66" y="4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8" name="Freeform 21">
                    <a:extLst>
                      <a:ext uri="{FF2B5EF4-FFF2-40B4-BE49-F238E27FC236}">
                        <a16:creationId xmlns:a16="http://schemas.microsoft.com/office/drawing/2014/main" id="{7589AEB6-0257-B172-C578-F8F8E40442A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1838" y="3606801"/>
                    <a:ext cx="133350" cy="71438"/>
                  </a:xfrm>
                  <a:custGeom>
                    <a:avLst/>
                    <a:gdLst>
                      <a:gd name="T0" fmla="*/ 69 w 72"/>
                      <a:gd name="T1" fmla="*/ 39 h 39"/>
                      <a:gd name="T2" fmla="*/ 72 w 72"/>
                      <a:gd name="T3" fmla="*/ 32 h 39"/>
                      <a:gd name="T4" fmla="*/ 3 w 72"/>
                      <a:gd name="T5" fmla="*/ 0 h 39"/>
                      <a:gd name="T6" fmla="*/ 0 w 72"/>
                      <a:gd name="T7" fmla="*/ 7 h 39"/>
                      <a:gd name="T8" fmla="*/ 69 w 72"/>
                      <a:gd name="T9" fmla="*/ 39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69" y="39"/>
                        </a:moveTo>
                        <a:cubicBezTo>
                          <a:pt x="70" y="37"/>
                          <a:pt x="71" y="34"/>
                          <a:pt x="72" y="32"/>
                        </a:cubicBezTo>
                        <a:cubicBezTo>
                          <a:pt x="3" y="0"/>
                          <a:pt x="3" y="0"/>
                          <a:pt x="3" y="0"/>
                        </a:cubicBezTo>
                        <a:cubicBezTo>
                          <a:pt x="2" y="2"/>
                          <a:pt x="1" y="4"/>
                          <a:pt x="0" y="7"/>
                        </a:cubicBezTo>
                        <a:lnTo>
                          <a:pt x="69" y="3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9" name="Freeform 22">
                    <a:extLst>
                      <a:ext uri="{FF2B5EF4-FFF2-40B4-BE49-F238E27FC236}">
                        <a16:creationId xmlns:a16="http://schemas.microsoft.com/office/drawing/2014/main" id="{B56A8CC9-8C2B-64E6-1A49-6C33F399A41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498850" y="2438401"/>
                    <a:ext cx="60325" cy="138113"/>
                  </a:xfrm>
                  <a:custGeom>
                    <a:avLst/>
                    <a:gdLst>
                      <a:gd name="T0" fmla="*/ 0 w 33"/>
                      <a:gd name="T1" fmla="*/ 72 h 75"/>
                      <a:gd name="T2" fmla="*/ 7 w 33"/>
                      <a:gd name="T3" fmla="*/ 75 h 75"/>
                      <a:gd name="T4" fmla="*/ 33 w 33"/>
                      <a:gd name="T5" fmla="*/ 3 h 75"/>
                      <a:gd name="T6" fmla="*/ 26 w 33"/>
                      <a:gd name="T7" fmla="*/ 0 h 75"/>
                      <a:gd name="T8" fmla="*/ 0 w 33"/>
                      <a:gd name="T9" fmla="*/ 72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3" h="75">
                        <a:moveTo>
                          <a:pt x="0" y="72"/>
                        </a:moveTo>
                        <a:cubicBezTo>
                          <a:pt x="2" y="73"/>
                          <a:pt x="5" y="74"/>
                          <a:pt x="7" y="75"/>
                        </a:cubicBezTo>
                        <a:cubicBezTo>
                          <a:pt x="33" y="3"/>
                          <a:pt x="33" y="3"/>
                          <a:pt x="33" y="3"/>
                        </a:cubicBezTo>
                        <a:cubicBezTo>
                          <a:pt x="31" y="2"/>
                          <a:pt x="28" y="1"/>
                          <a:pt x="26" y="0"/>
                        </a:cubicBezTo>
                        <a:lnTo>
                          <a:pt x="0" y="7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0" name="Freeform 23">
                    <a:extLst>
                      <a:ext uri="{FF2B5EF4-FFF2-40B4-BE49-F238E27FC236}">
                        <a16:creationId xmlns:a16="http://schemas.microsoft.com/office/drawing/2014/main" id="{A1CEF95C-BF28-BD86-A8A8-6DE087AD6F5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649413" y="2601913"/>
                    <a:ext cx="84138" cy="130175"/>
                  </a:xfrm>
                  <a:custGeom>
                    <a:avLst/>
                    <a:gdLst>
                      <a:gd name="T0" fmla="*/ 38 w 45"/>
                      <a:gd name="T1" fmla="*/ 70 h 70"/>
                      <a:gd name="T2" fmla="*/ 45 w 45"/>
                      <a:gd name="T3" fmla="*/ 66 h 70"/>
                      <a:gd name="T4" fmla="*/ 7 w 45"/>
                      <a:gd name="T5" fmla="*/ 0 h 70"/>
                      <a:gd name="T6" fmla="*/ 0 w 45"/>
                      <a:gd name="T7" fmla="*/ 4 h 70"/>
                      <a:gd name="T8" fmla="*/ 38 w 45"/>
                      <a:gd name="T9" fmla="*/ 70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38" y="70"/>
                        </a:moveTo>
                        <a:cubicBezTo>
                          <a:pt x="41" y="68"/>
                          <a:pt x="43" y="67"/>
                          <a:pt x="45" y="66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3" y="2"/>
                          <a:pt x="0" y="4"/>
                        </a:cubicBezTo>
                        <a:lnTo>
                          <a:pt x="38" y="7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1" name="Freeform 24">
                    <a:extLst>
                      <a:ext uri="{FF2B5EF4-FFF2-40B4-BE49-F238E27FC236}">
                        <a16:creationId xmlns:a16="http://schemas.microsoft.com/office/drawing/2014/main" id="{EA3FD4F9-CE19-71A0-1696-DDEB6E4FCEC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323975" y="2832101"/>
                    <a:ext cx="101600" cy="117475"/>
                  </a:xfrm>
                  <a:custGeom>
                    <a:avLst/>
                    <a:gdLst>
                      <a:gd name="T0" fmla="*/ 49 w 55"/>
                      <a:gd name="T1" fmla="*/ 63 h 63"/>
                      <a:gd name="T2" fmla="*/ 55 w 55"/>
                      <a:gd name="T3" fmla="*/ 58 h 63"/>
                      <a:gd name="T4" fmla="*/ 6 w 55"/>
                      <a:gd name="T5" fmla="*/ 0 h 63"/>
                      <a:gd name="T6" fmla="*/ 0 w 55"/>
                      <a:gd name="T7" fmla="*/ 5 h 63"/>
                      <a:gd name="T8" fmla="*/ 49 w 55"/>
                      <a:gd name="T9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49" y="63"/>
                        </a:moveTo>
                        <a:cubicBezTo>
                          <a:pt x="51" y="61"/>
                          <a:pt x="53" y="60"/>
                          <a:pt x="55" y="58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5"/>
                        </a:cubicBezTo>
                        <a:lnTo>
                          <a:pt x="49" y="6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2" name="Freeform 25">
                    <a:extLst>
                      <a:ext uri="{FF2B5EF4-FFF2-40B4-BE49-F238E27FC236}">
                        <a16:creationId xmlns:a16="http://schemas.microsoft.com/office/drawing/2014/main" id="{5E7D31D9-6549-871B-1CBE-83306910372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479550" y="2711451"/>
                    <a:ext cx="92075" cy="123825"/>
                  </a:xfrm>
                  <a:custGeom>
                    <a:avLst/>
                    <a:gdLst>
                      <a:gd name="T0" fmla="*/ 44 w 50"/>
                      <a:gd name="T1" fmla="*/ 67 h 67"/>
                      <a:gd name="T2" fmla="*/ 50 w 50"/>
                      <a:gd name="T3" fmla="*/ 62 h 67"/>
                      <a:gd name="T4" fmla="*/ 6 w 50"/>
                      <a:gd name="T5" fmla="*/ 0 h 67"/>
                      <a:gd name="T6" fmla="*/ 0 w 50"/>
                      <a:gd name="T7" fmla="*/ 4 h 67"/>
                      <a:gd name="T8" fmla="*/ 44 w 50"/>
                      <a:gd name="T9" fmla="*/ 67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0" h="67">
                        <a:moveTo>
                          <a:pt x="44" y="67"/>
                        </a:moveTo>
                        <a:cubicBezTo>
                          <a:pt x="46" y="65"/>
                          <a:pt x="48" y="64"/>
                          <a:pt x="50" y="62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4"/>
                        </a:cubicBezTo>
                        <a:lnTo>
                          <a:pt x="44" y="6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3" name="Freeform 26">
                    <a:extLst>
                      <a:ext uri="{FF2B5EF4-FFF2-40B4-BE49-F238E27FC236}">
                        <a16:creationId xmlns:a16="http://schemas.microsoft.com/office/drawing/2014/main" id="{D15A72A9-8EBE-F638-3A7E-0A1A1E7149A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271963" y="2960688"/>
                    <a:ext cx="109538" cy="111125"/>
                  </a:xfrm>
                  <a:custGeom>
                    <a:avLst/>
                    <a:gdLst>
                      <a:gd name="T0" fmla="*/ 5 w 59"/>
                      <a:gd name="T1" fmla="*/ 60 h 60"/>
                      <a:gd name="T2" fmla="*/ 59 w 59"/>
                      <a:gd name="T3" fmla="*/ 6 h 60"/>
                      <a:gd name="T4" fmla="*/ 56 w 59"/>
                      <a:gd name="T5" fmla="*/ 3 h 60"/>
                      <a:gd name="T6" fmla="*/ 54 w 59"/>
                      <a:gd name="T7" fmla="*/ 0 h 60"/>
                      <a:gd name="T8" fmla="*/ 0 w 59"/>
                      <a:gd name="T9" fmla="*/ 54 h 60"/>
                      <a:gd name="T10" fmla="*/ 5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" y="60"/>
                        </a:moveTo>
                        <a:cubicBezTo>
                          <a:pt x="59" y="6"/>
                          <a:pt x="59" y="6"/>
                          <a:pt x="59" y="6"/>
                        </a:cubicBezTo>
                        <a:cubicBezTo>
                          <a:pt x="58" y="5"/>
                          <a:pt x="57" y="4"/>
                          <a:pt x="56" y="3"/>
                        </a:cubicBezTo>
                        <a:cubicBezTo>
                          <a:pt x="55" y="2"/>
                          <a:pt x="55" y="1"/>
                          <a:pt x="54" y="0"/>
                        </a:cubicBezTo>
                        <a:cubicBezTo>
                          <a:pt x="0" y="54"/>
                          <a:pt x="0" y="54"/>
                          <a:pt x="0" y="54"/>
                        </a:cubicBezTo>
                        <a:cubicBezTo>
                          <a:pt x="2" y="56"/>
                          <a:pt x="4" y="58"/>
                          <a:pt x="5" y="6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4" name="Freeform 27">
                    <a:extLst>
                      <a:ext uri="{FF2B5EF4-FFF2-40B4-BE49-F238E27FC236}">
                        <a16:creationId xmlns:a16="http://schemas.microsoft.com/office/drawing/2014/main" id="{65FC20AE-F507-E117-8BF3-AD189758EF4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79513" y="2963863"/>
                    <a:ext cx="109538" cy="111125"/>
                  </a:xfrm>
                  <a:custGeom>
                    <a:avLst/>
                    <a:gdLst>
                      <a:gd name="T0" fmla="*/ 54 w 59"/>
                      <a:gd name="T1" fmla="*/ 60 h 60"/>
                      <a:gd name="T2" fmla="*/ 59 w 59"/>
                      <a:gd name="T3" fmla="*/ 54 h 60"/>
                      <a:gd name="T4" fmla="*/ 6 w 59"/>
                      <a:gd name="T5" fmla="*/ 0 h 60"/>
                      <a:gd name="T6" fmla="*/ 5 w 59"/>
                      <a:gd name="T7" fmla="*/ 1 h 60"/>
                      <a:gd name="T8" fmla="*/ 0 w 59"/>
                      <a:gd name="T9" fmla="*/ 6 h 60"/>
                      <a:gd name="T10" fmla="*/ 54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4" y="60"/>
                        </a:moveTo>
                        <a:cubicBezTo>
                          <a:pt x="56" y="58"/>
                          <a:pt x="57" y="56"/>
                          <a:pt x="59" y="54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5" y="1"/>
                          <a:pt x="5" y="1"/>
                          <a:pt x="5" y="1"/>
                        </a:cubicBezTo>
                        <a:cubicBezTo>
                          <a:pt x="3" y="3"/>
                          <a:pt x="2" y="4"/>
                          <a:pt x="0" y="6"/>
                        </a:cubicBezTo>
                        <a:lnTo>
                          <a:pt x="54" y="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5" name="Freeform 28">
                    <a:extLst>
                      <a:ext uri="{FF2B5EF4-FFF2-40B4-BE49-F238E27FC236}">
                        <a16:creationId xmlns:a16="http://schemas.microsoft.com/office/drawing/2014/main" id="{1A891530-EF0B-F927-9196-55E34448893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28638" y="4557713"/>
                    <a:ext cx="138113" cy="14288"/>
                  </a:xfrm>
                  <a:custGeom>
                    <a:avLst/>
                    <a:gdLst>
                      <a:gd name="T0" fmla="*/ 75 w 75"/>
                      <a:gd name="T1" fmla="*/ 0 h 8"/>
                      <a:gd name="T2" fmla="*/ 0 w 75"/>
                      <a:gd name="T3" fmla="*/ 0 h 8"/>
                      <a:gd name="T4" fmla="*/ 0 w 75"/>
                      <a:gd name="T5" fmla="*/ 8 h 8"/>
                      <a:gd name="T6" fmla="*/ 75 w 75"/>
                      <a:gd name="T7" fmla="*/ 8 h 8"/>
                      <a:gd name="T8" fmla="*/ 75 w 75"/>
                      <a:gd name="T9" fmla="*/ 0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8">
                        <a:moveTo>
                          <a:pt x="75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cubicBezTo>
                          <a:pt x="75" y="8"/>
                          <a:pt x="75" y="8"/>
                          <a:pt x="75" y="8"/>
                        </a:cubicBezTo>
                        <a:cubicBezTo>
                          <a:pt x="75" y="5"/>
                          <a:pt x="75" y="3"/>
                          <a:pt x="75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6" name="Freeform 29">
                    <a:extLst>
                      <a:ext uri="{FF2B5EF4-FFF2-40B4-BE49-F238E27FC236}">
                        <a16:creationId xmlns:a16="http://schemas.microsoft.com/office/drawing/2014/main" id="{15A88FA8-1449-A18A-C75D-1735B922B42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133850" y="2828926"/>
                    <a:ext cx="103188" cy="115888"/>
                  </a:xfrm>
                  <a:custGeom>
                    <a:avLst/>
                    <a:gdLst>
                      <a:gd name="T0" fmla="*/ 0 w 55"/>
                      <a:gd name="T1" fmla="*/ 58 h 63"/>
                      <a:gd name="T2" fmla="*/ 6 w 55"/>
                      <a:gd name="T3" fmla="*/ 63 h 63"/>
                      <a:gd name="T4" fmla="*/ 55 w 55"/>
                      <a:gd name="T5" fmla="*/ 5 h 63"/>
                      <a:gd name="T6" fmla="*/ 49 w 55"/>
                      <a:gd name="T7" fmla="*/ 0 h 63"/>
                      <a:gd name="T8" fmla="*/ 0 w 55"/>
                      <a:gd name="T9" fmla="*/ 58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0" y="58"/>
                        </a:moveTo>
                        <a:cubicBezTo>
                          <a:pt x="2" y="60"/>
                          <a:pt x="4" y="62"/>
                          <a:pt x="6" y="63"/>
                        </a:cubicBezTo>
                        <a:cubicBezTo>
                          <a:pt x="55" y="5"/>
                          <a:pt x="55" y="5"/>
                          <a:pt x="55" y="5"/>
                        </a:cubicBezTo>
                        <a:cubicBezTo>
                          <a:pt x="53" y="3"/>
                          <a:pt x="51" y="2"/>
                          <a:pt x="49" y="0"/>
                        </a:cubicBezTo>
                        <a:lnTo>
                          <a:pt x="0" y="58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7" name="Freeform 30">
                    <a:extLst>
                      <a:ext uri="{FF2B5EF4-FFF2-40B4-BE49-F238E27FC236}">
                        <a16:creationId xmlns:a16="http://schemas.microsoft.com/office/drawing/2014/main" id="{5FE960BD-A50E-4BFC-11F3-9340CA969F9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58813" y="3787776"/>
                    <a:ext cx="136525" cy="60325"/>
                  </a:xfrm>
                  <a:custGeom>
                    <a:avLst/>
                    <a:gdLst>
                      <a:gd name="T0" fmla="*/ 71 w 74"/>
                      <a:gd name="T1" fmla="*/ 33 h 33"/>
                      <a:gd name="T2" fmla="*/ 74 w 74"/>
                      <a:gd name="T3" fmla="*/ 26 h 33"/>
                      <a:gd name="T4" fmla="*/ 2 w 74"/>
                      <a:gd name="T5" fmla="*/ 0 h 33"/>
                      <a:gd name="T6" fmla="*/ 0 w 74"/>
                      <a:gd name="T7" fmla="*/ 7 h 33"/>
                      <a:gd name="T8" fmla="*/ 71 w 74"/>
                      <a:gd name="T9" fmla="*/ 33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4" h="33">
                        <a:moveTo>
                          <a:pt x="71" y="33"/>
                        </a:moveTo>
                        <a:cubicBezTo>
                          <a:pt x="72" y="31"/>
                          <a:pt x="73" y="28"/>
                          <a:pt x="74" y="26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2" y="2"/>
                          <a:pt x="1" y="5"/>
                          <a:pt x="0" y="7"/>
                        </a:cubicBezTo>
                        <a:lnTo>
                          <a:pt x="71" y="3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8" name="Freeform 31">
                    <a:extLst>
                      <a:ext uri="{FF2B5EF4-FFF2-40B4-BE49-F238E27FC236}">
                        <a16:creationId xmlns:a16="http://schemas.microsoft.com/office/drawing/2014/main" id="{7D68D6FA-5F2E-F385-B8C7-CC14B170FC7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832225" y="2605088"/>
                    <a:ext cx="84138" cy="128588"/>
                  </a:xfrm>
                  <a:custGeom>
                    <a:avLst/>
                    <a:gdLst>
                      <a:gd name="T0" fmla="*/ 0 w 45"/>
                      <a:gd name="T1" fmla="*/ 65 h 70"/>
                      <a:gd name="T2" fmla="*/ 7 w 45"/>
                      <a:gd name="T3" fmla="*/ 70 h 70"/>
                      <a:gd name="T4" fmla="*/ 45 w 45"/>
                      <a:gd name="T5" fmla="*/ 4 h 70"/>
                      <a:gd name="T6" fmla="*/ 38 w 45"/>
                      <a:gd name="T7" fmla="*/ 0 h 70"/>
                      <a:gd name="T8" fmla="*/ 0 w 45"/>
                      <a:gd name="T9" fmla="*/ 65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0" y="65"/>
                        </a:moveTo>
                        <a:cubicBezTo>
                          <a:pt x="3" y="67"/>
                          <a:pt x="5" y="68"/>
                          <a:pt x="7" y="70"/>
                        </a:cubicBezTo>
                        <a:cubicBezTo>
                          <a:pt x="45" y="4"/>
                          <a:pt x="45" y="4"/>
                          <a:pt x="45" y="4"/>
                        </a:cubicBezTo>
                        <a:cubicBezTo>
                          <a:pt x="43" y="2"/>
                          <a:pt x="41" y="1"/>
                          <a:pt x="38" y="0"/>
                        </a:cubicBezTo>
                        <a:lnTo>
                          <a:pt x="0" y="65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9" name="Freeform 32">
                    <a:extLst>
                      <a:ext uri="{FF2B5EF4-FFF2-40B4-BE49-F238E27FC236}">
                        <a16:creationId xmlns:a16="http://schemas.microsoft.com/office/drawing/2014/main" id="{6D00FC2F-B6C7-6265-FAC4-405E0ECD17F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987800" y="2708276"/>
                    <a:ext cx="95250" cy="123825"/>
                  </a:xfrm>
                  <a:custGeom>
                    <a:avLst/>
                    <a:gdLst>
                      <a:gd name="T0" fmla="*/ 0 w 51"/>
                      <a:gd name="T1" fmla="*/ 63 h 67"/>
                      <a:gd name="T2" fmla="*/ 7 w 51"/>
                      <a:gd name="T3" fmla="*/ 67 h 67"/>
                      <a:gd name="T4" fmla="*/ 51 w 51"/>
                      <a:gd name="T5" fmla="*/ 5 h 67"/>
                      <a:gd name="T6" fmla="*/ 44 w 51"/>
                      <a:gd name="T7" fmla="*/ 0 h 67"/>
                      <a:gd name="T8" fmla="*/ 0 w 51"/>
                      <a:gd name="T9" fmla="*/ 63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1" h="67">
                        <a:moveTo>
                          <a:pt x="0" y="63"/>
                        </a:moveTo>
                        <a:cubicBezTo>
                          <a:pt x="2" y="64"/>
                          <a:pt x="5" y="66"/>
                          <a:pt x="7" y="67"/>
                        </a:cubicBezTo>
                        <a:cubicBezTo>
                          <a:pt x="51" y="5"/>
                          <a:pt x="51" y="5"/>
                          <a:pt x="51" y="5"/>
                        </a:cubicBezTo>
                        <a:cubicBezTo>
                          <a:pt x="48" y="3"/>
                          <a:pt x="46" y="2"/>
                          <a:pt x="44" y="0"/>
                        </a:cubicBezTo>
                        <a:lnTo>
                          <a:pt x="0" y="63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0" name="Freeform 33">
                    <a:extLst>
                      <a:ext uri="{FF2B5EF4-FFF2-40B4-BE49-F238E27FC236}">
                        <a16:creationId xmlns:a16="http://schemas.microsoft.com/office/drawing/2014/main" id="{3923A48F-FC89-E432-DB9E-5C16557906D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61988" y="5280026"/>
                    <a:ext cx="139700" cy="60325"/>
                  </a:xfrm>
                  <a:custGeom>
                    <a:avLst/>
                    <a:gdLst>
                      <a:gd name="T0" fmla="*/ 75 w 75"/>
                      <a:gd name="T1" fmla="*/ 7 h 33"/>
                      <a:gd name="T2" fmla="*/ 72 w 75"/>
                      <a:gd name="T3" fmla="*/ 0 h 33"/>
                      <a:gd name="T4" fmla="*/ 0 w 75"/>
                      <a:gd name="T5" fmla="*/ 26 h 33"/>
                      <a:gd name="T6" fmla="*/ 3 w 75"/>
                      <a:gd name="T7" fmla="*/ 33 h 33"/>
                      <a:gd name="T8" fmla="*/ 75 w 75"/>
                      <a:gd name="T9" fmla="*/ 7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33">
                        <a:moveTo>
                          <a:pt x="75" y="7"/>
                        </a:moveTo>
                        <a:cubicBezTo>
                          <a:pt x="74" y="5"/>
                          <a:pt x="73" y="2"/>
                          <a:pt x="72" y="0"/>
                        </a:cubicBezTo>
                        <a:cubicBezTo>
                          <a:pt x="0" y="26"/>
                          <a:pt x="0" y="26"/>
                          <a:pt x="0" y="26"/>
                        </a:cubicBezTo>
                        <a:cubicBezTo>
                          <a:pt x="1" y="28"/>
                          <a:pt x="2" y="31"/>
                          <a:pt x="3" y="33"/>
                        </a:cubicBezTo>
                        <a:lnTo>
                          <a:pt x="75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1" name="Freeform 34">
                    <a:extLst>
                      <a:ext uri="{FF2B5EF4-FFF2-40B4-BE49-F238E27FC236}">
                        <a16:creationId xmlns:a16="http://schemas.microsoft.com/office/drawing/2014/main" id="{C9958BD9-EDCA-6F78-6D85-ED42CFF5BA0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04838" y="5103813"/>
                    <a:ext cx="138113" cy="50800"/>
                  </a:xfrm>
                  <a:custGeom>
                    <a:avLst/>
                    <a:gdLst>
                      <a:gd name="T0" fmla="*/ 75 w 75"/>
                      <a:gd name="T1" fmla="*/ 8 h 27"/>
                      <a:gd name="T2" fmla="*/ 73 w 75"/>
                      <a:gd name="T3" fmla="*/ 0 h 27"/>
                      <a:gd name="T4" fmla="*/ 0 w 75"/>
                      <a:gd name="T5" fmla="*/ 20 h 27"/>
                      <a:gd name="T6" fmla="*/ 2 w 75"/>
                      <a:gd name="T7" fmla="*/ 27 h 27"/>
                      <a:gd name="T8" fmla="*/ 75 w 75"/>
                      <a:gd name="T9" fmla="*/ 8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27">
                        <a:moveTo>
                          <a:pt x="75" y="8"/>
                        </a:moveTo>
                        <a:cubicBezTo>
                          <a:pt x="74" y="5"/>
                          <a:pt x="74" y="3"/>
                          <a:pt x="73" y="0"/>
                        </a:cubicBezTo>
                        <a:cubicBezTo>
                          <a:pt x="0" y="20"/>
                          <a:pt x="0" y="20"/>
                          <a:pt x="0" y="20"/>
                        </a:cubicBezTo>
                        <a:cubicBezTo>
                          <a:pt x="0" y="22"/>
                          <a:pt x="1" y="25"/>
                          <a:pt x="2" y="27"/>
                        </a:cubicBezTo>
                        <a:lnTo>
                          <a:pt x="75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2" name="Freeform 35">
                    <a:extLst>
                      <a:ext uri="{FF2B5EF4-FFF2-40B4-BE49-F238E27FC236}">
                        <a16:creationId xmlns:a16="http://schemas.microsoft.com/office/drawing/2014/main" id="{63C3039A-64B3-EC47-7874-D8798EFC733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8675" y="5613401"/>
                    <a:ext cx="130175" cy="82550"/>
                  </a:xfrm>
                  <a:custGeom>
                    <a:avLst/>
                    <a:gdLst>
                      <a:gd name="T0" fmla="*/ 70 w 70"/>
                      <a:gd name="T1" fmla="*/ 7 h 45"/>
                      <a:gd name="T2" fmla="*/ 66 w 70"/>
                      <a:gd name="T3" fmla="*/ 0 h 45"/>
                      <a:gd name="T4" fmla="*/ 0 w 70"/>
                      <a:gd name="T5" fmla="*/ 38 h 45"/>
                      <a:gd name="T6" fmla="*/ 4 w 70"/>
                      <a:gd name="T7" fmla="*/ 45 h 45"/>
                      <a:gd name="T8" fmla="*/ 70 w 70"/>
                      <a:gd name="T9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70" y="7"/>
                        </a:moveTo>
                        <a:cubicBezTo>
                          <a:pt x="69" y="4"/>
                          <a:pt x="67" y="2"/>
                          <a:pt x="66" y="0"/>
                        </a:cubicBezTo>
                        <a:cubicBezTo>
                          <a:pt x="0" y="38"/>
                          <a:pt x="0" y="38"/>
                          <a:pt x="0" y="38"/>
                        </a:cubicBezTo>
                        <a:cubicBezTo>
                          <a:pt x="1" y="40"/>
                          <a:pt x="3" y="42"/>
                          <a:pt x="4" y="45"/>
                        </a:cubicBezTo>
                        <a:lnTo>
                          <a:pt x="70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3" name="Freeform 36">
                    <a:extLst>
                      <a:ext uri="{FF2B5EF4-FFF2-40B4-BE49-F238E27FC236}">
                        <a16:creationId xmlns:a16="http://schemas.microsoft.com/office/drawing/2014/main" id="{5BE8CBC7-5563-1E47-BF61-2E39FB37D64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61975" y="4924426"/>
                    <a:ext cx="141288" cy="38100"/>
                  </a:xfrm>
                  <a:custGeom>
                    <a:avLst/>
                    <a:gdLst>
                      <a:gd name="T0" fmla="*/ 76 w 76"/>
                      <a:gd name="T1" fmla="*/ 8 h 21"/>
                      <a:gd name="T2" fmla="*/ 74 w 76"/>
                      <a:gd name="T3" fmla="*/ 0 h 21"/>
                      <a:gd name="T4" fmla="*/ 0 w 76"/>
                      <a:gd name="T5" fmla="*/ 13 h 21"/>
                      <a:gd name="T6" fmla="*/ 1 w 76"/>
                      <a:gd name="T7" fmla="*/ 21 h 21"/>
                      <a:gd name="T8" fmla="*/ 76 w 76"/>
                      <a:gd name="T9" fmla="*/ 8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21">
                        <a:moveTo>
                          <a:pt x="76" y="8"/>
                        </a:moveTo>
                        <a:cubicBezTo>
                          <a:pt x="75" y="5"/>
                          <a:pt x="75" y="3"/>
                          <a:pt x="74" y="0"/>
                        </a:cubicBez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0" y="16"/>
                          <a:pt x="1" y="18"/>
                          <a:pt x="1" y="21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4" name="Freeform 37">
                    <a:extLst>
                      <a:ext uri="{FF2B5EF4-FFF2-40B4-BE49-F238E27FC236}">
                        <a16:creationId xmlns:a16="http://schemas.microsoft.com/office/drawing/2014/main" id="{5E84F3E1-29C1-99FA-DAD7-92DB0280B0B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8188" y="5449888"/>
                    <a:ext cx="133350" cy="73025"/>
                  </a:xfrm>
                  <a:custGeom>
                    <a:avLst/>
                    <a:gdLst>
                      <a:gd name="T0" fmla="*/ 72 w 72"/>
                      <a:gd name="T1" fmla="*/ 7 h 39"/>
                      <a:gd name="T2" fmla="*/ 69 w 72"/>
                      <a:gd name="T3" fmla="*/ 0 h 39"/>
                      <a:gd name="T4" fmla="*/ 0 w 72"/>
                      <a:gd name="T5" fmla="*/ 32 h 39"/>
                      <a:gd name="T6" fmla="*/ 3 w 72"/>
                      <a:gd name="T7" fmla="*/ 39 h 39"/>
                      <a:gd name="T8" fmla="*/ 72 w 72"/>
                      <a:gd name="T9" fmla="*/ 7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72" y="7"/>
                        </a:moveTo>
                        <a:cubicBezTo>
                          <a:pt x="71" y="4"/>
                          <a:pt x="70" y="2"/>
                          <a:pt x="69" y="0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1" y="34"/>
                          <a:pt x="2" y="37"/>
                          <a:pt x="3" y="39"/>
                        </a:cubicBezTo>
                        <a:lnTo>
                          <a:pt x="72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5" name="Freeform 39">
                    <a:extLst>
                      <a:ext uri="{FF2B5EF4-FFF2-40B4-BE49-F238E27FC236}">
                        <a16:creationId xmlns:a16="http://schemas.microsoft.com/office/drawing/2014/main" id="{FA358CDF-3593-81EC-F293-0D85434ADBA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740276"/>
                    <a:ext cx="139700" cy="28575"/>
                  </a:xfrm>
                  <a:custGeom>
                    <a:avLst/>
                    <a:gdLst>
                      <a:gd name="T0" fmla="*/ 76 w 76"/>
                      <a:gd name="T1" fmla="*/ 8 h 15"/>
                      <a:gd name="T2" fmla="*/ 75 w 76"/>
                      <a:gd name="T3" fmla="*/ 0 h 15"/>
                      <a:gd name="T4" fmla="*/ 0 w 76"/>
                      <a:gd name="T5" fmla="*/ 7 h 15"/>
                      <a:gd name="T6" fmla="*/ 1 w 76"/>
                      <a:gd name="T7" fmla="*/ 15 h 15"/>
                      <a:gd name="T8" fmla="*/ 76 w 76"/>
                      <a:gd name="T9" fmla="*/ 8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15">
                        <a:moveTo>
                          <a:pt x="76" y="8"/>
                        </a:moveTo>
                        <a:cubicBezTo>
                          <a:pt x="76" y="6"/>
                          <a:pt x="76" y="3"/>
                          <a:pt x="75" y="0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10"/>
                          <a:pt x="1" y="12"/>
                          <a:pt x="1" y="15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6" name="Freeform 40">
                    <a:extLst>
                      <a:ext uri="{FF2B5EF4-FFF2-40B4-BE49-F238E27FC236}">
                        <a16:creationId xmlns:a16="http://schemas.microsoft.com/office/drawing/2014/main" id="{E6957719-8C62-B971-C51A-D3554350195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360863"/>
                    <a:ext cx="138113" cy="28575"/>
                  </a:xfrm>
                  <a:custGeom>
                    <a:avLst/>
                    <a:gdLst>
                      <a:gd name="T0" fmla="*/ 75 w 75"/>
                      <a:gd name="T1" fmla="*/ 15 h 15"/>
                      <a:gd name="T2" fmla="*/ 75 w 75"/>
                      <a:gd name="T3" fmla="*/ 7 h 15"/>
                      <a:gd name="T4" fmla="*/ 0 w 75"/>
                      <a:gd name="T5" fmla="*/ 0 h 15"/>
                      <a:gd name="T6" fmla="*/ 0 w 75"/>
                      <a:gd name="T7" fmla="*/ 8 h 15"/>
                      <a:gd name="T8" fmla="*/ 75 w 75"/>
                      <a:gd name="T9" fmla="*/ 15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5">
                        <a:moveTo>
                          <a:pt x="75" y="15"/>
                        </a:moveTo>
                        <a:cubicBezTo>
                          <a:pt x="75" y="12"/>
                          <a:pt x="75" y="9"/>
                          <a:pt x="75" y="7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lnTo>
                          <a:pt x="75" y="1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7" name="Freeform 41">
                    <a:extLst>
                      <a:ext uri="{FF2B5EF4-FFF2-40B4-BE49-F238E27FC236}">
                        <a16:creationId xmlns:a16="http://schemas.microsoft.com/office/drawing/2014/main" id="{BB82693D-A4F3-8FCA-0210-CE6B86CEDCE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644900" y="2508251"/>
                    <a:ext cx="107950" cy="171450"/>
                  </a:xfrm>
                  <a:custGeom>
                    <a:avLst/>
                    <a:gdLst>
                      <a:gd name="T0" fmla="*/ 39 w 58"/>
                      <a:gd name="T1" fmla="*/ 0 h 93"/>
                      <a:gd name="T2" fmla="*/ 0 w 58"/>
                      <a:gd name="T3" fmla="*/ 85 h 93"/>
                      <a:gd name="T4" fmla="*/ 10 w 58"/>
                      <a:gd name="T5" fmla="*/ 89 h 93"/>
                      <a:gd name="T6" fmla="*/ 19 w 58"/>
                      <a:gd name="T7" fmla="*/ 93 h 93"/>
                      <a:gd name="T8" fmla="*/ 58 w 58"/>
                      <a:gd name="T9" fmla="*/ 8 h 93"/>
                      <a:gd name="T10" fmla="*/ 49 w 58"/>
                      <a:gd name="T11" fmla="*/ 4 h 93"/>
                      <a:gd name="T12" fmla="*/ 39 w 58"/>
                      <a:gd name="T13" fmla="*/ 0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39" y="0"/>
                        </a:moveTo>
                        <a:cubicBezTo>
                          <a:pt x="0" y="85"/>
                          <a:pt x="0" y="85"/>
                          <a:pt x="0" y="85"/>
                        </a:cubicBezTo>
                        <a:cubicBezTo>
                          <a:pt x="2" y="85"/>
                          <a:pt x="8" y="88"/>
                          <a:pt x="10" y="89"/>
                        </a:cubicBezTo>
                        <a:cubicBezTo>
                          <a:pt x="11" y="90"/>
                          <a:pt x="17" y="93"/>
                          <a:pt x="19" y="93"/>
                        </a:cubicBezTo>
                        <a:cubicBezTo>
                          <a:pt x="58" y="8"/>
                          <a:pt x="58" y="8"/>
                          <a:pt x="58" y="8"/>
                        </a:cubicBezTo>
                        <a:cubicBezTo>
                          <a:pt x="56" y="8"/>
                          <a:pt x="50" y="4"/>
                          <a:pt x="49" y="4"/>
                        </a:cubicBezTo>
                        <a:cubicBezTo>
                          <a:pt x="47" y="3"/>
                          <a:pt x="41" y="0"/>
                          <a:pt x="39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8" name="Freeform 42">
                    <a:extLst>
                      <a:ext uri="{FF2B5EF4-FFF2-40B4-BE49-F238E27FC236}">
                        <a16:creationId xmlns:a16="http://schemas.microsoft.com/office/drawing/2014/main" id="{A59D185E-667C-5F09-062B-33E6C1F2DF9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364038" y="3095626"/>
                    <a:ext cx="157163" cy="139700"/>
                  </a:xfrm>
                  <a:custGeom>
                    <a:avLst/>
                    <a:gdLst>
                      <a:gd name="T0" fmla="*/ 72 w 85"/>
                      <a:gd name="T1" fmla="*/ 0 h 76"/>
                      <a:gd name="T2" fmla="*/ 0 w 85"/>
                      <a:gd name="T3" fmla="*/ 60 h 76"/>
                      <a:gd name="T4" fmla="*/ 6 w 85"/>
                      <a:gd name="T5" fmla="*/ 68 h 76"/>
                      <a:gd name="T6" fmla="*/ 13 w 85"/>
                      <a:gd name="T7" fmla="*/ 76 h 76"/>
                      <a:gd name="T8" fmla="*/ 85 w 85"/>
                      <a:gd name="T9" fmla="*/ 16 h 76"/>
                      <a:gd name="T10" fmla="*/ 78 w 85"/>
                      <a:gd name="T11" fmla="*/ 8 h 76"/>
                      <a:gd name="T12" fmla="*/ 72 w 85"/>
                      <a:gd name="T13" fmla="*/ 0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6">
                        <a:moveTo>
                          <a:pt x="72" y="0"/>
                        </a:move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1" y="61"/>
                          <a:pt x="6" y="67"/>
                          <a:pt x="6" y="68"/>
                        </a:cubicBezTo>
                        <a:cubicBezTo>
                          <a:pt x="7" y="69"/>
                          <a:pt x="12" y="75"/>
                          <a:pt x="13" y="76"/>
                        </a:cubicBezTo>
                        <a:cubicBezTo>
                          <a:pt x="85" y="16"/>
                          <a:pt x="85" y="16"/>
                          <a:pt x="85" y="16"/>
                        </a:cubicBezTo>
                        <a:cubicBezTo>
                          <a:pt x="84" y="15"/>
                          <a:pt x="79" y="9"/>
                          <a:pt x="78" y="8"/>
                        </a:cubicBezTo>
                        <a:cubicBezTo>
                          <a:pt x="78" y="7"/>
                          <a:pt x="73" y="1"/>
                          <a:pt x="72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9" name="Freeform 43">
                    <a:extLst>
                      <a:ext uri="{FF2B5EF4-FFF2-40B4-BE49-F238E27FC236}">
                        <a16:creationId xmlns:a16="http://schemas.microsoft.com/office/drawing/2014/main" id="{5B3DE87A-24B8-6E71-6BE5-5DA9998382E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814513" y="2506663"/>
                    <a:ext cx="107950" cy="171450"/>
                  </a:xfrm>
                  <a:custGeom>
                    <a:avLst/>
                    <a:gdLst>
                      <a:gd name="T0" fmla="*/ 0 w 58"/>
                      <a:gd name="T1" fmla="*/ 9 h 93"/>
                      <a:gd name="T2" fmla="*/ 40 w 58"/>
                      <a:gd name="T3" fmla="*/ 93 h 93"/>
                      <a:gd name="T4" fmla="*/ 49 w 58"/>
                      <a:gd name="T5" fmla="*/ 89 h 93"/>
                      <a:gd name="T6" fmla="*/ 58 w 58"/>
                      <a:gd name="T7" fmla="*/ 85 h 93"/>
                      <a:gd name="T8" fmla="*/ 18 w 58"/>
                      <a:gd name="T9" fmla="*/ 0 h 93"/>
                      <a:gd name="T10" fmla="*/ 9 w 58"/>
                      <a:gd name="T11" fmla="*/ 4 h 93"/>
                      <a:gd name="T12" fmla="*/ 0 w 58"/>
                      <a:gd name="T13" fmla="*/ 9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0" y="9"/>
                        </a:moveTo>
                        <a:cubicBezTo>
                          <a:pt x="40" y="93"/>
                          <a:pt x="40" y="93"/>
                          <a:pt x="40" y="93"/>
                        </a:cubicBezTo>
                        <a:cubicBezTo>
                          <a:pt x="41" y="93"/>
                          <a:pt x="47" y="90"/>
                          <a:pt x="49" y="89"/>
                        </a:cubicBezTo>
                        <a:cubicBezTo>
                          <a:pt x="50" y="88"/>
                          <a:pt x="57" y="85"/>
                          <a:pt x="58" y="85"/>
                        </a:cubicBezTo>
                        <a:cubicBezTo>
                          <a:pt x="18" y="0"/>
                          <a:pt x="18" y="0"/>
                          <a:pt x="18" y="0"/>
                        </a:cubicBezTo>
                        <a:cubicBezTo>
                          <a:pt x="17" y="1"/>
                          <a:pt x="10" y="4"/>
                          <a:pt x="9" y="4"/>
                        </a:cubicBezTo>
                        <a:cubicBezTo>
                          <a:pt x="7" y="5"/>
                          <a:pt x="1" y="8"/>
                          <a:pt x="0" y="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0" name="Freeform 44">
                    <a:extLst>
                      <a:ext uri="{FF2B5EF4-FFF2-40B4-BE49-F238E27FC236}">
                        <a16:creationId xmlns:a16="http://schemas.microsoft.com/office/drawing/2014/main" id="{C0CF0816-9FE2-8C1E-EB6E-3E146ECCE1B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225" y="3100388"/>
                    <a:ext cx="157163" cy="139700"/>
                  </a:xfrm>
                  <a:custGeom>
                    <a:avLst/>
                    <a:gdLst>
                      <a:gd name="T0" fmla="*/ 0 w 85"/>
                      <a:gd name="T1" fmla="*/ 16 h 75"/>
                      <a:gd name="T2" fmla="*/ 72 w 85"/>
                      <a:gd name="T3" fmla="*/ 75 h 75"/>
                      <a:gd name="T4" fmla="*/ 78 w 85"/>
                      <a:gd name="T5" fmla="*/ 67 h 75"/>
                      <a:gd name="T6" fmla="*/ 85 w 85"/>
                      <a:gd name="T7" fmla="*/ 59 h 75"/>
                      <a:gd name="T8" fmla="*/ 12 w 85"/>
                      <a:gd name="T9" fmla="*/ 0 h 75"/>
                      <a:gd name="T10" fmla="*/ 6 w 85"/>
                      <a:gd name="T11" fmla="*/ 8 h 75"/>
                      <a:gd name="T12" fmla="*/ 0 w 85"/>
                      <a:gd name="T13" fmla="*/ 16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5">
                        <a:moveTo>
                          <a:pt x="0" y="16"/>
                        </a:moveTo>
                        <a:cubicBezTo>
                          <a:pt x="72" y="75"/>
                          <a:pt x="72" y="75"/>
                          <a:pt x="72" y="75"/>
                        </a:cubicBezTo>
                        <a:cubicBezTo>
                          <a:pt x="73" y="74"/>
                          <a:pt x="78" y="68"/>
                          <a:pt x="78" y="67"/>
                        </a:cubicBezTo>
                        <a:cubicBezTo>
                          <a:pt x="79" y="66"/>
                          <a:pt x="84" y="60"/>
                          <a:pt x="85" y="59"/>
                        </a:cubicBezTo>
                        <a:cubicBezTo>
                          <a:pt x="12" y="0"/>
                          <a:pt x="12" y="0"/>
                          <a:pt x="12" y="0"/>
                        </a:cubicBezTo>
                        <a:cubicBezTo>
                          <a:pt x="11" y="1"/>
                          <a:pt x="7" y="7"/>
                          <a:pt x="6" y="8"/>
                        </a:cubicBezTo>
                        <a:cubicBezTo>
                          <a:pt x="5" y="9"/>
                          <a:pt x="0" y="14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1" name="Freeform 46">
                    <a:extLst>
                      <a:ext uri="{FF2B5EF4-FFF2-40B4-BE49-F238E27FC236}">
                        <a16:creationId xmlns:a16="http://schemas.microsoft.com/office/drawing/2014/main" id="{C57E0ADE-0A79-7AEC-75A2-2ECD87BE175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58800" y="4906963"/>
                    <a:ext cx="177800" cy="69850"/>
                  </a:xfrm>
                  <a:custGeom>
                    <a:avLst/>
                    <a:gdLst>
                      <a:gd name="T0" fmla="*/ 4 w 96"/>
                      <a:gd name="T1" fmla="*/ 37 h 37"/>
                      <a:gd name="T2" fmla="*/ 96 w 96"/>
                      <a:gd name="T3" fmla="*/ 20 h 37"/>
                      <a:gd name="T4" fmla="*/ 94 w 96"/>
                      <a:gd name="T5" fmla="*/ 10 h 37"/>
                      <a:gd name="T6" fmla="*/ 92 w 96"/>
                      <a:gd name="T7" fmla="*/ 0 h 37"/>
                      <a:gd name="T8" fmla="*/ 0 w 96"/>
                      <a:gd name="T9" fmla="*/ 17 h 37"/>
                      <a:gd name="T10" fmla="*/ 2 w 96"/>
                      <a:gd name="T11" fmla="*/ 27 h 37"/>
                      <a:gd name="T12" fmla="*/ 4 w 96"/>
                      <a:gd name="T13" fmla="*/ 37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6" h="37">
                        <a:moveTo>
                          <a:pt x="4" y="37"/>
                        </a:moveTo>
                        <a:cubicBezTo>
                          <a:pt x="96" y="20"/>
                          <a:pt x="96" y="20"/>
                          <a:pt x="96" y="20"/>
                        </a:cubicBezTo>
                        <a:cubicBezTo>
                          <a:pt x="96" y="19"/>
                          <a:pt x="94" y="12"/>
                          <a:pt x="94" y="10"/>
                        </a:cubicBezTo>
                        <a:cubicBezTo>
                          <a:pt x="94" y="9"/>
                          <a:pt x="93" y="2"/>
                          <a:pt x="92" y="0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1" y="18"/>
                          <a:pt x="2" y="25"/>
                          <a:pt x="2" y="27"/>
                        </a:cubicBezTo>
                        <a:cubicBezTo>
                          <a:pt x="2" y="28"/>
                          <a:pt x="4" y="35"/>
                          <a:pt x="4" y="3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235" name="Group 1019">
                <a:extLst>
                  <a:ext uri="{FF2B5EF4-FFF2-40B4-BE49-F238E27FC236}">
                    <a16:creationId xmlns:a16="http://schemas.microsoft.com/office/drawing/2014/main" id="{18F82570-5EDE-B725-F5B5-64FE8A3C85D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486427" y="2263024"/>
                <a:ext cx="1699667" cy="2477857"/>
                <a:chOff x="1866900" y="3224213"/>
                <a:chExt cx="2184400" cy="3184525"/>
              </a:xfrm>
            </p:grpSpPr>
            <p:sp>
              <p:nvSpPr>
                <p:cNvPr id="360" name="Freeform 47">
                  <a:extLst>
                    <a:ext uri="{FF2B5EF4-FFF2-40B4-BE49-F238E27FC236}">
                      <a16:creationId xmlns:a16="http://schemas.microsoft.com/office/drawing/2014/main" id="{F8D4A211-4C32-9C6E-1B67-6EC6BE10645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933575" y="3373438"/>
                  <a:ext cx="2117725" cy="3035300"/>
                </a:xfrm>
                <a:custGeom>
                  <a:avLst/>
                  <a:gdLst>
                    <a:gd name="T0" fmla="*/ 1142 w 1142"/>
                    <a:gd name="T1" fmla="*/ 0 h 1640"/>
                    <a:gd name="T2" fmla="*/ 883 w 1142"/>
                    <a:gd name="T3" fmla="*/ 142 h 1640"/>
                    <a:gd name="T4" fmla="*/ 947 w 1142"/>
                    <a:gd name="T5" fmla="*/ 186 h 1640"/>
                    <a:gd name="T6" fmla="*/ 619 w 1142"/>
                    <a:gd name="T7" fmla="*/ 667 h 1640"/>
                    <a:gd name="T8" fmla="*/ 588 w 1142"/>
                    <a:gd name="T9" fmla="*/ 663 h 1640"/>
                    <a:gd name="T10" fmla="*/ 465 w 1142"/>
                    <a:gd name="T11" fmla="*/ 729 h 1640"/>
                    <a:gd name="T12" fmla="*/ 463 w 1142"/>
                    <a:gd name="T13" fmla="*/ 895 h 1640"/>
                    <a:gd name="T14" fmla="*/ 0 w 1142"/>
                    <a:gd name="T15" fmla="*/ 1576 h 1640"/>
                    <a:gd name="T16" fmla="*/ 93 w 1142"/>
                    <a:gd name="T17" fmla="*/ 1640 h 1640"/>
                    <a:gd name="T18" fmla="*/ 558 w 1142"/>
                    <a:gd name="T19" fmla="*/ 959 h 1640"/>
                    <a:gd name="T20" fmla="*/ 588 w 1142"/>
                    <a:gd name="T21" fmla="*/ 963 h 1640"/>
                    <a:gd name="T22" fmla="*/ 712 w 1142"/>
                    <a:gd name="T23" fmla="*/ 897 h 1640"/>
                    <a:gd name="T24" fmla="*/ 713 w 1142"/>
                    <a:gd name="T25" fmla="*/ 731 h 1640"/>
                    <a:gd name="T26" fmla="*/ 1041 w 1142"/>
                    <a:gd name="T27" fmla="*/ 250 h 1640"/>
                    <a:gd name="T28" fmla="*/ 1105 w 1142"/>
                    <a:gd name="T29" fmla="*/ 293 h 1640"/>
                    <a:gd name="T30" fmla="*/ 1142 w 1142"/>
                    <a:gd name="T31" fmla="*/ 0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142" h="1640">
                      <a:moveTo>
                        <a:pt x="1142" y="0"/>
                      </a:move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619" y="667"/>
                        <a:pt x="619" y="667"/>
                        <a:pt x="619" y="667"/>
                      </a:cubicBezTo>
                      <a:cubicBezTo>
                        <a:pt x="609" y="665"/>
                        <a:pt x="599" y="663"/>
                        <a:pt x="588" y="663"/>
                      </a:cubicBezTo>
                      <a:cubicBezTo>
                        <a:pt x="541" y="663"/>
                        <a:pt x="494" y="686"/>
                        <a:pt x="465" y="729"/>
                      </a:cubicBezTo>
                      <a:cubicBezTo>
                        <a:pt x="430" y="780"/>
                        <a:pt x="431" y="846"/>
                        <a:pt x="463" y="895"/>
                      </a:cubicBezTo>
                      <a:cubicBezTo>
                        <a:pt x="463" y="895"/>
                        <a:pt x="56" y="1493"/>
                        <a:pt x="0" y="1576"/>
                      </a:cubicBezTo>
                      <a:cubicBezTo>
                        <a:pt x="93" y="1640"/>
                        <a:pt x="93" y="1640"/>
                        <a:pt x="93" y="1640"/>
                      </a:cubicBezTo>
                      <a:cubicBezTo>
                        <a:pt x="153" y="1551"/>
                        <a:pt x="558" y="959"/>
                        <a:pt x="558" y="959"/>
                      </a:cubicBezTo>
                      <a:cubicBezTo>
                        <a:pt x="568" y="961"/>
                        <a:pt x="578" y="963"/>
                        <a:pt x="588" y="963"/>
                      </a:cubicBezTo>
                      <a:cubicBezTo>
                        <a:pt x="636" y="963"/>
                        <a:pt x="683" y="940"/>
                        <a:pt x="712" y="897"/>
                      </a:cubicBezTo>
                      <a:cubicBezTo>
                        <a:pt x="747" y="846"/>
                        <a:pt x="745" y="780"/>
                        <a:pt x="713" y="731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142" y="0"/>
                        <a:pt x="1142" y="0"/>
                        <a:pt x="1142" y="0"/>
                      </a:cubicBezTo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1" name="Freeform 48">
                  <a:extLst>
                    <a:ext uri="{FF2B5EF4-FFF2-40B4-BE49-F238E27FC236}">
                      <a16:creationId xmlns:a16="http://schemas.microsoft.com/office/drawing/2014/main" id="{D5D55EF0-D132-E4B9-C091-2D46020F682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866900" y="3224213"/>
                  <a:ext cx="2117725" cy="3036888"/>
                </a:xfrm>
                <a:custGeom>
                  <a:avLst/>
                  <a:gdLst>
                    <a:gd name="T0" fmla="*/ 0 w 1142"/>
                    <a:gd name="T1" fmla="*/ 1576 h 1640"/>
                    <a:gd name="T2" fmla="*/ 463 w 1142"/>
                    <a:gd name="T3" fmla="*/ 895 h 1640"/>
                    <a:gd name="T4" fmla="*/ 465 w 1142"/>
                    <a:gd name="T5" fmla="*/ 729 h 1640"/>
                    <a:gd name="T6" fmla="*/ 619 w 1142"/>
                    <a:gd name="T7" fmla="*/ 667 h 1640"/>
                    <a:gd name="T8" fmla="*/ 947 w 1142"/>
                    <a:gd name="T9" fmla="*/ 186 h 1640"/>
                    <a:gd name="T10" fmla="*/ 883 w 1142"/>
                    <a:gd name="T11" fmla="*/ 142 h 1640"/>
                    <a:gd name="T12" fmla="*/ 1142 w 1142"/>
                    <a:gd name="T13" fmla="*/ 0 h 1640"/>
                    <a:gd name="T14" fmla="*/ 1105 w 1142"/>
                    <a:gd name="T15" fmla="*/ 293 h 1640"/>
                    <a:gd name="T16" fmla="*/ 1041 w 1142"/>
                    <a:gd name="T17" fmla="*/ 250 h 1640"/>
                    <a:gd name="T18" fmla="*/ 713 w 1142"/>
                    <a:gd name="T19" fmla="*/ 731 h 1640"/>
                    <a:gd name="T20" fmla="*/ 712 w 1142"/>
                    <a:gd name="T21" fmla="*/ 897 h 1640"/>
                    <a:gd name="T22" fmla="*/ 558 w 1142"/>
                    <a:gd name="T23" fmla="*/ 959 h 1640"/>
                    <a:gd name="T24" fmla="*/ 93 w 1142"/>
                    <a:gd name="T25" fmla="*/ 1640 h 1640"/>
                    <a:gd name="T26" fmla="*/ 0 w 1142"/>
                    <a:gd name="T27" fmla="*/ 1576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42" h="1640">
                      <a:moveTo>
                        <a:pt x="0" y="1576"/>
                      </a:moveTo>
                      <a:cubicBezTo>
                        <a:pt x="56" y="1493"/>
                        <a:pt x="463" y="895"/>
                        <a:pt x="463" y="895"/>
                      </a:cubicBezTo>
                      <a:cubicBezTo>
                        <a:pt x="431" y="846"/>
                        <a:pt x="430" y="780"/>
                        <a:pt x="465" y="729"/>
                      </a:cubicBezTo>
                      <a:cubicBezTo>
                        <a:pt x="500" y="677"/>
                        <a:pt x="562" y="655"/>
                        <a:pt x="619" y="667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1142" y="0"/>
                        <a:pt x="1142" y="0"/>
                        <a:pt x="1142" y="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713" y="731"/>
                        <a:pt x="713" y="731"/>
                        <a:pt x="713" y="731"/>
                      </a:cubicBezTo>
                      <a:cubicBezTo>
                        <a:pt x="745" y="780"/>
                        <a:pt x="747" y="846"/>
                        <a:pt x="712" y="897"/>
                      </a:cubicBezTo>
                      <a:cubicBezTo>
                        <a:pt x="677" y="949"/>
                        <a:pt x="615" y="971"/>
                        <a:pt x="558" y="959"/>
                      </a:cubicBezTo>
                      <a:cubicBezTo>
                        <a:pt x="558" y="959"/>
                        <a:pt x="153" y="1551"/>
                        <a:pt x="93" y="1640"/>
                      </a:cubicBezTo>
                      <a:lnTo>
                        <a:pt x="0" y="157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2" name="Freeform 49">
                  <a:extLst>
                    <a:ext uri="{FF2B5EF4-FFF2-40B4-BE49-F238E27FC236}">
                      <a16:creationId xmlns:a16="http://schemas.microsoft.com/office/drawing/2014/main" id="{9E8F872A-2120-169F-C098-9CAC2381917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849563" y="4622801"/>
                  <a:ext cx="215900" cy="214313"/>
                </a:xfrm>
                <a:custGeom>
                  <a:avLst/>
                  <a:gdLst>
                    <a:gd name="T0" fmla="*/ 100 w 116"/>
                    <a:gd name="T1" fmla="*/ 87 h 116"/>
                    <a:gd name="T2" fmla="*/ 30 w 116"/>
                    <a:gd name="T3" fmla="*/ 100 h 116"/>
                    <a:gd name="T4" fmla="*/ 16 w 116"/>
                    <a:gd name="T5" fmla="*/ 29 h 116"/>
                    <a:gd name="T6" fmla="*/ 87 w 116"/>
                    <a:gd name="T7" fmla="*/ 16 h 116"/>
                    <a:gd name="T8" fmla="*/ 100 w 116"/>
                    <a:gd name="T9" fmla="*/ 87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" h="116">
                      <a:moveTo>
                        <a:pt x="100" y="87"/>
                      </a:moveTo>
                      <a:cubicBezTo>
                        <a:pt x="85" y="110"/>
                        <a:pt x="53" y="116"/>
                        <a:pt x="30" y="100"/>
                      </a:cubicBezTo>
                      <a:cubicBezTo>
                        <a:pt x="6" y="84"/>
                        <a:pt x="0" y="53"/>
                        <a:pt x="16" y="29"/>
                      </a:cubicBezTo>
                      <a:cubicBezTo>
                        <a:pt x="32" y="6"/>
                        <a:pt x="64" y="0"/>
                        <a:pt x="87" y="16"/>
                      </a:cubicBezTo>
                      <a:cubicBezTo>
                        <a:pt x="110" y="32"/>
                        <a:pt x="116" y="63"/>
                        <a:pt x="100" y="87"/>
                      </a:cubicBezTo>
                      <a:close/>
                    </a:path>
                  </a:pathLst>
                </a:custGeom>
                <a:solidFill>
                  <a:srgbClr val="002B6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3" name="Oval 50">
                  <a:extLst>
                    <a:ext uri="{FF2B5EF4-FFF2-40B4-BE49-F238E27FC236}">
                      <a16:creationId xmlns:a16="http://schemas.microsoft.com/office/drawing/2014/main" id="{B52B04C7-1602-B859-B79A-7E905513BCC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2919413" y="4694238"/>
                  <a:ext cx="73025" cy="73025"/>
                </a:xfrm>
                <a:prstGeom prst="ellipse">
                  <a:avLst/>
                </a:prstGeom>
                <a:solidFill>
                  <a:srgbClr val="56B9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36" name="Group 1020">
                <a:extLst>
                  <a:ext uri="{FF2B5EF4-FFF2-40B4-BE49-F238E27FC236}">
                    <a16:creationId xmlns:a16="http://schemas.microsoft.com/office/drawing/2014/main" id="{3283C084-FCAA-03CF-294E-A6D7DB47E85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163860" y="3516775"/>
                <a:ext cx="839952" cy="104994"/>
                <a:chOff x="4022725" y="4835526"/>
                <a:chExt cx="1079500" cy="134938"/>
              </a:xfrm>
            </p:grpSpPr>
            <p:sp>
              <p:nvSpPr>
                <p:cNvPr id="237" name="Rectangle 53">
                  <a:extLst>
                    <a:ext uri="{FF2B5EF4-FFF2-40B4-BE49-F238E27FC236}">
                      <a16:creationId xmlns:a16="http://schemas.microsoft.com/office/drawing/2014/main" id="{1F26DC0D-98B2-8DFD-FFAA-B96A565FCCB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8" name="Rectangle 54">
                  <a:extLst>
                    <a:ext uri="{FF2B5EF4-FFF2-40B4-BE49-F238E27FC236}">
                      <a16:creationId xmlns:a16="http://schemas.microsoft.com/office/drawing/2014/main" id="{5002E0BD-E917-513A-BEB6-336884C4548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9" name="Rectangle 55">
                  <a:extLst>
                    <a:ext uri="{FF2B5EF4-FFF2-40B4-BE49-F238E27FC236}">
                      <a16:creationId xmlns:a16="http://schemas.microsoft.com/office/drawing/2014/main" id="{A01A1CF9-8BCA-11B5-746F-F637E779D70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0" name="Rectangle 56">
                  <a:extLst>
                    <a:ext uri="{FF2B5EF4-FFF2-40B4-BE49-F238E27FC236}">
                      <a16:creationId xmlns:a16="http://schemas.microsoft.com/office/drawing/2014/main" id="{116B9D48-9100-BA76-30AD-A6D7C6695C2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1" name="Rectangle 57">
                  <a:extLst>
                    <a:ext uri="{FF2B5EF4-FFF2-40B4-BE49-F238E27FC236}">
                      <a16:creationId xmlns:a16="http://schemas.microsoft.com/office/drawing/2014/main" id="{40F5319F-91C7-D5F9-16EA-43020977157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2" name="Rectangle 58">
                  <a:extLst>
                    <a:ext uri="{FF2B5EF4-FFF2-40B4-BE49-F238E27FC236}">
                      <a16:creationId xmlns:a16="http://schemas.microsoft.com/office/drawing/2014/main" id="{36A83B00-5CD7-63D4-C706-ADF03BC1FB0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3" name="Freeform 59">
                  <a:extLst>
                    <a:ext uri="{FF2B5EF4-FFF2-40B4-BE49-F238E27FC236}">
                      <a16:creationId xmlns:a16="http://schemas.microsoft.com/office/drawing/2014/main" id="{914834E3-11CD-055E-A97A-025F57721ED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4" name="Freeform 60">
                  <a:extLst>
                    <a:ext uri="{FF2B5EF4-FFF2-40B4-BE49-F238E27FC236}">
                      <a16:creationId xmlns:a16="http://schemas.microsoft.com/office/drawing/2014/main" id="{7F9C8566-0CBF-B334-EF6A-23F15F4F433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5" name="Freeform 61">
                  <a:extLst>
                    <a:ext uri="{FF2B5EF4-FFF2-40B4-BE49-F238E27FC236}">
                      <a16:creationId xmlns:a16="http://schemas.microsoft.com/office/drawing/2014/main" id="{4FC71C13-1DE1-E7BA-207E-CAC56F09057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6" name="Freeform 62">
                  <a:extLst>
                    <a:ext uri="{FF2B5EF4-FFF2-40B4-BE49-F238E27FC236}">
                      <a16:creationId xmlns:a16="http://schemas.microsoft.com/office/drawing/2014/main" id="{95586271-0A5B-484A-EC7F-463E5833240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7" name="Rectangle 63">
                  <a:extLst>
                    <a:ext uri="{FF2B5EF4-FFF2-40B4-BE49-F238E27FC236}">
                      <a16:creationId xmlns:a16="http://schemas.microsoft.com/office/drawing/2014/main" id="{78F88C61-AEDB-8394-B4BD-D6D5D1FFAD1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8" name="Rectangle 64">
                  <a:extLst>
                    <a:ext uri="{FF2B5EF4-FFF2-40B4-BE49-F238E27FC236}">
                      <a16:creationId xmlns:a16="http://schemas.microsoft.com/office/drawing/2014/main" id="{27999517-4A74-79FA-D9B9-9C27DED343D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9" name="Rectangle 65">
                  <a:extLst>
                    <a:ext uri="{FF2B5EF4-FFF2-40B4-BE49-F238E27FC236}">
                      <a16:creationId xmlns:a16="http://schemas.microsoft.com/office/drawing/2014/main" id="{AD999FF5-B0AA-E289-E3CB-F09689A855A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0" name="Rectangle 66">
                  <a:extLst>
                    <a:ext uri="{FF2B5EF4-FFF2-40B4-BE49-F238E27FC236}">
                      <a16:creationId xmlns:a16="http://schemas.microsoft.com/office/drawing/2014/main" id="{3042CC51-1A58-2110-8A47-2C464F6AD82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1" name="Rectangle 67">
                  <a:extLst>
                    <a:ext uri="{FF2B5EF4-FFF2-40B4-BE49-F238E27FC236}">
                      <a16:creationId xmlns:a16="http://schemas.microsoft.com/office/drawing/2014/main" id="{8F63589E-EAEF-1954-313E-AAE81C4CD56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2" name="Rectangle 68">
                  <a:extLst>
                    <a:ext uri="{FF2B5EF4-FFF2-40B4-BE49-F238E27FC236}">
                      <a16:creationId xmlns:a16="http://schemas.microsoft.com/office/drawing/2014/main" id="{D249D5B5-6926-317D-263C-246B767ECDD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3" name="Rectangle 69">
                  <a:extLst>
                    <a:ext uri="{FF2B5EF4-FFF2-40B4-BE49-F238E27FC236}">
                      <a16:creationId xmlns:a16="http://schemas.microsoft.com/office/drawing/2014/main" id="{FE26C24D-2282-EC3E-7437-0EB3DA2EE03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4" name="Rectangle 70">
                  <a:extLst>
                    <a:ext uri="{FF2B5EF4-FFF2-40B4-BE49-F238E27FC236}">
                      <a16:creationId xmlns:a16="http://schemas.microsoft.com/office/drawing/2014/main" id="{D18F37D7-D995-1976-3732-664C661F315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5" name="Rectangle 71">
                  <a:extLst>
                    <a:ext uri="{FF2B5EF4-FFF2-40B4-BE49-F238E27FC236}">
                      <a16:creationId xmlns:a16="http://schemas.microsoft.com/office/drawing/2014/main" id="{B68F3515-B2DF-5502-DCA2-46A461F4BB8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6" name="Rectangle 72">
                  <a:extLst>
                    <a:ext uri="{FF2B5EF4-FFF2-40B4-BE49-F238E27FC236}">
                      <a16:creationId xmlns:a16="http://schemas.microsoft.com/office/drawing/2014/main" id="{13B3E93B-F09F-8DBF-284E-B7145ABC2A7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7" name="Rectangle 73">
                  <a:extLst>
                    <a:ext uri="{FF2B5EF4-FFF2-40B4-BE49-F238E27FC236}">
                      <a16:creationId xmlns:a16="http://schemas.microsoft.com/office/drawing/2014/main" id="{C56A6DDC-41CE-DD56-752E-07BD95E75CA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8" name="Rectangle 74">
                  <a:extLst>
                    <a:ext uri="{FF2B5EF4-FFF2-40B4-BE49-F238E27FC236}">
                      <a16:creationId xmlns:a16="http://schemas.microsoft.com/office/drawing/2014/main" id="{DBE459DC-ECB9-325D-0AC7-1BEE1DAD1EF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9" name="Rectangle 75">
                  <a:extLst>
                    <a:ext uri="{FF2B5EF4-FFF2-40B4-BE49-F238E27FC236}">
                      <a16:creationId xmlns:a16="http://schemas.microsoft.com/office/drawing/2014/main" id="{A7D2CC6E-EFCD-121A-9FF6-7FB5DAC3ECA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0" name="Rectangle 76">
                  <a:extLst>
                    <a:ext uri="{FF2B5EF4-FFF2-40B4-BE49-F238E27FC236}">
                      <a16:creationId xmlns:a16="http://schemas.microsoft.com/office/drawing/2014/main" id="{7176F160-6EE3-9EF5-173C-C49DBE6BCB4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1" name="Rectangle 77">
                  <a:extLst>
                    <a:ext uri="{FF2B5EF4-FFF2-40B4-BE49-F238E27FC236}">
                      <a16:creationId xmlns:a16="http://schemas.microsoft.com/office/drawing/2014/main" id="{5E0FFF4D-7F70-EAA2-9387-67A73F732EC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2" name="Rectangle 78">
                  <a:extLst>
                    <a:ext uri="{FF2B5EF4-FFF2-40B4-BE49-F238E27FC236}">
                      <a16:creationId xmlns:a16="http://schemas.microsoft.com/office/drawing/2014/main" id="{4E8A81B9-32C7-4076-A345-C7B9CA648D1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3" name="Rectangle 79">
                  <a:extLst>
                    <a:ext uri="{FF2B5EF4-FFF2-40B4-BE49-F238E27FC236}">
                      <a16:creationId xmlns:a16="http://schemas.microsoft.com/office/drawing/2014/main" id="{77712F82-8609-8505-61CD-8230C9BD83B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4" name="Rectangle 80">
                  <a:extLst>
                    <a:ext uri="{FF2B5EF4-FFF2-40B4-BE49-F238E27FC236}">
                      <a16:creationId xmlns:a16="http://schemas.microsoft.com/office/drawing/2014/main" id="{2111F935-F817-214B-7547-99E6A389B0C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5" name="Rectangle 81">
                  <a:extLst>
                    <a:ext uri="{FF2B5EF4-FFF2-40B4-BE49-F238E27FC236}">
                      <a16:creationId xmlns:a16="http://schemas.microsoft.com/office/drawing/2014/main" id="{34A3621A-325B-D2AB-A6C4-15BA1CB749B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6" name="Rectangle 82">
                  <a:extLst>
                    <a:ext uri="{FF2B5EF4-FFF2-40B4-BE49-F238E27FC236}">
                      <a16:creationId xmlns:a16="http://schemas.microsoft.com/office/drawing/2014/main" id="{550409FE-C531-8FA8-96AC-7450D123F89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7" name="Rectangle 83">
                  <a:extLst>
                    <a:ext uri="{FF2B5EF4-FFF2-40B4-BE49-F238E27FC236}">
                      <a16:creationId xmlns:a16="http://schemas.microsoft.com/office/drawing/2014/main" id="{E4E537DD-13DB-45ED-6453-D1234F4BDBC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8" name="Rectangle 84">
                  <a:extLst>
                    <a:ext uri="{FF2B5EF4-FFF2-40B4-BE49-F238E27FC236}">
                      <a16:creationId xmlns:a16="http://schemas.microsoft.com/office/drawing/2014/main" id="{12B93153-5FBA-3F55-74E8-D6A34B4FAF5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9" name="Rectangle 85">
                  <a:extLst>
                    <a:ext uri="{FF2B5EF4-FFF2-40B4-BE49-F238E27FC236}">
                      <a16:creationId xmlns:a16="http://schemas.microsoft.com/office/drawing/2014/main" id="{0AFDCB51-4963-C728-1961-D80CA04AAD6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0" name="Rectangle 86">
                  <a:extLst>
                    <a:ext uri="{FF2B5EF4-FFF2-40B4-BE49-F238E27FC236}">
                      <a16:creationId xmlns:a16="http://schemas.microsoft.com/office/drawing/2014/main" id="{F76E8AA9-0E9E-46C5-C483-90300DD9BE7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1" name="Rectangle 87">
                  <a:extLst>
                    <a:ext uri="{FF2B5EF4-FFF2-40B4-BE49-F238E27FC236}">
                      <a16:creationId xmlns:a16="http://schemas.microsoft.com/office/drawing/2014/main" id="{68983930-6A32-954D-C724-D3FAEB3F46F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2" name="Rectangle 88">
                  <a:extLst>
                    <a:ext uri="{FF2B5EF4-FFF2-40B4-BE49-F238E27FC236}">
                      <a16:creationId xmlns:a16="http://schemas.microsoft.com/office/drawing/2014/main" id="{8A921B5E-9B26-0D7C-F6B8-ADCD5057C95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3" name="Freeform 89">
                  <a:extLst>
                    <a:ext uri="{FF2B5EF4-FFF2-40B4-BE49-F238E27FC236}">
                      <a16:creationId xmlns:a16="http://schemas.microsoft.com/office/drawing/2014/main" id="{4766E9A0-4027-5631-09BB-BCCC88A579A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4" name="Freeform 90">
                  <a:extLst>
                    <a:ext uri="{FF2B5EF4-FFF2-40B4-BE49-F238E27FC236}">
                      <a16:creationId xmlns:a16="http://schemas.microsoft.com/office/drawing/2014/main" id="{027B6F83-D390-25F8-8011-3010F20D7FA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5" name="Freeform 91">
                  <a:extLst>
                    <a:ext uri="{FF2B5EF4-FFF2-40B4-BE49-F238E27FC236}">
                      <a16:creationId xmlns:a16="http://schemas.microsoft.com/office/drawing/2014/main" id="{FA621C3C-805C-FC40-FB46-DA50467128F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951413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6" name="Rectangle 92">
                  <a:extLst>
                    <a:ext uri="{FF2B5EF4-FFF2-40B4-BE49-F238E27FC236}">
                      <a16:creationId xmlns:a16="http://schemas.microsoft.com/office/drawing/2014/main" id="{AAF9E605-1EA4-9C8F-3005-71967BD17A9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7" name="Rectangle 93">
                  <a:extLst>
                    <a:ext uri="{FF2B5EF4-FFF2-40B4-BE49-F238E27FC236}">
                      <a16:creationId xmlns:a16="http://schemas.microsoft.com/office/drawing/2014/main" id="{95889A87-ED91-9B7A-5E29-613D9B93E02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8" name="Rectangle 94">
                  <a:extLst>
                    <a:ext uri="{FF2B5EF4-FFF2-40B4-BE49-F238E27FC236}">
                      <a16:creationId xmlns:a16="http://schemas.microsoft.com/office/drawing/2014/main" id="{F47F2A3D-D0D6-2ED2-3C0F-92764E01A8C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9" name="Rectangle 95">
                  <a:extLst>
                    <a:ext uri="{FF2B5EF4-FFF2-40B4-BE49-F238E27FC236}">
                      <a16:creationId xmlns:a16="http://schemas.microsoft.com/office/drawing/2014/main" id="{DFCFFCCD-3D68-FA1D-B211-A621DA55197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0" name="Freeform 96">
                  <a:extLst>
                    <a:ext uri="{FF2B5EF4-FFF2-40B4-BE49-F238E27FC236}">
                      <a16:creationId xmlns:a16="http://schemas.microsoft.com/office/drawing/2014/main" id="{94CA1790-3A47-39C1-286E-04AF6EEA375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1" name="Freeform 97">
                  <a:extLst>
                    <a:ext uri="{FF2B5EF4-FFF2-40B4-BE49-F238E27FC236}">
                      <a16:creationId xmlns:a16="http://schemas.microsoft.com/office/drawing/2014/main" id="{CDE2059D-5D48-8E59-2C9E-75C238551C9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2" name="Rectangle 98">
                  <a:extLst>
                    <a:ext uri="{FF2B5EF4-FFF2-40B4-BE49-F238E27FC236}">
                      <a16:creationId xmlns:a16="http://schemas.microsoft.com/office/drawing/2014/main" id="{C725CF53-EC4F-9600-16CC-FE0799C3580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3" name="Rectangle 99">
                  <a:extLst>
                    <a:ext uri="{FF2B5EF4-FFF2-40B4-BE49-F238E27FC236}">
                      <a16:creationId xmlns:a16="http://schemas.microsoft.com/office/drawing/2014/main" id="{D04AB515-6B5F-7407-80CB-8A812B09DEF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4" name="Freeform 100">
                  <a:extLst>
                    <a:ext uri="{FF2B5EF4-FFF2-40B4-BE49-F238E27FC236}">
                      <a16:creationId xmlns:a16="http://schemas.microsoft.com/office/drawing/2014/main" id="{D8044397-66EC-9D07-F948-DEBE643723E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5" name="Freeform 101">
                  <a:extLst>
                    <a:ext uri="{FF2B5EF4-FFF2-40B4-BE49-F238E27FC236}">
                      <a16:creationId xmlns:a16="http://schemas.microsoft.com/office/drawing/2014/main" id="{02FBBCAC-62EE-93D1-9D90-223D6455E11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6" name="Freeform 102">
                  <a:extLst>
                    <a:ext uri="{FF2B5EF4-FFF2-40B4-BE49-F238E27FC236}">
                      <a16:creationId xmlns:a16="http://schemas.microsoft.com/office/drawing/2014/main" id="{2B9D1CF6-34DA-360E-5B52-A8462CF6DD5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7" name="Freeform 103">
                  <a:extLst>
                    <a:ext uri="{FF2B5EF4-FFF2-40B4-BE49-F238E27FC236}">
                      <a16:creationId xmlns:a16="http://schemas.microsoft.com/office/drawing/2014/main" id="{A83487BD-BFF6-2D45-493C-F7E4C7C1D40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8" name="Rectangle 104">
                  <a:extLst>
                    <a:ext uri="{FF2B5EF4-FFF2-40B4-BE49-F238E27FC236}">
                      <a16:creationId xmlns:a16="http://schemas.microsoft.com/office/drawing/2014/main" id="{1277169F-EB2E-7326-277E-42731F90AE3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9" name="Rectangle 105">
                  <a:extLst>
                    <a:ext uri="{FF2B5EF4-FFF2-40B4-BE49-F238E27FC236}">
                      <a16:creationId xmlns:a16="http://schemas.microsoft.com/office/drawing/2014/main" id="{04F0AAE0-83D9-192A-A6F7-E36311E964E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0" name="Rectangle 106">
                  <a:extLst>
                    <a:ext uri="{FF2B5EF4-FFF2-40B4-BE49-F238E27FC236}">
                      <a16:creationId xmlns:a16="http://schemas.microsoft.com/office/drawing/2014/main" id="{E4419893-BEE1-BBA4-EDDB-9EB5255A3BC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1" name="Rectangle 107">
                  <a:extLst>
                    <a:ext uri="{FF2B5EF4-FFF2-40B4-BE49-F238E27FC236}">
                      <a16:creationId xmlns:a16="http://schemas.microsoft.com/office/drawing/2014/main" id="{FC162346-EED7-2CC2-759A-CD8E1BEB99C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2" name="Rectangle 108">
                  <a:extLst>
                    <a:ext uri="{FF2B5EF4-FFF2-40B4-BE49-F238E27FC236}">
                      <a16:creationId xmlns:a16="http://schemas.microsoft.com/office/drawing/2014/main" id="{76944BCA-2036-7359-6FDD-A43D9403069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3" name="Rectangle 109">
                  <a:extLst>
                    <a:ext uri="{FF2B5EF4-FFF2-40B4-BE49-F238E27FC236}">
                      <a16:creationId xmlns:a16="http://schemas.microsoft.com/office/drawing/2014/main" id="{284141D7-99B3-B568-2033-82A187D7FBF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4" name="Freeform 110">
                  <a:extLst>
                    <a:ext uri="{FF2B5EF4-FFF2-40B4-BE49-F238E27FC236}">
                      <a16:creationId xmlns:a16="http://schemas.microsoft.com/office/drawing/2014/main" id="{D13F2B36-A8D2-6934-B9D5-D5ED5774587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5" name="Freeform 111">
                  <a:extLst>
                    <a:ext uri="{FF2B5EF4-FFF2-40B4-BE49-F238E27FC236}">
                      <a16:creationId xmlns:a16="http://schemas.microsoft.com/office/drawing/2014/main" id="{35B86544-713F-8494-396B-AFA0F7C7AE1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6" name="Rectangle 112">
                  <a:extLst>
                    <a:ext uri="{FF2B5EF4-FFF2-40B4-BE49-F238E27FC236}">
                      <a16:creationId xmlns:a16="http://schemas.microsoft.com/office/drawing/2014/main" id="{0E40088B-10B1-5A13-7285-D684FD8BE84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7" name="Rectangle 113">
                  <a:extLst>
                    <a:ext uri="{FF2B5EF4-FFF2-40B4-BE49-F238E27FC236}">
                      <a16:creationId xmlns:a16="http://schemas.microsoft.com/office/drawing/2014/main" id="{541C9D17-C303-D3EB-822D-593CC42BBB7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8" name="Rectangle 114">
                  <a:extLst>
                    <a:ext uri="{FF2B5EF4-FFF2-40B4-BE49-F238E27FC236}">
                      <a16:creationId xmlns:a16="http://schemas.microsoft.com/office/drawing/2014/main" id="{E90B7ECA-B8F3-7060-13EE-91476A4CB89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9" name="Rectangle 115">
                  <a:extLst>
                    <a:ext uri="{FF2B5EF4-FFF2-40B4-BE49-F238E27FC236}">
                      <a16:creationId xmlns:a16="http://schemas.microsoft.com/office/drawing/2014/main" id="{B754DEDB-DB44-828D-23D6-FD42244A3F5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0" name="Freeform 116">
                  <a:extLst>
                    <a:ext uri="{FF2B5EF4-FFF2-40B4-BE49-F238E27FC236}">
                      <a16:creationId xmlns:a16="http://schemas.microsoft.com/office/drawing/2014/main" id="{11B0E137-98F8-02A9-4C22-942DF7297E6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1" name="Freeform 117">
                  <a:extLst>
                    <a:ext uri="{FF2B5EF4-FFF2-40B4-BE49-F238E27FC236}">
                      <a16:creationId xmlns:a16="http://schemas.microsoft.com/office/drawing/2014/main" id="{D78B5AED-5E6C-1CF1-3CFC-52226AD22BF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2" name="Rectangle 118">
                  <a:extLst>
                    <a:ext uri="{FF2B5EF4-FFF2-40B4-BE49-F238E27FC236}">
                      <a16:creationId xmlns:a16="http://schemas.microsoft.com/office/drawing/2014/main" id="{8F613310-8923-0365-1B54-6413898A7DF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3" name="Rectangle 119">
                  <a:extLst>
                    <a:ext uri="{FF2B5EF4-FFF2-40B4-BE49-F238E27FC236}">
                      <a16:creationId xmlns:a16="http://schemas.microsoft.com/office/drawing/2014/main" id="{1BC8F6E2-2447-0129-CAA4-0266A70BEEC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4" name="Rectangle 120">
                  <a:extLst>
                    <a:ext uri="{FF2B5EF4-FFF2-40B4-BE49-F238E27FC236}">
                      <a16:creationId xmlns:a16="http://schemas.microsoft.com/office/drawing/2014/main" id="{E06E8F45-3541-5426-059B-4D851EC8BD8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5" name="Rectangle 121">
                  <a:extLst>
                    <a:ext uri="{FF2B5EF4-FFF2-40B4-BE49-F238E27FC236}">
                      <a16:creationId xmlns:a16="http://schemas.microsoft.com/office/drawing/2014/main" id="{A3496A6A-3184-A673-402E-ABAD2D252AA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6" name="Rectangle 122">
                  <a:extLst>
                    <a:ext uri="{FF2B5EF4-FFF2-40B4-BE49-F238E27FC236}">
                      <a16:creationId xmlns:a16="http://schemas.microsoft.com/office/drawing/2014/main" id="{43B723E2-509A-F7AB-BF87-06353EC9544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7" name="Rectangle 123">
                  <a:extLst>
                    <a:ext uri="{FF2B5EF4-FFF2-40B4-BE49-F238E27FC236}">
                      <a16:creationId xmlns:a16="http://schemas.microsoft.com/office/drawing/2014/main" id="{F7804CEB-3AAD-0386-4339-B6F0F1E8F1B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8" name="Freeform 124">
                  <a:extLst>
                    <a:ext uri="{FF2B5EF4-FFF2-40B4-BE49-F238E27FC236}">
                      <a16:creationId xmlns:a16="http://schemas.microsoft.com/office/drawing/2014/main" id="{62009661-5609-7F9D-0AA3-61BFF77D440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9" name="Freeform 125">
                  <a:extLst>
                    <a:ext uri="{FF2B5EF4-FFF2-40B4-BE49-F238E27FC236}">
                      <a16:creationId xmlns:a16="http://schemas.microsoft.com/office/drawing/2014/main" id="{15E9D065-6DE4-B6E9-85B5-CB252B86C93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0" name="Rectangle 126">
                  <a:extLst>
                    <a:ext uri="{FF2B5EF4-FFF2-40B4-BE49-F238E27FC236}">
                      <a16:creationId xmlns:a16="http://schemas.microsoft.com/office/drawing/2014/main" id="{93C8F1CA-89F3-1605-B023-3DA6CAE8282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1" name="Rectangle 127">
                  <a:extLst>
                    <a:ext uri="{FF2B5EF4-FFF2-40B4-BE49-F238E27FC236}">
                      <a16:creationId xmlns:a16="http://schemas.microsoft.com/office/drawing/2014/main" id="{9B990C9C-CBA9-4290-6F2F-B4D277029CC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Rectangle 128">
                  <a:extLst>
                    <a:ext uri="{FF2B5EF4-FFF2-40B4-BE49-F238E27FC236}">
                      <a16:creationId xmlns:a16="http://schemas.microsoft.com/office/drawing/2014/main" id="{7CF8A18B-8E2F-E15B-011F-241ACC2AC90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Rectangle 129">
                  <a:extLst>
                    <a:ext uri="{FF2B5EF4-FFF2-40B4-BE49-F238E27FC236}">
                      <a16:creationId xmlns:a16="http://schemas.microsoft.com/office/drawing/2014/main" id="{900F0AA8-EFA7-A980-972F-AB867CA8566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4" name="Freeform 130">
                  <a:extLst>
                    <a:ext uri="{FF2B5EF4-FFF2-40B4-BE49-F238E27FC236}">
                      <a16:creationId xmlns:a16="http://schemas.microsoft.com/office/drawing/2014/main" id="{478E3C7D-CC20-1317-8DDD-6434B8FD825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5" name="Freeform 131">
                  <a:extLst>
                    <a:ext uri="{FF2B5EF4-FFF2-40B4-BE49-F238E27FC236}">
                      <a16:creationId xmlns:a16="http://schemas.microsoft.com/office/drawing/2014/main" id="{3DD9E25E-8774-E0F8-BF29-FA7EA1DE9C8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6" name="Freeform 132">
                  <a:extLst>
                    <a:ext uri="{FF2B5EF4-FFF2-40B4-BE49-F238E27FC236}">
                      <a16:creationId xmlns:a16="http://schemas.microsoft.com/office/drawing/2014/main" id="{1563BBDC-02FA-38C6-2EEC-B0FFE4557C8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40288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7" name="Rectangle 133">
                  <a:extLst>
                    <a:ext uri="{FF2B5EF4-FFF2-40B4-BE49-F238E27FC236}">
                      <a16:creationId xmlns:a16="http://schemas.microsoft.com/office/drawing/2014/main" id="{C6755A98-F827-364E-2886-D77FACDDCE8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8" name="Rectangle 134">
                  <a:extLst>
                    <a:ext uri="{FF2B5EF4-FFF2-40B4-BE49-F238E27FC236}">
                      <a16:creationId xmlns:a16="http://schemas.microsoft.com/office/drawing/2014/main" id="{3B034751-E74E-FE7D-C2EE-D8077ADF580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9" name="Rectangle 135">
                  <a:extLst>
                    <a:ext uri="{FF2B5EF4-FFF2-40B4-BE49-F238E27FC236}">
                      <a16:creationId xmlns:a16="http://schemas.microsoft.com/office/drawing/2014/main" id="{8BE9622D-07E2-97C5-A933-09201F61B5B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0" name="Rectangle 136">
                  <a:extLst>
                    <a:ext uri="{FF2B5EF4-FFF2-40B4-BE49-F238E27FC236}">
                      <a16:creationId xmlns:a16="http://schemas.microsoft.com/office/drawing/2014/main" id="{0053B4AF-361E-F161-7ACC-5870CF1533F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1" name="Rectangle 137">
                  <a:extLst>
                    <a:ext uri="{FF2B5EF4-FFF2-40B4-BE49-F238E27FC236}">
                      <a16:creationId xmlns:a16="http://schemas.microsoft.com/office/drawing/2014/main" id="{25099EE4-0528-4D0B-9E2F-099161603EE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2" name="Rectangle 138">
                  <a:extLst>
                    <a:ext uri="{FF2B5EF4-FFF2-40B4-BE49-F238E27FC236}">
                      <a16:creationId xmlns:a16="http://schemas.microsoft.com/office/drawing/2014/main" id="{D0211589-158C-9E31-1794-A83009ED07B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3" name="Rectangle 139">
                  <a:extLst>
                    <a:ext uri="{FF2B5EF4-FFF2-40B4-BE49-F238E27FC236}">
                      <a16:creationId xmlns:a16="http://schemas.microsoft.com/office/drawing/2014/main" id="{6DE5E68E-A967-A5D7-2256-F73605FE8CA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4" name="Rectangle 140">
                  <a:extLst>
                    <a:ext uri="{FF2B5EF4-FFF2-40B4-BE49-F238E27FC236}">
                      <a16:creationId xmlns:a16="http://schemas.microsoft.com/office/drawing/2014/main" id="{5DF2BCE4-74DB-1457-B140-B2F4ED02E5A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5" name="Rectangle 141">
                  <a:extLst>
                    <a:ext uri="{FF2B5EF4-FFF2-40B4-BE49-F238E27FC236}">
                      <a16:creationId xmlns:a16="http://schemas.microsoft.com/office/drawing/2014/main" id="{7F9699FD-448C-8996-7B0E-7109845EAC4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6" name="Rectangle 142">
                  <a:extLst>
                    <a:ext uri="{FF2B5EF4-FFF2-40B4-BE49-F238E27FC236}">
                      <a16:creationId xmlns:a16="http://schemas.microsoft.com/office/drawing/2014/main" id="{D5AD0101-3FC5-0489-03A9-15AD60EBDF8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7" name="Freeform 143">
                  <a:extLst>
                    <a:ext uri="{FF2B5EF4-FFF2-40B4-BE49-F238E27FC236}">
                      <a16:creationId xmlns:a16="http://schemas.microsoft.com/office/drawing/2014/main" id="{A49819D5-B298-70A7-4BBE-0F92D372491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8" name="Freeform 144">
                  <a:extLst>
                    <a:ext uri="{FF2B5EF4-FFF2-40B4-BE49-F238E27FC236}">
                      <a16:creationId xmlns:a16="http://schemas.microsoft.com/office/drawing/2014/main" id="{F5419121-280B-93DB-203C-A18F39F1F86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9" name="Rectangle 145">
                  <a:extLst>
                    <a:ext uri="{FF2B5EF4-FFF2-40B4-BE49-F238E27FC236}">
                      <a16:creationId xmlns:a16="http://schemas.microsoft.com/office/drawing/2014/main" id="{E38B2E8B-70AA-D6EA-2A71-F1ACD83FA7C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0" name="Rectangle 146">
                  <a:extLst>
                    <a:ext uri="{FF2B5EF4-FFF2-40B4-BE49-F238E27FC236}">
                      <a16:creationId xmlns:a16="http://schemas.microsoft.com/office/drawing/2014/main" id="{EBB6B970-0F76-E8EF-C6A6-D23155DA0BA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1" name="Freeform 147">
                  <a:extLst>
                    <a:ext uri="{FF2B5EF4-FFF2-40B4-BE49-F238E27FC236}">
                      <a16:creationId xmlns:a16="http://schemas.microsoft.com/office/drawing/2014/main" id="{1A863FA9-8235-F7A2-D673-4DACE16FE5D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Freeform 148">
                  <a:extLst>
                    <a:ext uri="{FF2B5EF4-FFF2-40B4-BE49-F238E27FC236}">
                      <a16:creationId xmlns:a16="http://schemas.microsoft.com/office/drawing/2014/main" id="{84F186C0-213D-FF60-63CF-42964F9CACB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3" name="Freeform 149">
                  <a:extLst>
                    <a:ext uri="{FF2B5EF4-FFF2-40B4-BE49-F238E27FC236}">
                      <a16:creationId xmlns:a16="http://schemas.microsoft.com/office/drawing/2014/main" id="{814804AD-2E19-978B-1C10-0F13B701C36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4" name="Freeform 150">
                  <a:extLst>
                    <a:ext uri="{FF2B5EF4-FFF2-40B4-BE49-F238E27FC236}">
                      <a16:creationId xmlns:a16="http://schemas.microsoft.com/office/drawing/2014/main" id="{9EE02C07-7570-A4D7-01F0-F2EB5DE8D38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5" name="Rectangle 151">
                  <a:extLst>
                    <a:ext uri="{FF2B5EF4-FFF2-40B4-BE49-F238E27FC236}">
                      <a16:creationId xmlns:a16="http://schemas.microsoft.com/office/drawing/2014/main" id="{0C642221-C54B-3F00-128C-88105A91F24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6" name="Rectangle 152">
                  <a:extLst>
                    <a:ext uri="{FF2B5EF4-FFF2-40B4-BE49-F238E27FC236}">
                      <a16:creationId xmlns:a16="http://schemas.microsoft.com/office/drawing/2014/main" id="{04037453-CF63-2515-76D8-01B3548EF98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7" name="Rectangle 153">
                  <a:extLst>
                    <a:ext uri="{FF2B5EF4-FFF2-40B4-BE49-F238E27FC236}">
                      <a16:creationId xmlns:a16="http://schemas.microsoft.com/office/drawing/2014/main" id="{054AE17A-7547-CFFD-EB5D-2AE09C7E167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8" name="Rectangle 154">
                  <a:extLst>
                    <a:ext uri="{FF2B5EF4-FFF2-40B4-BE49-F238E27FC236}">
                      <a16:creationId xmlns:a16="http://schemas.microsoft.com/office/drawing/2014/main" id="{7DF24C9F-8CF4-AB20-C76D-817B32A13B7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9" name="Rectangle 155">
                  <a:extLst>
                    <a:ext uri="{FF2B5EF4-FFF2-40B4-BE49-F238E27FC236}">
                      <a16:creationId xmlns:a16="http://schemas.microsoft.com/office/drawing/2014/main" id="{754958C9-2484-65B7-65AC-19149D62228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0" name="Rectangle 156">
                  <a:extLst>
                    <a:ext uri="{FF2B5EF4-FFF2-40B4-BE49-F238E27FC236}">
                      <a16:creationId xmlns:a16="http://schemas.microsoft.com/office/drawing/2014/main" id="{23AA2B69-AABD-A941-55C7-4200D7F7E8E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1" name="Freeform 157">
                  <a:extLst>
                    <a:ext uri="{FF2B5EF4-FFF2-40B4-BE49-F238E27FC236}">
                      <a16:creationId xmlns:a16="http://schemas.microsoft.com/office/drawing/2014/main" id="{4B6B4DAD-737E-ADE8-96C9-67611D478D1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2" name="Freeform 158">
                  <a:extLst>
                    <a:ext uri="{FF2B5EF4-FFF2-40B4-BE49-F238E27FC236}">
                      <a16:creationId xmlns:a16="http://schemas.microsoft.com/office/drawing/2014/main" id="{7EBC05BB-84BD-9187-B457-C73152E5461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3" name="Rectangle 159">
                  <a:extLst>
                    <a:ext uri="{FF2B5EF4-FFF2-40B4-BE49-F238E27FC236}">
                      <a16:creationId xmlns:a16="http://schemas.microsoft.com/office/drawing/2014/main" id="{70ED20BF-8A26-EEFC-90A6-B1053D46D81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4" name="Rectangle 160">
                  <a:extLst>
                    <a:ext uri="{FF2B5EF4-FFF2-40B4-BE49-F238E27FC236}">
                      <a16:creationId xmlns:a16="http://schemas.microsoft.com/office/drawing/2014/main" id="{01AC39B3-FAD0-43C2-2348-67D0D6CB007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5" name="Rectangle 161">
                  <a:extLst>
                    <a:ext uri="{FF2B5EF4-FFF2-40B4-BE49-F238E27FC236}">
                      <a16:creationId xmlns:a16="http://schemas.microsoft.com/office/drawing/2014/main" id="{850DDC80-4626-748A-8635-80AAC566180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6" name="Rectangle 162">
                  <a:extLst>
                    <a:ext uri="{FF2B5EF4-FFF2-40B4-BE49-F238E27FC236}">
                      <a16:creationId xmlns:a16="http://schemas.microsoft.com/office/drawing/2014/main" id="{AF35117C-AC8E-5225-042E-277AA6938C8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7" name="Rectangle 163">
                  <a:extLst>
                    <a:ext uri="{FF2B5EF4-FFF2-40B4-BE49-F238E27FC236}">
                      <a16:creationId xmlns:a16="http://schemas.microsoft.com/office/drawing/2014/main" id="{E2372508-0C36-C659-E169-AD69AC7962D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8" name="Rectangle 164">
                  <a:extLst>
                    <a:ext uri="{FF2B5EF4-FFF2-40B4-BE49-F238E27FC236}">
                      <a16:creationId xmlns:a16="http://schemas.microsoft.com/office/drawing/2014/main" id="{D9697D6B-6C4D-7DBB-4DC2-EABA1A7A6A8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9" name="Rectangle 165">
                  <a:extLst>
                    <a:ext uri="{FF2B5EF4-FFF2-40B4-BE49-F238E27FC236}">
                      <a16:creationId xmlns:a16="http://schemas.microsoft.com/office/drawing/2014/main" id="{1754C198-7E7D-13B3-A0CE-7DE146753CB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0" name="Rectangle 166">
                  <a:extLst>
                    <a:ext uri="{FF2B5EF4-FFF2-40B4-BE49-F238E27FC236}">
                      <a16:creationId xmlns:a16="http://schemas.microsoft.com/office/drawing/2014/main" id="{6B78EEBA-EF40-C2F5-C991-07697A6833C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1" name="Rectangle 167">
                  <a:extLst>
                    <a:ext uri="{FF2B5EF4-FFF2-40B4-BE49-F238E27FC236}">
                      <a16:creationId xmlns:a16="http://schemas.microsoft.com/office/drawing/2014/main" id="{29AE0653-69EE-808E-1C9E-5250A7FD758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2" name="Rectangle 168">
                  <a:extLst>
                    <a:ext uri="{FF2B5EF4-FFF2-40B4-BE49-F238E27FC236}">
                      <a16:creationId xmlns:a16="http://schemas.microsoft.com/office/drawing/2014/main" id="{3191F774-DDCF-4FC5-488B-F321D667557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3" name="Rectangle 169">
                  <a:extLst>
                    <a:ext uri="{FF2B5EF4-FFF2-40B4-BE49-F238E27FC236}">
                      <a16:creationId xmlns:a16="http://schemas.microsoft.com/office/drawing/2014/main" id="{0E3E2F34-A897-A0D0-4D9C-F3A362543F7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4" name="Rectangle 170">
                  <a:extLst>
                    <a:ext uri="{FF2B5EF4-FFF2-40B4-BE49-F238E27FC236}">
                      <a16:creationId xmlns:a16="http://schemas.microsoft.com/office/drawing/2014/main" id="{FCFF9B4F-1BC2-00F9-D22D-78EED1A0130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5" name="Freeform 171">
                  <a:extLst>
                    <a:ext uri="{FF2B5EF4-FFF2-40B4-BE49-F238E27FC236}">
                      <a16:creationId xmlns:a16="http://schemas.microsoft.com/office/drawing/2014/main" id="{027C771D-1908-CEE2-D256-2C8D1BFA675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Freeform 172">
                  <a:extLst>
                    <a:ext uri="{FF2B5EF4-FFF2-40B4-BE49-F238E27FC236}">
                      <a16:creationId xmlns:a16="http://schemas.microsoft.com/office/drawing/2014/main" id="{3FE79391-DA91-5AD8-C91D-70E9D802CDD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7" name="Rectangle 173">
                  <a:extLst>
                    <a:ext uri="{FF2B5EF4-FFF2-40B4-BE49-F238E27FC236}">
                      <a16:creationId xmlns:a16="http://schemas.microsoft.com/office/drawing/2014/main" id="{FC86D719-2B43-5D29-2A6D-13CB88DC269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19563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8" name="Rectangle 174">
                  <a:extLst>
                    <a:ext uri="{FF2B5EF4-FFF2-40B4-BE49-F238E27FC236}">
                      <a16:creationId xmlns:a16="http://schemas.microsoft.com/office/drawing/2014/main" id="{B5A80A7A-AAE0-9E9F-4CD1-195C4C25EFB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1938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9" name="Freeform 175">
                  <a:extLst>
                    <a:ext uri="{FF2B5EF4-FFF2-40B4-BE49-F238E27FC236}">
                      <a16:creationId xmlns:a16="http://schemas.microsoft.com/office/drawing/2014/main" id="{1E49978F-A112-D492-9A76-7D2C86176A7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022725" y="4899026"/>
                  <a:ext cx="20638" cy="17463"/>
                </a:xfrm>
                <a:custGeom>
                  <a:avLst/>
                  <a:gdLst>
                    <a:gd name="T0" fmla="*/ 1 w 13"/>
                    <a:gd name="T1" fmla="*/ 11 h 11"/>
                    <a:gd name="T2" fmla="*/ 13 w 13"/>
                    <a:gd name="T3" fmla="*/ 11 h 11"/>
                    <a:gd name="T4" fmla="*/ 13 w 13"/>
                    <a:gd name="T5" fmla="*/ 0 h 11"/>
                    <a:gd name="T6" fmla="*/ 0 w 13"/>
                    <a:gd name="T7" fmla="*/ 0 h 11"/>
                    <a:gd name="T8" fmla="*/ 1 w 13"/>
                    <a:gd name="T9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1">
                      <a:moveTo>
                        <a:pt x="1" y="11"/>
                      </a:moveTo>
                      <a:lnTo>
                        <a:pt x="13" y="11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1" y="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5" name="Group 6">
              <a:extLst>
                <a:ext uri="{FF2B5EF4-FFF2-40B4-BE49-F238E27FC236}">
                  <a16:creationId xmlns:a16="http://schemas.microsoft.com/office/drawing/2014/main" id="{573DA2FD-E348-4165-C5CA-D5A45CCCCD05}"/>
                </a:ext>
              </a:extLst>
            </p:cNvPr>
            <p:cNvGrpSpPr/>
            <p:nvPr/>
          </p:nvGrpSpPr>
          <p:grpSpPr>
            <a:xfrm>
              <a:off x="1868421" y="3874372"/>
              <a:ext cx="2908640" cy="1223224"/>
              <a:chOff x="1868421" y="3874372"/>
              <a:chExt cx="2908640" cy="1223224"/>
            </a:xfrm>
          </p:grpSpPr>
          <p:grpSp>
            <p:nvGrpSpPr>
              <p:cNvPr id="13" name="Group 2">
                <a:extLst>
                  <a:ext uri="{FF2B5EF4-FFF2-40B4-BE49-F238E27FC236}">
                    <a16:creationId xmlns:a16="http://schemas.microsoft.com/office/drawing/2014/main" id="{A4802925-F5F2-A09D-438F-975FE786E83F}"/>
                  </a:ext>
                </a:extLst>
              </p:cNvPr>
              <p:cNvGrpSpPr/>
              <p:nvPr/>
            </p:nvGrpSpPr>
            <p:grpSpPr>
              <a:xfrm>
                <a:off x="1868421" y="3874372"/>
                <a:ext cx="1112318" cy="1215895"/>
                <a:chOff x="1868421" y="3874372"/>
                <a:chExt cx="1112318" cy="1215895"/>
              </a:xfrm>
            </p:grpSpPr>
            <p:sp>
              <p:nvSpPr>
                <p:cNvPr id="209" name="Freeform 177">
                  <a:extLst>
                    <a:ext uri="{FF2B5EF4-FFF2-40B4-BE49-F238E27FC236}">
                      <a16:creationId xmlns:a16="http://schemas.microsoft.com/office/drawing/2014/main" id="{12EE70CB-8816-1844-4E88-38EE25FF34B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163948" y="4817283"/>
                  <a:ext cx="124002" cy="272984"/>
                </a:xfrm>
                <a:custGeom>
                  <a:avLst/>
                  <a:gdLst>
                    <a:gd name="T0" fmla="*/ 20 w 119"/>
                    <a:gd name="T1" fmla="*/ 0 h 262"/>
                    <a:gd name="T2" fmla="*/ 3 w 119"/>
                    <a:gd name="T3" fmla="*/ 0 h 262"/>
                    <a:gd name="T4" fmla="*/ 4 w 119"/>
                    <a:gd name="T5" fmla="*/ 6 h 262"/>
                    <a:gd name="T6" fmla="*/ 22 w 119"/>
                    <a:gd name="T7" fmla="*/ 13 h 262"/>
                    <a:gd name="T8" fmla="*/ 42 w 119"/>
                    <a:gd name="T9" fmla="*/ 23 h 262"/>
                    <a:gd name="T10" fmla="*/ 46 w 119"/>
                    <a:gd name="T11" fmla="*/ 26 h 262"/>
                    <a:gd name="T12" fmla="*/ 35 w 119"/>
                    <a:gd name="T13" fmla="*/ 28 h 262"/>
                    <a:gd name="T14" fmla="*/ 37 w 119"/>
                    <a:gd name="T15" fmla="*/ 262 h 262"/>
                    <a:gd name="T16" fmla="*/ 119 w 119"/>
                    <a:gd name="T17" fmla="*/ 262 h 262"/>
                    <a:gd name="T18" fmla="*/ 69 w 119"/>
                    <a:gd name="T19" fmla="*/ 23 h 262"/>
                    <a:gd name="T20" fmla="*/ 68 w 119"/>
                    <a:gd name="T21" fmla="*/ 23 h 262"/>
                    <a:gd name="T22" fmla="*/ 69 w 119"/>
                    <a:gd name="T23" fmla="*/ 1 h 262"/>
                    <a:gd name="T24" fmla="*/ 49 w 119"/>
                    <a:gd name="T25" fmla="*/ 1 h 262"/>
                    <a:gd name="T26" fmla="*/ 48 w 119"/>
                    <a:gd name="T27" fmla="*/ 9 h 262"/>
                    <a:gd name="T28" fmla="*/ 20 w 119"/>
                    <a:gd name="T29" fmla="*/ 0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9" h="262">
                      <a:moveTo>
                        <a:pt x="20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0" y="5"/>
                        <a:pt x="4" y="6"/>
                      </a:cubicBezTo>
                      <a:cubicBezTo>
                        <a:pt x="6" y="7"/>
                        <a:pt x="22" y="13"/>
                        <a:pt x="22" y="13"/>
                      </a:cubicBezTo>
                      <a:cubicBezTo>
                        <a:pt x="42" y="23"/>
                        <a:pt x="42" y="23"/>
                        <a:pt x="42" y="23"/>
                      </a:cubicBezTo>
                      <a:cubicBezTo>
                        <a:pt x="46" y="26"/>
                        <a:pt x="46" y="26"/>
                        <a:pt x="46" y="26"/>
                      </a:cubicBezTo>
                      <a:cubicBezTo>
                        <a:pt x="35" y="28"/>
                        <a:pt x="35" y="28"/>
                        <a:pt x="35" y="28"/>
                      </a:cubicBezTo>
                      <a:cubicBezTo>
                        <a:pt x="37" y="262"/>
                        <a:pt x="37" y="262"/>
                        <a:pt x="37" y="262"/>
                      </a:cubicBezTo>
                      <a:cubicBezTo>
                        <a:pt x="119" y="262"/>
                        <a:pt x="119" y="262"/>
                        <a:pt x="119" y="262"/>
                      </a:cubicBezTo>
                      <a:cubicBezTo>
                        <a:pt x="105" y="159"/>
                        <a:pt x="69" y="23"/>
                        <a:pt x="69" y="23"/>
                      </a:cubicBezTo>
                      <a:cubicBezTo>
                        <a:pt x="68" y="23"/>
                        <a:pt x="68" y="23"/>
                        <a:pt x="68" y="23"/>
                      </a:cubicBezTo>
                      <a:cubicBezTo>
                        <a:pt x="69" y="1"/>
                        <a:pt x="69" y="1"/>
                        <a:pt x="69" y="1"/>
                      </a:cubicBezTo>
                      <a:cubicBezTo>
                        <a:pt x="49" y="1"/>
                        <a:pt x="49" y="1"/>
                        <a:pt x="49" y="1"/>
                      </a:cubicBezTo>
                      <a:cubicBezTo>
                        <a:pt x="48" y="9"/>
                        <a:pt x="48" y="9"/>
                        <a:pt x="48" y="9"/>
                      </a:cubicBezTo>
                      <a:cubicBezTo>
                        <a:pt x="20" y="0"/>
                        <a:pt x="20" y="0"/>
                        <a:pt x="20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grpSp>
              <p:nvGrpSpPr>
                <p:cNvPr id="210" name="Group 1087">
                  <a:extLst>
                    <a:ext uri="{FF2B5EF4-FFF2-40B4-BE49-F238E27FC236}">
                      <a16:creationId xmlns:a16="http://schemas.microsoft.com/office/drawing/2014/main" id="{4092192B-35DF-5B02-CD12-030A59E5E7E9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1868421" y="3874372"/>
                  <a:ext cx="1112318" cy="907889"/>
                  <a:chOff x="10205244" y="514350"/>
                  <a:chExt cx="1429544" cy="1166813"/>
                </a:xfrm>
              </p:grpSpPr>
              <p:sp>
                <p:nvSpPr>
                  <p:cNvPr id="211" name="Freeform 254">
                    <a:extLst>
                      <a:ext uri="{FF2B5EF4-FFF2-40B4-BE49-F238E27FC236}">
                        <a16:creationId xmlns:a16="http://schemas.microsoft.com/office/drawing/2014/main" id="{20179767-75F6-B85A-F7E2-6FDD924F189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05244" y="950913"/>
                    <a:ext cx="88900" cy="63500"/>
                  </a:xfrm>
                  <a:custGeom>
                    <a:avLst/>
                    <a:gdLst>
                      <a:gd name="T0" fmla="*/ 47 w 48"/>
                      <a:gd name="T1" fmla="*/ 8 h 35"/>
                      <a:gd name="T2" fmla="*/ 47 w 48"/>
                      <a:gd name="T3" fmla="*/ 0 h 35"/>
                      <a:gd name="T4" fmla="*/ 16 w 48"/>
                      <a:gd name="T5" fmla="*/ 3 h 35"/>
                      <a:gd name="T6" fmla="*/ 21 w 48"/>
                      <a:gd name="T7" fmla="*/ 6 h 35"/>
                      <a:gd name="T8" fmla="*/ 29 w 48"/>
                      <a:gd name="T9" fmla="*/ 7 h 35"/>
                      <a:gd name="T10" fmla="*/ 14 w 48"/>
                      <a:gd name="T11" fmla="*/ 24 h 35"/>
                      <a:gd name="T12" fmla="*/ 2 w 48"/>
                      <a:gd name="T13" fmla="*/ 24 h 35"/>
                      <a:gd name="T14" fmla="*/ 0 w 48"/>
                      <a:gd name="T15" fmla="*/ 28 h 35"/>
                      <a:gd name="T16" fmla="*/ 15 w 48"/>
                      <a:gd name="T17" fmla="*/ 29 h 35"/>
                      <a:gd name="T18" fmla="*/ 5 w 48"/>
                      <a:gd name="T19" fmla="*/ 33 h 35"/>
                      <a:gd name="T20" fmla="*/ 6 w 48"/>
                      <a:gd name="T21" fmla="*/ 35 h 35"/>
                      <a:gd name="T22" fmla="*/ 27 w 48"/>
                      <a:gd name="T23" fmla="*/ 31 h 35"/>
                      <a:gd name="T24" fmla="*/ 31 w 48"/>
                      <a:gd name="T25" fmla="*/ 27 h 35"/>
                      <a:gd name="T26" fmla="*/ 39 w 48"/>
                      <a:gd name="T27" fmla="*/ 19 h 35"/>
                      <a:gd name="T28" fmla="*/ 44 w 48"/>
                      <a:gd name="T29" fmla="*/ 14 h 35"/>
                      <a:gd name="T30" fmla="*/ 48 w 48"/>
                      <a:gd name="T31" fmla="*/ 14 h 35"/>
                      <a:gd name="T32" fmla="*/ 47 w 48"/>
                      <a:gd name="T33" fmla="*/ 8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48" h="35">
                        <a:moveTo>
                          <a:pt x="47" y="8"/>
                        </a:moveTo>
                        <a:cubicBezTo>
                          <a:pt x="47" y="4"/>
                          <a:pt x="47" y="2"/>
                          <a:pt x="47" y="0"/>
                        </a:cubicBezTo>
                        <a:cubicBezTo>
                          <a:pt x="36" y="0"/>
                          <a:pt x="16" y="3"/>
                          <a:pt x="16" y="3"/>
                        </a:cubicBezTo>
                        <a:cubicBezTo>
                          <a:pt x="16" y="3"/>
                          <a:pt x="16" y="6"/>
                          <a:pt x="21" y="6"/>
                        </a:cubicBezTo>
                        <a:cubicBezTo>
                          <a:pt x="26" y="6"/>
                          <a:pt x="29" y="7"/>
                          <a:pt x="29" y="7"/>
                        </a:cubicBezTo>
                        <a:cubicBezTo>
                          <a:pt x="14" y="24"/>
                          <a:pt x="14" y="24"/>
                          <a:pt x="14" y="24"/>
                        </a:cubicBezTo>
                        <a:cubicBezTo>
                          <a:pt x="14" y="24"/>
                          <a:pt x="4" y="24"/>
                          <a:pt x="2" y="24"/>
                        </a:cubicBezTo>
                        <a:cubicBezTo>
                          <a:pt x="1" y="25"/>
                          <a:pt x="0" y="27"/>
                          <a:pt x="0" y="28"/>
                        </a:cubicBezTo>
                        <a:cubicBezTo>
                          <a:pt x="4" y="28"/>
                          <a:pt x="15" y="29"/>
                          <a:pt x="15" y="29"/>
                        </a:cubicBezTo>
                        <a:cubicBezTo>
                          <a:pt x="15" y="29"/>
                          <a:pt x="7" y="31"/>
                          <a:pt x="5" y="33"/>
                        </a:cubicBezTo>
                        <a:cubicBezTo>
                          <a:pt x="5" y="33"/>
                          <a:pt x="4" y="35"/>
                          <a:pt x="6" y="35"/>
                        </a:cubicBezTo>
                        <a:cubicBezTo>
                          <a:pt x="15" y="34"/>
                          <a:pt x="26" y="32"/>
                          <a:pt x="27" y="31"/>
                        </a:cubicBezTo>
                        <a:cubicBezTo>
                          <a:pt x="29" y="29"/>
                          <a:pt x="31" y="27"/>
                          <a:pt x="31" y="27"/>
                        </a:cubicBezTo>
                        <a:cubicBezTo>
                          <a:pt x="31" y="27"/>
                          <a:pt x="35" y="23"/>
                          <a:pt x="39" y="19"/>
                        </a:cubicBezTo>
                        <a:cubicBezTo>
                          <a:pt x="43" y="16"/>
                          <a:pt x="44" y="14"/>
                          <a:pt x="44" y="14"/>
                        </a:cubicBezTo>
                        <a:cubicBezTo>
                          <a:pt x="48" y="14"/>
                          <a:pt x="48" y="14"/>
                          <a:pt x="48" y="14"/>
                        </a:cubicBezTo>
                        <a:cubicBezTo>
                          <a:pt x="48" y="14"/>
                          <a:pt x="47" y="11"/>
                          <a:pt x="47" y="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2" name="Freeform 235">
                    <a:extLst>
                      <a:ext uri="{FF2B5EF4-FFF2-40B4-BE49-F238E27FC236}">
                        <a16:creationId xmlns:a16="http://schemas.microsoft.com/office/drawing/2014/main" id="{8F2CA549-6AAB-8D35-D895-8B50DD9D25B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20438" y="976313"/>
                    <a:ext cx="206375" cy="155575"/>
                  </a:xfrm>
                  <a:custGeom>
                    <a:avLst/>
                    <a:gdLst>
                      <a:gd name="T0" fmla="*/ 112 w 112"/>
                      <a:gd name="T1" fmla="*/ 84 h 84"/>
                      <a:gd name="T2" fmla="*/ 30 w 112"/>
                      <a:gd name="T3" fmla="*/ 73 h 84"/>
                      <a:gd name="T4" fmla="*/ 0 w 112"/>
                      <a:gd name="T5" fmla="*/ 0 h 84"/>
                      <a:gd name="T6" fmla="*/ 68 w 112"/>
                      <a:gd name="T7" fmla="*/ 23 h 84"/>
                      <a:gd name="T8" fmla="*/ 112 w 112"/>
                      <a:gd name="T9" fmla="*/ 84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2" h="84">
                        <a:moveTo>
                          <a:pt x="112" y="84"/>
                        </a:moveTo>
                        <a:cubicBezTo>
                          <a:pt x="112" y="84"/>
                          <a:pt x="80" y="48"/>
                          <a:pt x="30" y="73"/>
                        </a:cubicBezTo>
                        <a:cubicBezTo>
                          <a:pt x="9" y="83"/>
                          <a:pt x="0" y="0"/>
                          <a:pt x="0" y="0"/>
                        </a:cubicBezTo>
                        <a:cubicBezTo>
                          <a:pt x="0" y="0"/>
                          <a:pt x="11" y="5"/>
                          <a:pt x="68" y="23"/>
                        </a:cubicBezTo>
                        <a:cubicBezTo>
                          <a:pt x="83" y="28"/>
                          <a:pt x="112" y="84"/>
                          <a:pt x="112" y="84"/>
                        </a:cubicBezTo>
                        <a:close/>
                      </a:path>
                    </a:pathLst>
                  </a:custGeom>
                  <a:solidFill>
                    <a:srgbClr val="5D819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3" name="Freeform 236">
                    <a:extLst>
                      <a:ext uri="{FF2B5EF4-FFF2-40B4-BE49-F238E27FC236}">
                        <a16:creationId xmlns:a16="http://schemas.microsoft.com/office/drawing/2014/main" id="{5F0AAE3D-6699-7908-0BF0-5A95EAEE707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555413" y="1190625"/>
                    <a:ext cx="79375" cy="52388"/>
                  </a:xfrm>
                  <a:custGeom>
                    <a:avLst/>
                    <a:gdLst>
                      <a:gd name="T0" fmla="*/ 0 w 43"/>
                      <a:gd name="T1" fmla="*/ 12 h 28"/>
                      <a:gd name="T2" fmla="*/ 7 w 43"/>
                      <a:gd name="T3" fmla="*/ 0 h 28"/>
                      <a:gd name="T4" fmla="*/ 19 w 43"/>
                      <a:gd name="T5" fmla="*/ 7 h 28"/>
                      <a:gd name="T6" fmla="*/ 16 w 43"/>
                      <a:gd name="T7" fmla="*/ 12 h 28"/>
                      <a:gd name="T8" fmla="*/ 35 w 43"/>
                      <a:gd name="T9" fmla="*/ 18 h 28"/>
                      <a:gd name="T10" fmla="*/ 43 w 43"/>
                      <a:gd name="T11" fmla="*/ 24 h 28"/>
                      <a:gd name="T12" fmla="*/ 40 w 43"/>
                      <a:gd name="T13" fmla="*/ 27 h 28"/>
                      <a:gd name="T14" fmla="*/ 29 w 43"/>
                      <a:gd name="T15" fmla="*/ 25 h 28"/>
                      <a:gd name="T16" fmla="*/ 12 w 43"/>
                      <a:gd name="T17" fmla="*/ 24 h 28"/>
                      <a:gd name="T18" fmla="*/ 0 w 43"/>
                      <a:gd name="T19" fmla="*/ 12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3" h="28">
                        <a:moveTo>
                          <a:pt x="0" y="12"/>
                        </a:move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19" y="7"/>
                          <a:pt x="19" y="7"/>
                          <a:pt x="19" y="7"/>
                        </a:cubicBezTo>
                        <a:cubicBezTo>
                          <a:pt x="16" y="12"/>
                          <a:pt x="16" y="12"/>
                          <a:pt x="16" y="12"/>
                        </a:cubicBezTo>
                        <a:cubicBezTo>
                          <a:pt x="35" y="18"/>
                          <a:pt x="35" y="18"/>
                          <a:pt x="35" y="18"/>
                        </a:cubicBezTo>
                        <a:cubicBezTo>
                          <a:pt x="43" y="24"/>
                          <a:pt x="43" y="24"/>
                          <a:pt x="43" y="24"/>
                        </a:cubicBezTo>
                        <a:cubicBezTo>
                          <a:pt x="43" y="24"/>
                          <a:pt x="43" y="28"/>
                          <a:pt x="40" y="27"/>
                        </a:cubicBezTo>
                        <a:cubicBezTo>
                          <a:pt x="39" y="27"/>
                          <a:pt x="29" y="25"/>
                          <a:pt x="29" y="25"/>
                        </a:cubicBezTo>
                        <a:cubicBezTo>
                          <a:pt x="12" y="24"/>
                          <a:pt x="12" y="24"/>
                          <a:pt x="12" y="24"/>
                        </a:cubicBez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4" name="Freeform 237">
                    <a:extLst>
                      <a:ext uri="{FF2B5EF4-FFF2-40B4-BE49-F238E27FC236}">
                        <a16:creationId xmlns:a16="http://schemas.microsoft.com/office/drawing/2014/main" id="{896FAF6A-2BC9-65D1-6880-2D5501F1F19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049000" y="1157288"/>
                    <a:ext cx="534988" cy="444500"/>
                  </a:xfrm>
                  <a:custGeom>
                    <a:avLst/>
                    <a:gdLst>
                      <a:gd name="T0" fmla="*/ 13 w 288"/>
                      <a:gd name="T1" fmla="*/ 30 h 240"/>
                      <a:gd name="T2" fmla="*/ 97 w 288"/>
                      <a:gd name="T3" fmla="*/ 29 h 240"/>
                      <a:gd name="T4" fmla="*/ 121 w 288"/>
                      <a:gd name="T5" fmla="*/ 154 h 240"/>
                      <a:gd name="T6" fmla="*/ 269 w 288"/>
                      <a:gd name="T7" fmla="*/ 26 h 240"/>
                      <a:gd name="T8" fmla="*/ 288 w 288"/>
                      <a:gd name="T9" fmla="*/ 44 h 240"/>
                      <a:gd name="T10" fmla="*/ 145 w 288"/>
                      <a:gd name="T11" fmla="*/ 206 h 240"/>
                      <a:gd name="T12" fmla="*/ 78 w 288"/>
                      <a:gd name="T13" fmla="*/ 202 h 240"/>
                      <a:gd name="T14" fmla="*/ 0 w 288"/>
                      <a:gd name="T15" fmla="*/ 68 h 240"/>
                      <a:gd name="T16" fmla="*/ 13 w 288"/>
                      <a:gd name="T17" fmla="*/ 30 h 2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88" h="240">
                        <a:moveTo>
                          <a:pt x="13" y="30"/>
                        </a:moveTo>
                        <a:cubicBezTo>
                          <a:pt x="13" y="30"/>
                          <a:pt x="86" y="0"/>
                          <a:pt x="97" y="29"/>
                        </a:cubicBezTo>
                        <a:cubicBezTo>
                          <a:pt x="114" y="69"/>
                          <a:pt x="119" y="127"/>
                          <a:pt x="121" y="154"/>
                        </a:cubicBezTo>
                        <a:cubicBezTo>
                          <a:pt x="269" y="26"/>
                          <a:pt x="269" y="26"/>
                          <a:pt x="269" y="26"/>
                        </a:cubicBezTo>
                        <a:cubicBezTo>
                          <a:pt x="288" y="44"/>
                          <a:pt x="288" y="44"/>
                          <a:pt x="288" y="44"/>
                        </a:cubicBezTo>
                        <a:cubicBezTo>
                          <a:pt x="288" y="44"/>
                          <a:pt x="154" y="192"/>
                          <a:pt x="145" y="206"/>
                        </a:cubicBezTo>
                        <a:cubicBezTo>
                          <a:pt x="135" y="220"/>
                          <a:pt x="102" y="240"/>
                          <a:pt x="78" y="202"/>
                        </a:cubicBezTo>
                        <a:cubicBezTo>
                          <a:pt x="55" y="163"/>
                          <a:pt x="14" y="93"/>
                          <a:pt x="0" y="68"/>
                        </a:cubicBezTo>
                        <a:cubicBezTo>
                          <a:pt x="107" y="63"/>
                          <a:pt x="13" y="30"/>
                          <a:pt x="13" y="3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5" name="Freeform 238">
                    <a:extLst>
                      <a:ext uri="{FF2B5EF4-FFF2-40B4-BE49-F238E27FC236}">
                        <a16:creationId xmlns:a16="http://schemas.microsoft.com/office/drawing/2014/main" id="{C61A227E-F7CB-3328-C274-20E1093AA1D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50513" y="677863"/>
                    <a:ext cx="373063" cy="328613"/>
                  </a:xfrm>
                  <a:custGeom>
                    <a:avLst/>
                    <a:gdLst>
                      <a:gd name="T0" fmla="*/ 179 w 201"/>
                      <a:gd name="T1" fmla="*/ 0 h 177"/>
                      <a:gd name="T2" fmla="*/ 134 w 201"/>
                      <a:gd name="T3" fmla="*/ 67 h 177"/>
                      <a:gd name="T4" fmla="*/ 99 w 201"/>
                      <a:gd name="T5" fmla="*/ 122 h 177"/>
                      <a:gd name="T6" fmla="*/ 9 w 201"/>
                      <a:gd name="T7" fmla="*/ 39 h 177"/>
                      <a:gd name="T8" fmla="*/ 0 w 201"/>
                      <a:gd name="T9" fmla="*/ 48 h 177"/>
                      <a:gd name="T10" fmla="*/ 65 w 201"/>
                      <a:gd name="T11" fmla="*/ 141 h 177"/>
                      <a:gd name="T12" fmla="*/ 116 w 201"/>
                      <a:gd name="T13" fmla="*/ 177 h 177"/>
                      <a:gd name="T14" fmla="*/ 201 w 201"/>
                      <a:gd name="T15" fmla="*/ 87 h 177"/>
                      <a:gd name="T16" fmla="*/ 179 w 201"/>
                      <a:gd name="T17" fmla="*/ 0 h 1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1" h="177">
                        <a:moveTo>
                          <a:pt x="179" y="0"/>
                        </a:moveTo>
                        <a:cubicBezTo>
                          <a:pt x="179" y="0"/>
                          <a:pt x="155" y="11"/>
                          <a:pt x="134" y="67"/>
                        </a:cubicBezTo>
                        <a:cubicBezTo>
                          <a:pt x="121" y="98"/>
                          <a:pt x="99" y="122"/>
                          <a:pt x="99" y="122"/>
                        </a:cubicBezTo>
                        <a:cubicBezTo>
                          <a:pt x="9" y="39"/>
                          <a:pt x="9" y="39"/>
                          <a:pt x="9" y="39"/>
                        </a:cubicBezTo>
                        <a:cubicBezTo>
                          <a:pt x="0" y="48"/>
                          <a:pt x="0" y="48"/>
                          <a:pt x="0" y="48"/>
                        </a:cubicBezTo>
                        <a:cubicBezTo>
                          <a:pt x="0" y="48"/>
                          <a:pt x="41" y="108"/>
                          <a:pt x="65" y="141"/>
                        </a:cubicBezTo>
                        <a:cubicBezTo>
                          <a:pt x="86" y="172"/>
                          <a:pt x="116" y="177"/>
                          <a:pt x="116" y="177"/>
                        </a:cubicBezTo>
                        <a:cubicBezTo>
                          <a:pt x="201" y="87"/>
                          <a:pt x="201" y="87"/>
                          <a:pt x="201" y="87"/>
                        </a:cubicBezTo>
                        <a:lnTo>
                          <a:pt x="179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6" name="Freeform 239">
                    <a:extLst>
                      <a:ext uri="{FF2B5EF4-FFF2-40B4-BE49-F238E27FC236}">
                        <a16:creationId xmlns:a16="http://schemas.microsoft.com/office/drawing/2014/main" id="{D9E48E2A-98A6-68C1-7D78-CEE155CA9FA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7525" y="700088"/>
                    <a:ext cx="284163" cy="404813"/>
                  </a:xfrm>
                  <a:custGeom>
                    <a:avLst/>
                    <a:gdLst>
                      <a:gd name="T0" fmla="*/ 154 w 154"/>
                      <a:gd name="T1" fmla="*/ 219 h 219"/>
                      <a:gd name="T2" fmla="*/ 32 w 154"/>
                      <a:gd name="T3" fmla="*/ 117 h 219"/>
                      <a:gd name="T4" fmla="*/ 43 w 154"/>
                      <a:gd name="T5" fmla="*/ 0 h 219"/>
                      <a:gd name="T6" fmla="*/ 154 w 154"/>
                      <a:gd name="T7" fmla="*/ 219 h 2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54" h="219">
                        <a:moveTo>
                          <a:pt x="154" y="219"/>
                        </a:moveTo>
                        <a:cubicBezTo>
                          <a:pt x="154" y="219"/>
                          <a:pt x="59" y="173"/>
                          <a:pt x="32" y="117"/>
                        </a:cubicBezTo>
                        <a:cubicBezTo>
                          <a:pt x="0" y="47"/>
                          <a:pt x="43" y="0"/>
                          <a:pt x="43" y="0"/>
                        </a:cubicBezTo>
                        <a:cubicBezTo>
                          <a:pt x="154" y="219"/>
                          <a:pt x="154" y="219"/>
                          <a:pt x="154" y="219"/>
                        </a:cubicBezTo>
                      </a:path>
                    </a:pathLst>
                  </a:custGeom>
                  <a:solidFill>
                    <a:srgbClr val="9FCDD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7" name="Freeform 240">
                    <a:extLst>
                      <a:ext uri="{FF2B5EF4-FFF2-40B4-BE49-F238E27FC236}">
                        <a16:creationId xmlns:a16="http://schemas.microsoft.com/office/drawing/2014/main" id="{5C07221F-2206-BB8A-822F-A156D1A0C5F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18800" y="666750"/>
                    <a:ext cx="525463" cy="481013"/>
                  </a:xfrm>
                  <a:custGeom>
                    <a:avLst/>
                    <a:gdLst>
                      <a:gd name="T0" fmla="*/ 135 w 283"/>
                      <a:gd name="T1" fmla="*/ 260 h 260"/>
                      <a:gd name="T2" fmla="*/ 32 w 283"/>
                      <a:gd name="T3" fmla="*/ 116 h 260"/>
                      <a:gd name="T4" fmla="*/ 13 w 283"/>
                      <a:gd name="T5" fmla="*/ 25 h 260"/>
                      <a:gd name="T6" fmla="*/ 45 w 283"/>
                      <a:gd name="T7" fmla="*/ 0 h 260"/>
                      <a:gd name="T8" fmla="*/ 174 w 283"/>
                      <a:gd name="T9" fmla="*/ 74 h 260"/>
                      <a:gd name="T10" fmla="*/ 283 w 283"/>
                      <a:gd name="T11" fmla="*/ 245 h 260"/>
                      <a:gd name="T12" fmla="*/ 135 w 283"/>
                      <a:gd name="T13" fmla="*/ 26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3" h="260">
                        <a:moveTo>
                          <a:pt x="135" y="260"/>
                        </a:moveTo>
                        <a:cubicBezTo>
                          <a:pt x="135" y="260"/>
                          <a:pt x="85" y="180"/>
                          <a:pt x="32" y="116"/>
                        </a:cubicBezTo>
                        <a:cubicBezTo>
                          <a:pt x="0" y="76"/>
                          <a:pt x="13" y="25"/>
                          <a:pt x="13" y="25"/>
                        </a:cubicBezTo>
                        <a:cubicBezTo>
                          <a:pt x="13" y="25"/>
                          <a:pt x="30" y="1"/>
                          <a:pt x="45" y="0"/>
                        </a:cubicBezTo>
                        <a:cubicBezTo>
                          <a:pt x="71" y="7"/>
                          <a:pt x="133" y="22"/>
                          <a:pt x="174" y="74"/>
                        </a:cubicBezTo>
                        <a:cubicBezTo>
                          <a:pt x="232" y="148"/>
                          <a:pt x="283" y="245"/>
                          <a:pt x="283" y="245"/>
                        </a:cubicBezTo>
                        <a:cubicBezTo>
                          <a:pt x="135" y="260"/>
                          <a:pt x="135" y="260"/>
                          <a:pt x="135" y="260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8" name="Freeform 241">
                    <a:extLst>
                      <a:ext uri="{FF2B5EF4-FFF2-40B4-BE49-F238E27FC236}">
                        <a16:creationId xmlns:a16="http://schemas.microsoft.com/office/drawing/2014/main" id="{CC482771-8C8F-142E-5334-968AEA101A4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01350" y="911225"/>
                    <a:ext cx="23813" cy="30163"/>
                  </a:xfrm>
                  <a:custGeom>
                    <a:avLst/>
                    <a:gdLst>
                      <a:gd name="T0" fmla="*/ 0 w 13"/>
                      <a:gd name="T1" fmla="*/ 0 h 16"/>
                      <a:gd name="T2" fmla="*/ 13 w 13"/>
                      <a:gd name="T3" fmla="*/ 16 h 16"/>
                      <a:gd name="T4" fmla="*/ 6 w 13"/>
                      <a:gd name="T5" fmla="*/ 5 h 16"/>
                      <a:gd name="T6" fmla="*/ 0 w 13"/>
                      <a:gd name="T7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3" h="16">
                        <a:moveTo>
                          <a:pt x="0" y="0"/>
                        </a:moveTo>
                        <a:cubicBezTo>
                          <a:pt x="0" y="0"/>
                          <a:pt x="5" y="7"/>
                          <a:pt x="13" y="16"/>
                        </a:cubicBezTo>
                        <a:cubicBezTo>
                          <a:pt x="11" y="12"/>
                          <a:pt x="8" y="9"/>
                          <a:pt x="6" y="5"/>
                        </a:cubicBezTo>
                        <a:cubicBezTo>
                          <a:pt x="2" y="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9" name="Freeform 242">
                    <a:extLst>
                      <a:ext uri="{FF2B5EF4-FFF2-40B4-BE49-F238E27FC236}">
                        <a16:creationId xmlns:a16="http://schemas.microsoft.com/office/drawing/2014/main" id="{C7B36683-8B38-1995-AD0B-83D134B5BA2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2463" y="920750"/>
                    <a:ext cx="252413" cy="200025"/>
                  </a:xfrm>
                  <a:custGeom>
                    <a:avLst/>
                    <a:gdLst>
                      <a:gd name="T0" fmla="*/ 0 w 136"/>
                      <a:gd name="T1" fmla="*/ 0 h 108"/>
                      <a:gd name="T2" fmla="*/ 7 w 136"/>
                      <a:gd name="T3" fmla="*/ 11 h 108"/>
                      <a:gd name="T4" fmla="*/ 63 w 136"/>
                      <a:gd name="T5" fmla="*/ 48 h 108"/>
                      <a:gd name="T6" fmla="*/ 124 w 136"/>
                      <a:gd name="T7" fmla="*/ 107 h 108"/>
                      <a:gd name="T8" fmla="*/ 136 w 136"/>
                      <a:gd name="T9" fmla="*/ 108 h 108"/>
                      <a:gd name="T10" fmla="*/ 62 w 136"/>
                      <a:gd name="T11" fmla="*/ 43 h 108"/>
                      <a:gd name="T12" fmla="*/ 0 w 136"/>
                      <a:gd name="T13" fmla="*/ 0 h 1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36" h="108">
                        <a:moveTo>
                          <a:pt x="0" y="0"/>
                        </a:moveTo>
                        <a:cubicBezTo>
                          <a:pt x="2" y="4"/>
                          <a:pt x="5" y="7"/>
                          <a:pt x="7" y="11"/>
                        </a:cubicBezTo>
                        <a:cubicBezTo>
                          <a:pt x="20" y="24"/>
                          <a:pt x="40" y="41"/>
                          <a:pt x="63" y="48"/>
                        </a:cubicBezTo>
                        <a:cubicBezTo>
                          <a:pt x="97" y="58"/>
                          <a:pt x="124" y="107"/>
                          <a:pt x="124" y="107"/>
                        </a:cubicBezTo>
                        <a:cubicBezTo>
                          <a:pt x="136" y="108"/>
                          <a:pt x="136" y="108"/>
                          <a:pt x="136" y="108"/>
                        </a:cubicBezTo>
                        <a:cubicBezTo>
                          <a:pt x="136" y="108"/>
                          <a:pt x="100" y="63"/>
                          <a:pt x="62" y="43"/>
                        </a:cubicBezTo>
                        <a:cubicBezTo>
                          <a:pt x="33" y="29"/>
                          <a:pt x="10" y="1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0" name="Freeform 243">
                    <a:extLst>
                      <a:ext uri="{FF2B5EF4-FFF2-40B4-BE49-F238E27FC236}">
                        <a16:creationId xmlns:a16="http://schemas.microsoft.com/office/drawing/2014/main" id="{39511074-B6C8-18B7-39FE-7EF3FC6159A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9438" y="730250"/>
                    <a:ext cx="211138" cy="368300"/>
                  </a:xfrm>
                  <a:custGeom>
                    <a:avLst/>
                    <a:gdLst>
                      <a:gd name="T0" fmla="*/ 5 w 114"/>
                      <a:gd name="T1" fmla="*/ 0 h 199"/>
                      <a:gd name="T2" fmla="*/ 2 w 114"/>
                      <a:gd name="T3" fmla="*/ 9 h 199"/>
                      <a:gd name="T4" fmla="*/ 8 w 114"/>
                      <a:gd name="T5" fmla="*/ 18 h 199"/>
                      <a:gd name="T6" fmla="*/ 17 w 114"/>
                      <a:gd name="T7" fmla="*/ 94 h 199"/>
                      <a:gd name="T8" fmla="*/ 83 w 114"/>
                      <a:gd name="T9" fmla="*/ 194 h 199"/>
                      <a:gd name="T10" fmla="*/ 114 w 114"/>
                      <a:gd name="T11" fmla="*/ 199 h 199"/>
                      <a:gd name="T12" fmla="*/ 111 w 114"/>
                      <a:gd name="T13" fmla="*/ 166 h 199"/>
                      <a:gd name="T14" fmla="*/ 33 w 114"/>
                      <a:gd name="T15" fmla="*/ 84 h 199"/>
                      <a:gd name="T16" fmla="*/ 14 w 114"/>
                      <a:gd name="T17" fmla="*/ 17 h 199"/>
                      <a:gd name="T18" fmla="*/ 17 w 114"/>
                      <a:gd name="T19" fmla="*/ 7 h 199"/>
                      <a:gd name="T20" fmla="*/ 5 w 114"/>
                      <a:gd name="T21" fmla="*/ 0 h 1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14" h="199">
                        <a:moveTo>
                          <a:pt x="5" y="0"/>
                        </a:moveTo>
                        <a:cubicBezTo>
                          <a:pt x="5" y="0"/>
                          <a:pt x="2" y="4"/>
                          <a:pt x="2" y="9"/>
                        </a:cubicBezTo>
                        <a:cubicBezTo>
                          <a:pt x="3" y="14"/>
                          <a:pt x="8" y="18"/>
                          <a:pt x="8" y="18"/>
                        </a:cubicBezTo>
                        <a:cubicBezTo>
                          <a:pt x="8" y="18"/>
                          <a:pt x="0" y="55"/>
                          <a:pt x="17" y="94"/>
                        </a:cubicBezTo>
                        <a:cubicBezTo>
                          <a:pt x="43" y="154"/>
                          <a:pt x="83" y="194"/>
                          <a:pt x="83" y="194"/>
                        </a:cubicBezTo>
                        <a:cubicBezTo>
                          <a:pt x="114" y="199"/>
                          <a:pt x="114" y="199"/>
                          <a:pt x="114" y="199"/>
                        </a:cubicBezTo>
                        <a:cubicBezTo>
                          <a:pt x="111" y="166"/>
                          <a:pt x="111" y="166"/>
                          <a:pt x="111" y="166"/>
                        </a:cubicBezTo>
                        <a:cubicBezTo>
                          <a:pt x="111" y="166"/>
                          <a:pt x="65" y="139"/>
                          <a:pt x="33" y="84"/>
                        </a:cubicBezTo>
                        <a:cubicBezTo>
                          <a:pt x="11" y="46"/>
                          <a:pt x="14" y="17"/>
                          <a:pt x="14" y="17"/>
                        </a:cubicBezTo>
                        <a:cubicBezTo>
                          <a:pt x="14" y="17"/>
                          <a:pt x="15" y="12"/>
                          <a:pt x="17" y="7"/>
                        </a:cubicBezTo>
                        <a:cubicBezTo>
                          <a:pt x="9" y="4"/>
                          <a:pt x="5" y="0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1" name="Freeform 244">
                    <a:extLst>
                      <a:ext uri="{FF2B5EF4-FFF2-40B4-BE49-F238E27FC236}">
                        <a16:creationId xmlns:a16="http://schemas.microsoft.com/office/drawing/2014/main" id="{EAAC52E5-3C6B-26C5-A963-32D02685144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80700" y="617538"/>
                    <a:ext cx="131763" cy="107950"/>
                  </a:xfrm>
                  <a:custGeom>
                    <a:avLst/>
                    <a:gdLst>
                      <a:gd name="T0" fmla="*/ 70 w 71"/>
                      <a:gd name="T1" fmla="*/ 28 h 59"/>
                      <a:gd name="T2" fmla="*/ 71 w 71"/>
                      <a:gd name="T3" fmla="*/ 24 h 59"/>
                      <a:gd name="T4" fmla="*/ 62 w 71"/>
                      <a:gd name="T5" fmla="*/ 0 h 59"/>
                      <a:gd name="T6" fmla="*/ 42 w 71"/>
                      <a:gd name="T7" fmla="*/ 17 h 59"/>
                      <a:gd name="T8" fmla="*/ 21 w 71"/>
                      <a:gd name="T9" fmla="*/ 23 h 59"/>
                      <a:gd name="T10" fmla="*/ 0 w 71"/>
                      <a:gd name="T11" fmla="*/ 11 h 59"/>
                      <a:gd name="T12" fmla="*/ 36 w 71"/>
                      <a:gd name="T13" fmla="*/ 59 h 59"/>
                      <a:gd name="T14" fmla="*/ 70 w 71"/>
                      <a:gd name="T15" fmla="*/ 28 h 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1" h="59">
                        <a:moveTo>
                          <a:pt x="70" y="28"/>
                        </a:moveTo>
                        <a:cubicBezTo>
                          <a:pt x="69" y="26"/>
                          <a:pt x="71" y="24"/>
                          <a:pt x="71" y="24"/>
                        </a:cubicBezTo>
                        <a:cubicBezTo>
                          <a:pt x="62" y="0"/>
                          <a:pt x="62" y="0"/>
                          <a:pt x="62" y="0"/>
                        </a:cubicBezTo>
                        <a:cubicBezTo>
                          <a:pt x="62" y="0"/>
                          <a:pt x="48" y="10"/>
                          <a:pt x="42" y="17"/>
                        </a:cubicBezTo>
                        <a:cubicBezTo>
                          <a:pt x="36" y="24"/>
                          <a:pt x="25" y="24"/>
                          <a:pt x="21" y="23"/>
                        </a:cubicBezTo>
                        <a:cubicBezTo>
                          <a:pt x="13" y="19"/>
                          <a:pt x="0" y="11"/>
                          <a:pt x="0" y="11"/>
                        </a:cubicBezTo>
                        <a:cubicBezTo>
                          <a:pt x="0" y="11"/>
                          <a:pt x="24" y="28"/>
                          <a:pt x="36" y="59"/>
                        </a:cubicBezTo>
                        <a:cubicBezTo>
                          <a:pt x="60" y="44"/>
                          <a:pt x="67" y="33"/>
                          <a:pt x="70" y="2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2" name="Freeform 245">
                    <a:extLst>
                      <a:ext uri="{FF2B5EF4-FFF2-40B4-BE49-F238E27FC236}">
                        <a16:creationId xmlns:a16="http://schemas.microsoft.com/office/drawing/2014/main" id="{45A038F0-83B9-DA5D-08AF-043E54AC51E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9113" y="541338"/>
                    <a:ext cx="138113" cy="127000"/>
                  </a:xfrm>
                  <a:custGeom>
                    <a:avLst/>
                    <a:gdLst>
                      <a:gd name="T0" fmla="*/ 1 w 75"/>
                      <a:gd name="T1" fmla="*/ 52 h 69"/>
                      <a:gd name="T2" fmla="*/ 25 w 75"/>
                      <a:gd name="T3" fmla="*/ 65 h 69"/>
                      <a:gd name="T4" fmla="*/ 39 w 75"/>
                      <a:gd name="T5" fmla="*/ 62 h 69"/>
                      <a:gd name="T6" fmla="*/ 52 w 75"/>
                      <a:gd name="T7" fmla="*/ 51 h 69"/>
                      <a:gd name="T8" fmla="*/ 60 w 75"/>
                      <a:gd name="T9" fmla="*/ 50 h 69"/>
                      <a:gd name="T10" fmla="*/ 62 w 75"/>
                      <a:gd name="T11" fmla="*/ 39 h 69"/>
                      <a:gd name="T12" fmla="*/ 75 w 75"/>
                      <a:gd name="T13" fmla="*/ 12 h 69"/>
                      <a:gd name="T14" fmla="*/ 65 w 75"/>
                      <a:gd name="T15" fmla="*/ 1 h 69"/>
                      <a:gd name="T16" fmla="*/ 50 w 75"/>
                      <a:gd name="T17" fmla="*/ 0 h 69"/>
                      <a:gd name="T18" fmla="*/ 12 w 75"/>
                      <a:gd name="T19" fmla="*/ 20 h 69"/>
                      <a:gd name="T20" fmla="*/ 13 w 75"/>
                      <a:gd name="T21" fmla="*/ 23 h 69"/>
                      <a:gd name="T22" fmla="*/ 18 w 75"/>
                      <a:gd name="T23" fmla="*/ 27 h 69"/>
                      <a:gd name="T24" fmla="*/ 1 w 75"/>
                      <a:gd name="T25" fmla="*/ 51 h 69"/>
                      <a:gd name="T26" fmla="*/ 1 w 75"/>
                      <a:gd name="T27" fmla="*/ 52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75" h="69">
                        <a:moveTo>
                          <a:pt x="1" y="52"/>
                        </a:moveTo>
                        <a:cubicBezTo>
                          <a:pt x="7" y="56"/>
                          <a:pt x="19" y="63"/>
                          <a:pt x="25" y="65"/>
                        </a:cubicBezTo>
                        <a:cubicBezTo>
                          <a:pt x="33" y="69"/>
                          <a:pt x="39" y="62"/>
                          <a:pt x="39" y="62"/>
                        </a:cubicBezTo>
                        <a:cubicBezTo>
                          <a:pt x="52" y="51"/>
                          <a:pt x="52" y="51"/>
                          <a:pt x="52" y="51"/>
                        </a:cubicBezTo>
                        <a:cubicBezTo>
                          <a:pt x="52" y="51"/>
                          <a:pt x="56" y="51"/>
                          <a:pt x="60" y="50"/>
                        </a:cubicBezTo>
                        <a:cubicBezTo>
                          <a:pt x="62" y="49"/>
                          <a:pt x="66" y="45"/>
                          <a:pt x="62" y="39"/>
                        </a:cubicBezTo>
                        <a:cubicBezTo>
                          <a:pt x="54" y="30"/>
                          <a:pt x="75" y="12"/>
                          <a:pt x="75" y="12"/>
                        </a:cubicBezTo>
                        <a:cubicBezTo>
                          <a:pt x="65" y="1"/>
                          <a:pt x="65" y="1"/>
                          <a:pt x="65" y="1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12" y="20"/>
                          <a:pt x="12" y="20"/>
                          <a:pt x="12" y="20"/>
                        </a:cubicBezTo>
                        <a:cubicBezTo>
                          <a:pt x="12" y="20"/>
                          <a:pt x="11" y="22"/>
                          <a:pt x="13" y="23"/>
                        </a:cubicBezTo>
                        <a:cubicBezTo>
                          <a:pt x="15" y="25"/>
                          <a:pt x="18" y="27"/>
                          <a:pt x="18" y="27"/>
                        </a:cubicBezTo>
                        <a:cubicBezTo>
                          <a:pt x="18" y="27"/>
                          <a:pt x="2" y="50"/>
                          <a:pt x="1" y="51"/>
                        </a:cubicBezTo>
                        <a:cubicBezTo>
                          <a:pt x="0" y="52"/>
                          <a:pt x="1" y="52"/>
                          <a:pt x="1" y="52"/>
                        </a:cubicBezTo>
                        <a:close/>
                      </a:path>
                    </a:pathLst>
                  </a:custGeom>
                  <a:solidFill>
                    <a:srgbClr val="E9F6F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3" name="Freeform 246">
                    <a:extLst>
                      <a:ext uri="{FF2B5EF4-FFF2-40B4-BE49-F238E27FC236}">
                        <a16:creationId xmlns:a16="http://schemas.microsoft.com/office/drawing/2014/main" id="{17B14B44-65D2-C1ED-44A3-5C59BDDBDC8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6263" y="563563"/>
                    <a:ext cx="19050" cy="22225"/>
                  </a:xfrm>
                  <a:custGeom>
                    <a:avLst/>
                    <a:gdLst>
                      <a:gd name="T0" fmla="*/ 1 w 10"/>
                      <a:gd name="T1" fmla="*/ 4 h 12"/>
                      <a:gd name="T2" fmla="*/ 2 w 10"/>
                      <a:gd name="T3" fmla="*/ 7 h 12"/>
                      <a:gd name="T4" fmla="*/ 9 w 10"/>
                      <a:gd name="T5" fmla="*/ 11 h 12"/>
                      <a:gd name="T6" fmla="*/ 4 w 10"/>
                      <a:gd name="T7" fmla="*/ 2 h 12"/>
                      <a:gd name="T8" fmla="*/ 1 w 10"/>
                      <a:gd name="T9" fmla="*/ 4 h 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" h="12">
                        <a:moveTo>
                          <a:pt x="1" y="4"/>
                        </a:moveTo>
                        <a:cubicBezTo>
                          <a:pt x="0" y="6"/>
                          <a:pt x="1" y="6"/>
                          <a:pt x="2" y="7"/>
                        </a:cubicBezTo>
                        <a:cubicBezTo>
                          <a:pt x="4" y="8"/>
                          <a:pt x="10" y="12"/>
                          <a:pt x="9" y="11"/>
                        </a:cubicBezTo>
                        <a:cubicBezTo>
                          <a:pt x="9" y="10"/>
                          <a:pt x="7" y="7"/>
                          <a:pt x="4" y="2"/>
                        </a:cubicBezTo>
                        <a:cubicBezTo>
                          <a:pt x="3" y="0"/>
                          <a:pt x="2" y="2"/>
                          <a:pt x="1" y="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4" name="Freeform 247">
                    <a:extLst>
                      <a:ext uri="{FF2B5EF4-FFF2-40B4-BE49-F238E27FC236}">
                        <a16:creationId xmlns:a16="http://schemas.microsoft.com/office/drawing/2014/main" id="{BF8E95E0-9AFD-43B4-F5FB-E2AB179490D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514350"/>
                    <a:ext cx="103188" cy="147638"/>
                  </a:xfrm>
                  <a:custGeom>
                    <a:avLst/>
                    <a:gdLst>
                      <a:gd name="T0" fmla="*/ 56 w 56"/>
                      <a:gd name="T1" fmla="*/ 44 h 79"/>
                      <a:gd name="T2" fmla="*/ 15 w 56"/>
                      <a:gd name="T3" fmla="*/ 6 h 79"/>
                      <a:gd name="T4" fmla="*/ 12 w 56"/>
                      <a:gd name="T5" fmla="*/ 14 h 79"/>
                      <a:gd name="T6" fmla="*/ 26 w 56"/>
                      <a:gd name="T7" fmla="*/ 30 h 79"/>
                      <a:gd name="T8" fmla="*/ 8 w 56"/>
                      <a:gd name="T9" fmla="*/ 55 h 79"/>
                      <a:gd name="T10" fmla="*/ 25 w 56"/>
                      <a:gd name="T11" fmla="*/ 55 h 79"/>
                      <a:gd name="T12" fmla="*/ 34 w 56"/>
                      <a:gd name="T13" fmla="*/ 79 h 79"/>
                      <a:gd name="T14" fmla="*/ 56 w 56"/>
                      <a:gd name="T15" fmla="*/ 44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6" h="79">
                        <a:moveTo>
                          <a:pt x="56" y="44"/>
                        </a:moveTo>
                        <a:cubicBezTo>
                          <a:pt x="35" y="8"/>
                          <a:pt x="23" y="0"/>
                          <a:pt x="15" y="6"/>
                        </a:cubicBezTo>
                        <a:cubicBezTo>
                          <a:pt x="13" y="7"/>
                          <a:pt x="11" y="11"/>
                          <a:pt x="12" y="14"/>
                        </a:cubicBezTo>
                        <a:cubicBezTo>
                          <a:pt x="23" y="19"/>
                          <a:pt x="33" y="25"/>
                          <a:pt x="26" y="30"/>
                        </a:cubicBezTo>
                        <a:cubicBezTo>
                          <a:pt x="24" y="32"/>
                          <a:pt x="0" y="50"/>
                          <a:pt x="8" y="55"/>
                        </a:cubicBezTo>
                        <a:cubicBezTo>
                          <a:pt x="12" y="53"/>
                          <a:pt x="21" y="48"/>
                          <a:pt x="25" y="55"/>
                        </a:cubicBezTo>
                        <a:cubicBezTo>
                          <a:pt x="28" y="60"/>
                          <a:pt x="19" y="66"/>
                          <a:pt x="34" y="79"/>
                        </a:cubicBezTo>
                        <a:cubicBezTo>
                          <a:pt x="43" y="66"/>
                          <a:pt x="55" y="51"/>
                          <a:pt x="56" y="4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5" name="Freeform 248">
                    <a:extLst>
                      <a:ext uri="{FF2B5EF4-FFF2-40B4-BE49-F238E27FC236}">
                        <a16:creationId xmlns:a16="http://schemas.microsoft.com/office/drawing/2014/main" id="{1F366233-385E-6B58-44D2-3DA08F8699D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87038" y="1652588"/>
                    <a:ext cx="85725" cy="28575"/>
                  </a:xfrm>
                  <a:custGeom>
                    <a:avLst/>
                    <a:gdLst>
                      <a:gd name="T0" fmla="*/ 46 w 46"/>
                      <a:gd name="T1" fmla="*/ 0 h 16"/>
                      <a:gd name="T2" fmla="*/ 46 w 46"/>
                      <a:gd name="T3" fmla="*/ 15 h 16"/>
                      <a:gd name="T4" fmla="*/ 33 w 46"/>
                      <a:gd name="T5" fmla="*/ 15 h 16"/>
                      <a:gd name="T6" fmla="*/ 32 w 46"/>
                      <a:gd name="T7" fmla="*/ 10 h 16"/>
                      <a:gd name="T8" fmla="*/ 14 w 46"/>
                      <a:gd name="T9" fmla="*/ 16 h 16"/>
                      <a:gd name="T10" fmla="*/ 2 w 46"/>
                      <a:gd name="T11" fmla="*/ 15 h 16"/>
                      <a:gd name="T12" fmla="*/ 3 w 46"/>
                      <a:gd name="T13" fmla="*/ 11 h 16"/>
                      <a:gd name="T14" fmla="*/ 15 w 46"/>
                      <a:gd name="T15" fmla="*/ 7 h 16"/>
                      <a:gd name="T16" fmla="*/ 28 w 46"/>
                      <a:gd name="T17" fmla="*/ 0 h 16"/>
                      <a:gd name="T18" fmla="*/ 46 w 46"/>
                      <a:gd name="T19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6" h="16">
                        <a:moveTo>
                          <a:pt x="46" y="0"/>
                        </a:moveTo>
                        <a:cubicBezTo>
                          <a:pt x="46" y="15"/>
                          <a:pt x="46" y="15"/>
                          <a:pt x="46" y="15"/>
                        </a:cubicBezTo>
                        <a:cubicBezTo>
                          <a:pt x="33" y="15"/>
                          <a:pt x="33" y="15"/>
                          <a:pt x="33" y="15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14" y="16"/>
                          <a:pt x="14" y="16"/>
                          <a:pt x="14" y="16"/>
                        </a:cubicBezTo>
                        <a:cubicBezTo>
                          <a:pt x="2" y="15"/>
                          <a:pt x="2" y="15"/>
                          <a:pt x="2" y="15"/>
                        </a:cubicBezTo>
                        <a:cubicBezTo>
                          <a:pt x="2" y="15"/>
                          <a:pt x="0" y="12"/>
                          <a:pt x="3" y="11"/>
                        </a:cubicBezTo>
                        <a:cubicBezTo>
                          <a:pt x="4" y="11"/>
                          <a:pt x="15" y="7"/>
                          <a:pt x="15" y="7"/>
                        </a:cubicBezTo>
                        <a:cubicBezTo>
                          <a:pt x="28" y="0"/>
                          <a:pt x="28" y="0"/>
                          <a:pt x="28" y="0"/>
                        </a:cubicBez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6" name="Freeform 249">
                    <a:extLst>
                      <a:ext uri="{FF2B5EF4-FFF2-40B4-BE49-F238E27FC236}">
                        <a16:creationId xmlns:a16="http://schemas.microsoft.com/office/drawing/2014/main" id="{126C1333-D732-6D62-64E3-502DA307608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31488" y="1119188"/>
                    <a:ext cx="693738" cy="533400"/>
                  </a:xfrm>
                  <a:custGeom>
                    <a:avLst/>
                    <a:gdLst>
                      <a:gd name="T0" fmla="*/ 0 w 374"/>
                      <a:gd name="T1" fmla="*/ 285 h 288"/>
                      <a:gd name="T2" fmla="*/ 1 w 374"/>
                      <a:gd name="T3" fmla="*/ 52 h 288"/>
                      <a:gd name="T4" fmla="*/ 50 w 374"/>
                      <a:gd name="T5" fmla="*/ 0 h 288"/>
                      <a:gd name="T6" fmla="*/ 330 w 374"/>
                      <a:gd name="T7" fmla="*/ 1 h 288"/>
                      <a:gd name="T8" fmla="*/ 207 w 374"/>
                      <a:gd name="T9" fmla="*/ 81 h 288"/>
                      <a:gd name="T10" fmla="*/ 56 w 374"/>
                      <a:gd name="T11" fmla="*/ 59 h 288"/>
                      <a:gd name="T12" fmla="*/ 22 w 374"/>
                      <a:gd name="T13" fmla="*/ 288 h 288"/>
                      <a:gd name="T14" fmla="*/ 0 w 374"/>
                      <a:gd name="T15" fmla="*/ 285 h 2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74" h="288">
                        <a:moveTo>
                          <a:pt x="0" y="285"/>
                        </a:moveTo>
                        <a:cubicBezTo>
                          <a:pt x="1" y="52"/>
                          <a:pt x="1" y="52"/>
                          <a:pt x="1" y="52"/>
                        </a:cubicBezTo>
                        <a:cubicBezTo>
                          <a:pt x="0" y="11"/>
                          <a:pt x="39" y="0"/>
                          <a:pt x="50" y="0"/>
                        </a:cubicBezTo>
                        <a:cubicBezTo>
                          <a:pt x="61" y="0"/>
                          <a:pt x="330" y="1"/>
                          <a:pt x="330" y="1"/>
                        </a:cubicBezTo>
                        <a:cubicBezTo>
                          <a:pt x="330" y="1"/>
                          <a:pt x="374" y="98"/>
                          <a:pt x="207" y="81"/>
                        </a:cubicBezTo>
                        <a:cubicBezTo>
                          <a:pt x="166" y="77"/>
                          <a:pt x="165" y="71"/>
                          <a:pt x="56" y="59"/>
                        </a:cubicBezTo>
                        <a:cubicBezTo>
                          <a:pt x="72" y="103"/>
                          <a:pt x="22" y="288"/>
                          <a:pt x="22" y="288"/>
                        </a:cubicBezTo>
                        <a:lnTo>
                          <a:pt x="0" y="28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7" name="Freeform 250">
                    <a:extLst>
                      <a:ext uri="{FF2B5EF4-FFF2-40B4-BE49-F238E27FC236}">
                        <a16:creationId xmlns:a16="http://schemas.microsoft.com/office/drawing/2014/main" id="{EFA8AAAF-E841-B9EF-4C22-16EEE52E1F8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668338"/>
                    <a:ext cx="65088" cy="76200"/>
                  </a:xfrm>
                  <a:custGeom>
                    <a:avLst/>
                    <a:gdLst>
                      <a:gd name="T0" fmla="*/ 33 w 35"/>
                      <a:gd name="T1" fmla="*/ 0 h 41"/>
                      <a:gd name="T2" fmla="*/ 35 w 35"/>
                      <a:gd name="T3" fmla="*/ 1 h 41"/>
                      <a:gd name="T4" fmla="*/ 21 w 35"/>
                      <a:gd name="T5" fmla="*/ 41 h 41"/>
                      <a:gd name="T6" fmla="*/ 0 w 35"/>
                      <a:gd name="T7" fmla="*/ 31 h 41"/>
                      <a:gd name="T8" fmla="*/ 33 w 35"/>
                      <a:gd name="T9" fmla="*/ 0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5" h="41">
                        <a:moveTo>
                          <a:pt x="33" y="0"/>
                        </a:moveTo>
                        <a:cubicBezTo>
                          <a:pt x="35" y="1"/>
                          <a:pt x="35" y="1"/>
                          <a:pt x="35" y="1"/>
                        </a:cubicBezTo>
                        <a:cubicBezTo>
                          <a:pt x="21" y="41"/>
                          <a:pt x="21" y="41"/>
                          <a:pt x="21" y="41"/>
                        </a:cubicBezTo>
                        <a:cubicBezTo>
                          <a:pt x="21" y="41"/>
                          <a:pt x="11" y="41"/>
                          <a:pt x="0" y="31"/>
                        </a:cubicBezTo>
                        <a:cubicBezTo>
                          <a:pt x="28" y="12"/>
                          <a:pt x="33" y="0"/>
                          <a:pt x="33" y="0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8" name="Freeform 251">
                    <a:extLst>
                      <a:ext uri="{FF2B5EF4-FFF2-40B4-BE49-F238E27FC236}">
                        <a16:creationId xmlns:a16="http://schemas.microsoft.com/office/drawing/2014/main" id="{BFF9ADD2-287A-6E5E-16C9-2A7966DD18F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8813" y="673100"/>
                    <a:ext cx="574675" cy="481013"/>
                  </a:xfrm>
                  <a:custGeom>
                    <a:avLst/>
                    <a:gdLst>
                      <a:gd name="T0" fmla="*/ 0 w 310"/>
                      <a:gd name="T1" fmla="*/ 0 h 260"/>
                      <a:gd name="T2" fmla="*/ 134 w 310"/>
                      <a:gd name="T3" fmla="*/ 182 h 260"/>
                      <a:gd name="T4" fmla="*/ 274 w 310"/>
                      <a:gd name="T5" fmla="*/ 260 h 260"/>
                      <a:gd name="T6" fmla="*/ 194 w 310"/>
                      <a:gd name="T7" fmla="*/ 161 h 260"/>
                      <a:gd name="T8" fmla="*/ 0 w 310"/>
                      <a:gd name="T9" fmla="*/ 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10" h="260">
                        <a:moveTo>
                          <a:pt x="0" y="0"/>
                        </a:moveTo>
                        <a:cubicBezTo>
                          <a:pt x="0" y="0"/>
                          <a:pt x="14" y="153"/>
                          <a:pt x="134" y="182"/>
                        </a:cubicBezTo>
                        <a:cubicBezTo>
                          <a:pt x="250" y="210"/>
                          <a:pt x="274" y="260"/>
                          <a:pt x="274" y="260"/>
                        </a:cubicBezTo>
                        <a:cubicBezTo>
                          <a:pt x="274" y="260"/>
                          <a:pt x="310" y="203"/>
                          <a:pt x="194" y="161"/>
                        </a:cubicBezTo>
                        <a:cubicBezTo>
                          <a:pt x="77" y="118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9" name="Freeform 252">
                    <a:extLst>
                      <a:ext uri="{FF2B5EF4-FFF2-40B4-BE49-F238E27FC236}">
                        <a16:creationId xmlns:a16="http://schemas.microsoft.com/office/drawing/2014/main" id="{36523F74-CF6F-E27C-0A9D-5E94BEC5DAF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93413" y="666750"/>
                    <a:ext cx="369888" cy="306388"/>
                  </a:xfrm>
                  <a:custGeom>
                    <a:avLst/>
                    <a:gdLst>
                      <a:gd name="T0" fmla="*/ 199 w 199"/>
                      <a:gd name="T1" fmla="*/ 165 h 165"/>
                      <a:gd name="T2" fmla="*/ 108 w 199"/>
                      <a:gd name="T3" fmla="*/ 43 h 165"/>
                      <a:gd name="T4" fmla="*/ 9 w 199"/>
                      <a:gd name="T5" fmla="*/ 0 h 165"/>
                      <a:gd name="T6" fmla="*/ 75 w 199"/>
                      <a:gd name="T7" fmla="*/ 119 h 165"/>
                      <a:gd name="T8" fmla="*/ 199 w 199"/>
                      <a:gd name="T9" fmla="*/ 165 h 1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99" h="165">
                        <a:moveTo>
                          <a:pt x="199" y="165"/>
                        </a:moveTo>
                        <a:cubicBezTo>
                          <a:pt x="199" y="165"/>
                          <a:pt x="134" y="65"/>
                          <a:pt x="108" y="43"/>
                        </a:cubicBezTo>
                        <a:cubicBezTo>
                          <a:pt x="82" y="21"/>
                          <a:pt x="9" y="0"/>
                          <a:pt x="9" y="0"/>
                        </a:cubicBezTo>
                        <a:cubicBezTo>
                          <a:pt x="9" y="0"/>
                          <a:pt x="0" y="87"/>
                          <a:pt x="75" y="119"/>
                        </a:cubicBezTo>
                        <a:cubicBezTo>
                          <a:pt x="150" y="151"/>
                          <a:pt x="199" y="165"/>
                          <a:pt x="199" y="165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0" name="Freeform 253">
                    <a:extLst>
                      <a:ext uri="{FF2B5EF4-FFF2-40B4-BE49-F238E27FC236}">
                        <a16:creationId xmlns:a16="http://schemas.microsoft.com/office/drawing/2014/main" id="{BBE3B60E-F122-C63D-EC20-7F2D368AAEE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91763" y="669925"/>
                    <a:ext cx="630238" cy="344488"/>
                  </a:xfrm>
                  <a:custGeom>
                    <a:avLst/>
                    <a:gdLst>
                      <a:gd name="T0" fmla="*/ 337 w 340"/>
                      <a:gd name="T1" fmla="*/ 78 h 186"/>
                      <a:gd name="T2" fmla="*/ 196 w 340"/>
                      <a:gd name="T3" fmla="*/ 184 h 186"/>
                      <a:gd name="T4" fmla="*/ 2 w 340"/>
                      <a:gd name="T5" fmla="*/ 166 h 186"/>
                      <a:gd name="T6" fmla="*/ 0 w 340"/>
                      <a:gd name="T7" fmla="*/ 151 h 186"/>
                      <a:gd name="T8" fmla="*/ 189 w 340"/>
                      <a:gd name="T9" fmla="*/ 144 h 186"/>
                      <a:gd name="T10" fmla="*/ 266 w 340"/>
                      <a:gd name="T11" fmla="*/ 49 h 186"/>
                      <a:gd name="T12" fmla="*/ 337 w 340"/>
                      <a:gd name="T13" fmla="*/ 78 h 1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0" h="186">
                        <a:moveTo>
                          <a:pt x="337" y="78"/>
                        </a:moveTo>
                        <a:cubicBezTo>
                          <a:pt x="301" y="123"/>
                          <a:pt x="230" y="173"/>
                          <a:pt x="196" y="184"/>
                        </a:cubicBezTo>
                        <a:cubicBezTo>
                          <a:pt x="125" y="186"/>
                          <a:pt x="2" y="166"/>
                          <a:pt x="2" y="166"/>
                        </a:cubicBezTo>
                        <a:cubicBezTo>
                          <a:pt x="2" y="166"/>
                          <a:pt x="0" y="159"/>
                          <a:pt x="0" y="151"/>
                        </a:cubicBezTo>
                        <a:cubicBezTo>
                          <a:pt x="52" y="147"/>
                          <a:pt x="159" y="142"/>
                          <a:pt x="189" y="144"/>
                        </a:cubicBezTo>
                        <a:cubicBezTo>
                          <a:pt x="223" y="116"/>
                          <a:pt x="255" y="98"/>
                          <a:pt x="266" y="49"/>
                        </a:cubicBezTo>
                        <a:cubicBezTo>
                          <a:pt x="278" y="0"/>
                          <a:pt x="340" y="16"/>
                          <a:pt x="337" y="78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1" name="Freeform 255">
                    <a:extLst>
                      <a:ext uri="{FF2B5EF4-FFF2-40B4-BE49-F238E27FC236}">
                        <a16:creationId xmlns:a16="http://schemas.microsoft.com/office/drawing/2014/main" id="{BAA773D1-FD6B-2EAC-815F-E88BA26BA8EE}"/>
                      </a:ext>
                    </a:extLst>
                  </p:cNvPr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10396538" y="666750"/>
                    <a:ext cx="66675" cy="95250"/>
                  </a:xfrm>
                  <a:custGeom>
                    <a:avLst/>
                    <a:gdLst>
                      <a:gd name="T0" fmla="*/ 34 w 36"/>
                      <a:gd name="T1" fmla="*/ 42 h 51"/>
                      <a:gd name="T2" fmla="*/ 30 w 36"/>
                      <a:gd name="T3" fmla="*/ 30 h 51"/>
                      <a:gd name="T4" fmla="*/ 29 w 36"/>
                      <a:gd name="T5" fmla="*/ 20 h 51"/>
                      <a:gd name="T6" fmla="*/ 34 w 36"/>
                      <a:gd name="T7" fmla="*/ 11 h 51"/>
                      <a:gd name="T8" fmla="*/ 30 w 36"/>
                      <a:gd name="T9" fmla="*/ 6 h 51"/>
                      <a:gd name="T10" fmla="*/ 32 w 36"/>
                      <a:gd name="T11" fmla="*/ 1 h 51"/>
                      <a:gd name="T12" fmla="*/ 27 w 36"/>
                      <a:gd name="T13" fmla="*/ 3 h 51"/>
                      <a:gd name="T14" fmla="*/ 19 w 36"/>
                      <a:gd name="T15" fmla="*/ 16 h 51"/>
                      <a:gd name="T16" fmla="*/ 16 w 36"/>
                      <a:gd name="T17" fmla="*/ 31 h 51"/>
                      <a:gd name="T18" fmla="*/ 8 w 36"/>
                      <a:gd name="T19" fmla="*/ 30 h 51"/>
                      <a:gd name="T20" fmla="*/ 0 w 36"/>
                      <a:gd name="T21" fmla="*/ 31 h 51"/>
                      <a:gd name="T22" fmla="*/ 21 w 36"/>
                      <a:gd name="T23" fmla="*/ 46 h 51"/>
                      <a:gd name="T24" fmla="*/ 28 w 36"/>
                      <a:gd name="T25" fmla="*/ 51 h 51"/>
                      <a:gd name="T26" fmla="*/ 36 w 36"/>
                      <a:gd name="T27" fmla="*/ 44 h 51"/>
                      <a:gd name="T28" fmla="*/ 34 w 36"/>
                      <a:gd name="T29" fmla="*/ 42 h 51"/>
                      <a:gd name="T30" fmla="*/ 29 w 36"/>
                      <a:gd name="T31" fmla="*/ 9 h 51"/>
                      <a:gd name="T32" fmla="*/ 31 w 36"/>
                      <a:gd name="T33" fmla="*/ 12 h 51"/>
                      <a:gd name="T34" fmla="*/ 29 w 36"/>
                      <a:gd name="T35" fmla="*/ 14 h 51"/>
                      <a:gd name="T36" fmla="*/ 29 w 36"/>
                      <a:gd name="T37" fmla="*/ 9 h 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36" h="51">
                        <a:moveTo>
                          <a:pt x="34" y="42"/>
                        </a:moveTo>
                        <a:cubicBezTo>
                          <a:pt x="34" y="42"/>
                          <a:pt x="31" y="36"/>
                          <a:pt x="30" y="30"/>
                        </a:cubicBezTo>
                        <a:cubicBezTo>
                          <a:pt x="29" y="25"/>
                          <a:pt x="29" y="20"/>
                          <a:pt x="29" y="20"/>
                        </a:cubicBezTo>
                        <a:cubicBezTo>
                          <a:pt x="29" y="20"/>
                          <a:pt x="36" y="13"/>
                          <a:pt x="34" y="11"/>
                        </a:cubicBezTo>
                        <a:cubicBezTo>
                          <a:pt x="33" y="9"/>
                          <a:pt x="30" y="6"/>
                          <a:pt x="30" y="6"/>
                        </a:cubicBezTo>
                        <a:cubicBezTo>
                          <a:pt x="30" y="6"/>
                          <a:pt x="33" y="1"/>
                          <a:pt x="32" y="1"/>
                        </a:cubicBezTo>
                        <a:cubicBezTo>
                          <a:pt x="32" y="1"/>
                          <a:pt x="29" y="0"/>
                          <a:pt x="27" y="3"/>
                        </a:cubicBezTo>
                        <a:cubicBezTo>
                          <a:pt x="26" y="4"/>
                          <a:pt x="21" y="12"/>
                          <a:pt x="19" y="16"/>
                        </a:cubicBezTo>
                        <a:cubicBezTo>
                          <a:pt x="17" y="20"/>
                          <a:pt x="16" y="31"/>
                          <a:pt x="16" y="31"/>
                        </a:cubicBezTo>
                        <a:cubicBezTo>
                          <a:pt x="16" y="31"/>
                          <a:pt x="11" y="32"/>
                          <a:pt x="8" y="30"/>
                        </a:cubicBezTo>
                        <a:cubicBezTo>
                          <a:pt x="5" y="28"/>
                          <a:pt x="0" y="31"/>
                          <a:pt x="0" y="31"/>
                        </a:cubicBezTo>
                        <a:cubicBezTo>
                          <a:pt x="0" y="31"/>
                          <a:pt x="8" y="35"/>
                          <a:pt x="21" y="46"/>
                        </a:cubicBezTo>
                        <a:cubicBezTo>
                          <a:pt x="23" y="48"/>
                          <a:pt x="28" y="51"/>
                          <a:pt x="28" y="51"/>
                        </a:cubicBezTo>
                        <a:cubicBezTo>
                          <a:pt x="36" y="44"/>
                          <a:pt x="36" y="44"/>
                          <a:pt x="36" y="44"/>
                        </a:cubicBezTo>
                        <a:lnTo>
                          <a:pt x="34" y="42"/>
                        </a:lnTo>
                        <a:close/>
                        <a:moveTo>
                          <a:pt x="29" y="9"/>
                        </a:moveTo>
                        <a:cubicBezTo>
                          <a:pt x="31" y="12"/>
                          <a:pt x="31" y="12"/>
                          <a:pt x="31" y="12"/>
                        </a:cubicBezTo>
                        <a:cubicBezTo>
                          <a:pt x="29" y="14"/>
                          <a:pt x="29" y="14"/>
                          <a:pt x="29" y="14"/>
                        </a:cubicBezTo>
                        <a:lnTo>
                          <a:pt x="29" y="9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4" name="Group 4">
                <a:extLst>
                  <a:ext uri="{FF2B5EF4-FFF2-40B4-BE49-F238E27FC236}">
                    <a16:creationId xmlns:a16="http://schemas.microsoft.com/office/drawing/2014/main" id="{F0475E49-662F-84D9-5ECD-D88B897EB294}"/>
                  </a:ext>
                </a:extLst>
              </p:cNvPr>
              <p:cNvGrpSpPr/>
              <p:nvPr/>
            </p:nvGrpSpPr>
            <p:grpSpPr>
              <a:xfrm>
                <a:off x="2494061" y="3997897"/>
                <a:ext cx="1127759" cy="1089959"/>
                <a:chOff x="2494061" y="3997897"/>
                <a:chExt cx="1127759" cy="1089959"/>
              </a:xfrm>
            </p:grpSpPr>
            <p:grpSp>
              <p:nvGrpSpPr>
                <p:cNvPr id="60" name="Group 1068">
                  <a:extLst>
                    <a:ext uri="{FF2B5EF4-FFF2-40B4-BE49-F238E27FC236}">
                      <a16:creationId xmlns:a16="http://schemas.microsoft.com/office/drawing/2014/main" id="{F7254167-618B-C78B-936D-9F9F7340D31F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2494061" y="3997897"/>
                  <a:ext cx="1127759" cy="815248"/>
                  <a:chOff x="10001250" y="2782888"/>
                  <a:chExt cx="1449388" cy="1047750"/>
                </a:xfrm>
              </p:grpSpPr>
              <p:sp>
                <p:nvSpPr>
                  <p:cNvPr id="62" name="Freeform 217">
                    <a:extLst>
                      <a:ext uri="{FF2B5EF4-FFF2-40B4-BE49-F238E27FC236}">
                        <a16:creationId xmlns:a16="http://schemas.microsoft.com/office/drawing/2014/main" id="{D0F0AF8A-45FD-96F7-787A-44BF00178A5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5425" y="3303588"/>
                    <a:ext cx="728663" cy="525463"/>
                  </a:xfrm>
                  <a:custGeom>
                    <a:avLst/>
                    <a:gdLst>
                      <a:gd name="T0" fmla="*/ 3 w 393"/>
                      <a:gd name="T1" fmla="*/ 279 h 283"/>
                      <a:gd name="T2" fmla="*/ 12 w 393"/>
                      <a:gd name="T3" fmla="*/ 275 h 283"/>
                      <a:gd name="T4" fmla="*/ 25 w 393"/>
                      <a:gd name="T5" fmla="*/ 258 h 283"/>
                      <a:gd name="T6" fmla="*/ 22 w 393"/>
                      <a:gd name="T7" fmla="*/ 42 h 283"/>
                      <a:gd name="T8" fmla="*/ 22 w 393"/>
                      <a:gd name="T9" fmla="*/ 42 h 283"/>
                      <a:gd name="T10" fmla="*/ 61 w 393"/>
                      <a:gd name="T11" fmla="*/ 0 h 283"/>
                      <a:gd name="T12" fmla="*/ 319 w 393"/>
                      <a:gd name="T13" fmla="*/ 3 h 283"/>
                      <a:gd name="T14" fmla="*/ 236 w 393"/>
                      <a:gd name="T15" fmla="*/ 79 h 283"/>
                      <a:gd name="T16" fmla="*/ 65 w 393"/>
                      <a:gd name="T17" fmla="*/ 46 h 283"/>
                      <a:gd name="T18" fmla="*/ 37 w 393"/>
                      <a:gd name="T19" fmla="*/ 259 h 283"/>
                      <a:gd name="T20" fmla="*/ 37 w 393"/>
                      <a:gd name="T21" fmla="*/ 267 h 283"/>
                      <a:gd name="T22" fmla="*/ 34 w 393"/>
                      <a:gd name="T23" fmla="*/ 283 h 283"/>
                      <a:gd name="T24" fmla="*/ 29 w 393"/>
                      <a:gd name="T25" fmla="*/ 283 h 283"/>
                      <a:gd name="T26" fmla="*/ 28 w 393"/>
                      <a:gd name="T27" fmla="*/ 274 h 283"/>
                      <a:gd name="T28" fmla="*/ 15 w 393"/>
                      <a:gd name="T29" fmla="*/ 283 h 283"/>
                      <a:gd name="T30" fmla="*/ 2 w 393"/>
                      <a:gd name="T31" fmla="*/ 283 h 283"/>
                      <a:gd name="T32" fmla="*/ 3 w 393"/>
                      <a:gd name="T33" fmla="*/ 279 h 2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93" h="283">
                        <a:moveTo>
                          <a:pt x="3" y="279"/>
                        </a:moveTo>
                        <a:cubicBezTo>
                          <a:pt x="4" y="279"/>
                          <a:pt x="12" y="275"/>
                          <a:pt x="12" y="275"/>
                        </a:cubicBezTo>
                        <a:cubicBezTo>
                          <a:pt x="25" y="258"/>
                          <a:pt x="25" y="258"/>
                          <a:pt x="25" y="258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0" y="5"/>
                          <a:pt x="61" y="0"/>
                          <a:pt x="61" y="0"/>
                        </a:cubicBezTo>
                        <a:cubicBezTo>
                          <a:pt x="319" y="3"/>
                          <a:pt x="319" y="3"/>
                          <a:pt x="319" y="3"/>
                        </a:cubicBezTo>
                        <a:cubicBezTo>
                          <a:pt x="319" y="3"/>
                          <a:pt x="393" y="97"/>
                          <a:pt x="236" y="79"/>
                        </a:cubicBezTo>
                        <a:cubicBezTo>
                          <a:pt x="197" y="74"/>
                          <a:pt x="167" y="59"/>
                          <a:pt x="65" y="46"/>
                        </a:cubicBezTo>
                        <a:cubicBezTo>
                          <a:pt x="79" y="87"/>
                          <a:pt x="37" y="259"/>
                          <a:pt x="37" y="259"/>
                        </a:cubicBezTo>
                        <a:cubicBezTo>
                          <a:pt x="37" y="267"/>
                          <a:pt x="37" y="267"/>
                          <a:pt x="37" y="267"/>
                        </a:cubicBezTo>
                        <a:cubicBezTo>
                          <a:pt x="34" y="283"/>
                          <a:pt x="34" y="283"/>
                          <a:pt x="34" y="283"/>
                        </a:cubicBezTo>
                        <a:cubicBezTo>
                          <a:pt x="29" y="283"/>
                          <a:pt x="29" y="283"/>
                          <a:pt x="29" y="283"/>
                        </a:cubicBezTo>
                        <a:cubicBezTo>
                          <a:pt x="28" y="274"/>
                          <a:pt x="28" y="274"/>
                          <a:pt x="28" y="274"/>
                        </a:cubicBezTo>
                        <a:cubicBezTo>
                          <a:pt x="15" y="283"/>
                          <a:pt x="15" y="283"/>
                          <a:pt x="15" y="283"/>
                        </a:cubicBezTo>
                        <a:cubicBezTo>
                          <a:pt x="2" y="283"/>
                          <a:pt x="2" y="283"/>
                          <a:pt x="2" y="283"/>
                        </a:cubicBezTo>
                        <a:cubicBezTo>
                          <a:pt x="2" y="283"/>
                          <a:pt x="0" y="280"/>
                          <a:pt x="3" y="27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" name="Freeform 218">
                    <a:extLst>
                      <a:ext uri="{FF2B5EF4-FFF2-40B4-BE49-F238E27FC236}">
                        <a16:creationId xmlns:a16="http://schemas.microsoft.com/office/drawing/2014/main" id="{34664269-7C8C-2A1D-5B07-CD09B17ED66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3838" y="3784600"/>
                    <a:ext cx="71438" cy="46038"/>
                  </a:xfrm>
                  <a:custGeom>
                    <a:avLst/>
                    <a:gdLst>
                      <a:gd name="T0" fmla="*/ 13 w 38"/>
                      <a:gd name="T1" fmla="*/ 16 h 25"/>
                      <a:gd name="T2" fmla="*/ 3 w 38"/>
                      <a:gd name="T3" fmla="*/ 20 h 25"/>
                      <a:gd name="T4" fmla="*/ 2 w 38"/>
                      <a:gd name="T5" fmla="*/ 24 h 25"/>
                      <a:gd name="T6" fmla="*/ 18 w 38"/>
                      <a:gd name="T7" fmla="*/ 24 h 25"/>
                      <a:gd name="T8" fmla="*/ 29 w 38"/>
                      <a:gd name="T9" fmla="*/ 15 h 25"/>
                      <a:gd name="T10" fmla="*/ 30 w 38"/>
                      <a:gd name="T11" fmla="*/ 25 h 25"/>
                      <a:gd name="T12" fmla="*/ 35 w 38"/>
                      <a:gd name="T13" fmla="*/ 25 h 25"/>
                      <a:gd name="T14" fmla="*/ 38 w 38"/>
                      <a:gd name="T15" fmla="*/ 8 h 25"/>
                      <a:gd name="T16" fmla="*/ 38 w 38"/>
                      <a:gd name="T17" fmla="*/ 0 h 25"/>
                      <a:gd name="T18" fmla="*/ 28 w 38"/>
                      <a:gd name="T19" fmla="*/ 8 h 25"/>
                      <a:gd name="T20" fmla="*/ 13 w 38"/>
                      <a:gd name="T21" fmla="*/ 16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8" h="25">
                        <a:moveTo>
                          <a:pt x="13" y="16"/>
                        </a:moveTo>
                        <a:cubicBezTo>
                          <a:pt x="11" y="17"/>
                          <a:pt x="4" y="20"/>
                          <a:pt x="3" y="20"/>
                        </a:cubicBezTo>
                        <a:cubicBezTo>
                          <a:pt x="0" y="21"/>
                          <a:pt x="2" y="24"/>
                          <a:pt x="2" y="24"/>
                        </a:cubicBezTo>
                        <a:cubicBezTo>
                          <a:pt x="2" y="24"/>
                          <a:pt x="15" y="24"/>
                          <a:pt x="18" y="24"/>
                        </a:cubicBezTo>
                        <a:cubicBezTo>
                          <a:pt x="21" y="24"/>
                          <a:pt x="29" y="15"/>
                          <a:pt x="29" y="15"/>
                        </a:cubicBezTo>
                        <a:cubicBezTo>
                          <a:pt x="30" y="25"/>
                          <a:pt x="30" y="25"/>
                          <a:pt x="30" y="25"/>
                        </a:cubicBezTo>
                        <a:cubicBezTo>
                          <a:pt x="35" y="25"/>
                          <a:pt x="35" y="25"/>
                          <a:pt x="35" y="25"/>
                        </a:cubicBezTo>
                        <a:cubicBezTo>
                          <a:pt x="35" y="25"/>
                          <a:pt x="36" y="15"/>
                          <a:pt x="38" y="8"/>
                        </a:cubicBezTo>
                        <a:cubicBezTo>
                          <a:pt x="38" y="4"/>
                          <a:pt x="38" y="0"/>
                          <a:pt x="38" y="0"/>
                        </a:cubicBezTo>
                        <a:cubicBezTo>
                          <a:pt x="38" y="0"/>
                          <a:pt x="35" y="0"/>
                          <a:pt x="28" y="8"/>
                        </a:cubicBezTo>
                        <a:cubicBezTo>
                          <a:pt x="22" y="17"/>
                          <a:pt x="16" y="16"/>
                          <a:pt x="13" y="16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2" name="Freeform 219">
                    <a:extLst>
                      <a:ext uri="{FF2B5EF4-FFF2-40B4-BE49-F238E27FC236}">
                        <a16:creationId xmlns:a16="http://schemas.microsoft.com/office/drawing/2014/main" id="{2A4CBDFD-CC9E-DE96-402B-7B0AD5B84E2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58488" y="3311525"/>
                    <a:ext cx="692150" cy="390525"/>
                  </a:xfrm>
                  <a:custGeom>
                    <a:avLst/>
                    <a:gdLst>
                      <a:gd name="T0" fmla="*/ 371 w 373"/>
                      <a:gd name="T1" fmla="*/ 182 h 211"/>
                      <a:gd name="T2" fmla="*/ 360 w 373"/>
                      <a:gd name="T3" fmla="*/ 170 h 211"/>
                      <a:gd name="T4" fmla="*/ 370 w 373"/>
                      <a:gd name="T5" fmla="*/ 168 h 211"/>
                      <a:gd name="T6" fmla="*/ 369 w 373"/>
                      <a:gd name="T7" fmla="*/ 164 h 211"/>
                      <a:gd name="T8" fmla="*/ 353 w 373"/>
                      <a:gd name="T9" fmla="*/ 163 h 211"/>
                      <a:gd name="T10" fmla="*/ 345 w 373"/>
                      <a:gd name="T11" fmla="*/ 164 h 211"/>
                      <a:gd name="T12" fmla="*/ 142 w 373"/>
                      <a:gd name="T13" fmla="*/ 172 h 211"/>
                      <a:gd name="T14" fmla="*/ 115 w 373"/>
                      <a:gd name="T15" fmla="*/ 25 h 211"/>
                      <a:gd name="T16" fmla="*/ 0 w 373"/>
                      <a:gd name="T17" fmla="*/ 15 h 211"/>
                      <a:gd name="T18" fmla="*/ 107 w 373"/>
                      <a:gd name="T19" fmla="*/ 191 h 211"/>
                      <a:gd name="T20" fmla="*/ 142 w 373"/>
                      <a:gd name="T21" fmla="*/ 211 h 211"/>
                      <a:gd name="T22" fmla="*/ 211 w 373"/>
                      <a:gd name="T23" fmla="*/ 198 h 211"/>
                      <a:gd name="T24" fmla="*/ 346 w 373"/>
                      <a:gd name="T25" fmla="*/ 176 h 211"/>
                      <a:gd name="T26" fmla="*/ 363 w 373"/>
                      <a:gd name="T27" fmla="*/ 186 h 211"/>
                      <a:gd name="T28" fmla="*/ 369 w 373"/>
                      <a:gd name="T29" fmla="*/ 195 h 211"/>
                      <a:gd name="T30" fmla="*/ 373 w 373"/>
                      <a:gd name="T31" fmla="*/ 196 h 211"/>
                      <a:gd name="T32" fmla="*/ 371 w 373"/>
                      <a:gd name="T33" fmla="*/ 182 h 2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73" h="211">
                        <a:moveTo>
                          <a:pt x="371" y="182"/>
                        </a:moveTo>
                        <a:cubicBezTo>
                          <a:pt x="360" y="170"/>
                          <a:pt x="360" y="170"/>
                          <a:pt x="360" y="170"/>
                        </a:cubicBezTo>
                        <a:cubicBezTo>
                          <a:pt x="370" y="168"/>
                          <a:pt x="370" y="168"/>
                          <a:pt x="370" y="168"/>
                        </a:cubicBezTo>
                        <a:cubicBezTo>
                          <a:pt x="369" y="164"/>
                          <a:pt x="369" y="164"/>
                          <a:pt x="369" y="164"/>
                        </a:cubicBezTo>
                        <a:cubicBezTo>
                          <a:pt x="353" y="163"/>
                          <a:pt x="353" y="163"/>
                          <a:pt x="353" y="163"/>
                        </a:cubicBezTo>
                        <a:cubicBezTo>
                          <a:pt x="353" y="163"/>
                          <a:pt x="348" y="164"/>
                          <a:pt x="345" y="164"/>
                        </a:cubicBezTo>
                        <a:cubicBezTo>
                          <a:pt x="274" y="167"/>
                          <a:pt x="157" y="159"/>
                          <a:pt x="142" y="172"/>
                        </a:cubicBezTo>
                        <a:cubicBezTo>
                          <a:pt x="140" y="136"/>
                          <a:pt x="136" y="58"/>
                          <a:pt x="115" y="25"/>
                        </a:cubicBezTo>
                        <a:cubicBezTo>
                          <a:pt x="100" y="0"/>
                          <a:pt x="0" y="15"/>
                          <a:pt x="0" y="15"/>
                        </a:cubicBezTo>
                        <a:cubicBezTo>
                          <a:pt x="0" y="15"/>
                          <a:pt x="102" y="185"/>
                          <a:pt x="107" y="191"/>
                        </a:cubicBezTo>
                        <a:cubicBezTo>
                          <a:pt x="121" y="210"/>
                          <a:pt x="142" y="211"/>
                          <a:pt x="142" y="211"/>
                        </a:cubicBezTo>
                        <a:cubicBezTo>
                          <a:pt x="211" y="198"/>
                          <a:pt x="211" y="198"/>
                          <a:pt x="211" y="198"/>
                        </a:cubicBezTo>
                        <a:cubicBezTo>
                          <a:pt x="346" y="176"/>
                          <a:pt x="346" y="176"/>
                          <a:pt x="346" y="176"/>
                        </a:cubicBezTo>
                        <a:cubicBezTo>
                          <a:pt x="363" y="186"/>
                          <a:pt x="363" y="186"/>
                          <a:pt x="363" y="186"/>
                        </a:cubicBezTo>
                        <a:cubicBezTo>
                          <a:pt x="363" y="186"/>
                          <a:pt x="369" y="194"/>
                          <a:pt x="369" y="195"/>
                        </a:cubicBezTo>
                        <a:cubicBezTo>
                          <a:pt x="370" y="198"/>
                          <a:pt x="373" y="196"/>
                          <a:pt x="373" y="196"/>
                        </a:cubicBezTo>
                        <a:lnTo>
                          <a:pt x="371" y="182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3" name="Freeform 221">
                    <a:extLst>
                      <a:ext uri="{FF2B5EF4-FFF2-40B4-BE49-F238E27FC236}">
                        <a16:creationId xmlns:a16="http://schemas.microsoft.com/office/drawing/2014/main" id="{CE358465-B7D8-2888-C270-17731EAEBD2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61600" y="2940050"/>
                    <a:ext cx="304800" cy="269875"/>
                  </a:xfrm>
                  <a:custGeom>
                    <a:avLst/>
                    <a:gdLst>
                      <a:gd name="T0" fmla="*/ 0 w 164"/>
                      <a:gd name="T1" fmla="*/ 113 h 146"/>
                      <a:gd name="T2" fmla="*/ 37 w 164"/>
                      <a:gd name="T3" fmla="*/ 114 h 146"/>
                      <a:gd name="T4" fmla="*/ 66 w 164"/>
                      <a:gd name="T5" fmla="*/ 77 h 146"/>
                      <a:gd name="T6" fmla="*/ 97 w 164"/>
                      <a:gd name="T7" fmla="*/ 41 h 146"/>
                      <a:gd name="T8" fmla="*/ 164 w 164"/>
                      <a:gd name="T9" fmla="*/ 11 h 146"/>
                      <a:gd name="T10" fmla="*/ 133 w 164"/>
                      <a:gd name="T11" fmla="*/ 72 h 146"/>
                      <a:gd name="T12" fmla="*/ 67 w 164"/>
                      <a:gd name="T13" fmla="*/ 130 h 146"/>
                      <a:gd name="T14" fmla="*/ 23 w 164"/>
                      <a:gd name="T15" fmla="*/ 141 h 146"/>
                      <a:gd name="T16" fmla="*/ 0 w 164"/>
                      <a:gd name="T17" fmla="*/ 113 h 1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64" h="146">
                        <a:moveTo>
                          <a:pt x="0" y="113"/>
                        </a:moveTo>
                        <a:cubicBezTo>
                          <a:pt x="37" y="114"/>
                          <a:pt x="37" y="114"/>
                          <a:pt x="37" y="114"/>
                        </a:cubicBezTo>
                        <a:cubicBezTo>
                          <a:pt x="37" y="114"/>
                          <a:pt x="47" y="99"/>
                          <a:pt x="66" y="77"/>
                        </a:cubicBezTo>
                        <a:cubicBezTo>
                          <a:pt x="127" y="79"/>
                          <a:pt x="85" y="55"/>
                          <a:pt x="97" y="41"/>
                        </a:cubicBezTo>
                        <a:cubicBezTo>
                          <a:pt x="135" y="0"/>
                          <a:pt x="164" y="11"/>
                          <a:pt x="164" y="11"/>
                        </a:cubicBezTo>
                        <a:cubicBezTo>
                          <a:pt x="133" y="72"/>
                          <a:pt x="133" y="72"/>
                          <a:pt x="133" y="72"/>
                        </a:cubicBezTo>
                        <a:cubicBezTo>
                          <a:pt x="133" y="72"/>
                          <a:pt x="76" y="122"/>
                          <a:pt x="67" y="130"/>
                        </a:cubicBezTo>
                        <a:cubicBezTo>
                          <a:pt x="58" y="137"/>
                          <a:pt x="46" y="146"/>
                          <a:pt x="23" y="141"/>
                        </a:cubicBezTo>
                        <a:cubicBezTo>
                          <a:pt x="19" y="126"/>
                          <a:pt x="0" y="113"/>
                          <a:pt x="0" y="11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4" name="Freeform 222">
                    <a:extLst>
                      <a:ext uri="{FF2B5EF4-FFF2-40B4-BE49-F238E27FC236}">
                        <a16:creationId xmlns:a16="http://schemas.microsoft.com/office/drawing/2014/main" id="{59FC47B8-F849-8095-9FF9-3153B333B2C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4638" y="2954338"/>
                    <a:ext cx="317500" cy="319088"/>
                  </a:xfrm>
                  <a:custGeom>
                    <a:avLst/>
                    <a:gdLst>
                      <a:gd name="T0" fmla="*/ 171 w 171"/>
                      <a:gd name="T1" fmla="*/ 172 h 172"/>
                      <a:gd name="T2" fmla="*/ 29 w 171"/>
                      <a:gd name="T3" fmla="*/ 97 h 172"/>
                      <a:gd name="T4" fmla="*/ 33 w 171"/>
                      <a:gd name="T5" fmla="*/ 0 h 172"/>
                      <a:gd name="T6" fmla="*/ 171 w 171"/>
                      <a:gd name="T7" fmla="*/ 172 h 1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71" h="172">
                        <a:moveTo>
                          <a:pt x="171" y="172"/>
                        </a:moveTo>
                        <a:cubicBezTo>
                          <a:pt x="171" y="172"/>
                          <a:pt x="57" y="148"/>
                          <a:pt x="29" y="97"/>
                        </a:cubicBezTo>
                        <a:cubicBezTo>
                          <a:pt x="0" y="43"/>
                          <a:pt x="33" y="0"/>
                          <a:pt x="33" y="0"/>
                        </a:cubicBezTo>
                        <a:lnTo>
                          <a:pt x="171" y="17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7" name="Freeform 223">
                    <a:extLst>
                      <a:ext uri="{FF2B5EF4-FFF2-40B4-BE49-F238E27FC236}">
                        <a16:creationId xmlns:a16="http://schemas.microsoft.com/office/drawing/2014/main" id="{627CA65A-8D65-1084-1EF9-5D3ADD6FDC0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67975" y="2906713"/>
                    <a:ext cx="520700" cy="411163"/>
                  </a:xfrm>
                  <a:custGeom>
                    <a:avLst/>
                    <a:gdLst>
                      <a:gd name="T0" fmla="*/ 153 w 281"/>
                      <a:gd name="T1" fmla="*/ 222 h 222"/>
                      <a:gd name="T2" fmla="*/ 62 w 281"/>
                      <a:gd name="T3" fmla="*/ 147 h 222"/>
                      <a:gd name="T4" fmla="*/ 0 w 281"/>
                      <a:gd name="T5" fmla="*/ 23 h 222"/>
                      <a:gd name="T6" fmla="*/ 31 w 281"/>
                      <a:gd name="T7" fmla="*/ 8 h 222"/>
                      <a:gd name="T8" fmla="*/ 158 w 281"/>
                      <a:gd name="T9" fmla="*/ 64 h 222"/>
                      <a:gd name="T10" fmla="*/ 281 w 281"/>
                      <a:gd name="T11" fmla="*/ 219 h 222"/>
                      <a:gd name="T12" fmla="*/ 153 w 281"/>
                      <a:gd name="T13" fmla="*/ 222 h 2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1" h="222">
                        <a:moveTo>
                          <a:pt x="153" y="222"/>
                        </a:moveTo>
                        <a:cubicBezTo>
                          <a:pt x="153" y="222"/>
                          <a:pt x="136" y="170"/>
                          <a:pt x="62" y="147"/>
                        </a:cubicBezTo>
                        <a:cubicBezTo>
                          <a:pt x="16" y="134"/>
                          <a:pt x="0" y="23"/>
                          <a:pt x="0" y="23"/>
                        </a:cubicBezTo>
                        <a:cubicBezTo>
                          <a:pt x="0" y="23"/>
                          <a:pt x="17" y="10"/>
                          <a:pt x="31" y="8"/>
                        </a:cubicBezTo>
                        <a:cubicBezTo>
                          <a:pt x="64" y="0"/>
                          <a:pt x="115" y="18"/>
                          <a:pt x="158" y="64"/>
                        </a:cubicBezTo>
                        <a:cubicBezTo>
                          <a:pt x="219" y="128"/>
                          <a:pt x="281" y="219"/>
                          <a:pt x="281" y="219"/>
                        </a:cubicBezTo>
                        <a:lnTo>
                          <a:pt x="153" y="222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8" name="Freeform 224">
                    <a:extLst>
                      <a:ext uri="{FF2B5EF4-FFF2-40B4-BE49-F238E27FC236}">
                        <a16:creationId xmlns:a16="http://schemas.microsoft.com/office/drawing/2014/main" id="{A769E1AF-9D20-6A68-5D79-D895F0A8E03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9413" y="3076575"/>
                    <a:ext cx="247650" cy="242888"/>
                  </a:xfrm>
                  <a:custGeom>
                    <a:avLst/>
                    <a:gdLst>
                      <a:gd name="T0" fmla="*/ 121 w 133"/>
                      <a:gd name="T1" fmla="*/ 129 h 131"/>
                      <a:gd name="T2" fmla="*/ 64 w 133"/>
                      <a:gd name="T3" fmla="*/ 62 h 131"/>
                      <a:gd name="T4" fmla="*/ 0 w 133"/>
                      <a:gd name="T5" fmla="*/ 0 h 131"/>
                      <a:gd name="T6" fmla="*/ 64 w 133"/>
                      <a:gd name="T7" fmla="*/ 57 h 131"/>
                      <a:gd name="T8" fmla="*/ 133 w 133"/>
                      <a:gd name="T9" fmla="*/ 131 h 131"/>
                      <a:gd name="T10" fmla="*/ 121 w 133"/>
                      <a:gd name="T11" fmla="*/ 129 h 1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33" h="131">
                        <a:moveTo>
                          <a:pt x="121" y="129"/>
                        </a:moveTo>
                        <a:cubicBezTo>
                          <a:pt x="121" y="129"/>
                          <a:pt x="99" y="76"/>
                          <a:pt x="64" y="62"/>
                        </a:cubicBezTo>
                        <a:cubicBezTo>
                          <a:pt x="27" y="47"/>
                          <a:pt x="0" y="0"/>
                          <a:pt x="0" y="0"/>
                        </a:cubicBezTo>
                        <a:cubicBezTo>
                          <a:pt x="0" y="0"/>
                          <a:pt x="27" y="33"/>
                          <a:pt x="64" y="57"/>
                        </a:cubicBezTo>
                        <a:cubicBezTo>
                          <a:pt x="101" y="81"/>
                          <a:pt x="133" y="131"/>
                          <a:pt x="133" y="131"/>
                        </a:cubicBezTo>
                        <a:lnTo>
                          <a:pt x="121" y="129"/>
                        </a:ln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9" name="Freeform 225">
                    <a:extLst>
                      <a:ext uri="{FF2B5EF4-FFF2-40B4-BE49-F238E27FC236}">
                        <a16:creationId xmlns:a16="http://schemas.microsoft.com/office/drawing/2014/main" id="{C6B3DE2C-B855-0C39-2CC6-9655D94929D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3063" y="2906713"/>
                    <a:ext cx="430213" cy="357188"/>
                  </a:xfrm>
                  <a:custGeom>
                    <a:avLst/>
                    <a:gdLst>
                      <a:gd name="T0" fmla="*/ 232 w 232"/>
                      <a:gd name="T1" fmla="*/ 182 h 193"/>
                      <a:gd name="T2" fmla="*/ 59 w 232"/>
                      <a:gd name="T3" fmla="*/ 13 h 193"/>
                      <a:gd name="T4" fmla="*/ 3 w 232"/>
                      <a:gd name="T5" fmla="*/ 6 h 193"/>
                      <a:gd name="T6" fmla="*/ 129 w 232"/>
                      <a:gd name="T7" fmla="*/ 156 h 193"/>
                      <a:gd name="T8" fmla="*/ 232 w 232"/>
                      <a:gd name="T9" fmla="*/ 182 h 1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2" h="193">
                        <a:moveTo>
                          <a:pt x="232" y="182"/>
                        </a:moveTo>
                        <a:cubicBezTo>
                          <a:pt x="232" y="182"/>
                          <a:pt x="112" y="25"/>
                          <a:pt x="59" y="13"/>
                        </a:cubicBezTo>
                        <a:cubicBezTo>
                          <a:pt x="7" y="0"/>
                          <a:pt x="3" y="6"/>
                          <a:pt x="3" y="6"/>
                        </a:cubicBezTo>
                        <a:cubicBezTo>
                          <a:pt x="3" y="6"/>
                          <a:pt x="0" y="89"/>
                          <a:pt x="129" y="156"/>
                        </a:cubicBezTo>
                        <a:cubicBezTo>
                          <a:pt x="203" y="193"/>
                          <a:pt x="232" y="182"/>
                          <a:pt x="232" y="182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0" name="Freeform 226">
                    <a:extLst>
                      <a:ext uri="{FF2B5EF4-FFF2-40B4-BE49-F238E27FC236}">
                        <a16:creationId xmlns:a16="http://schemas.microsoft.com/office/drawing/2014/main" id="{E0B71877-7487-4454-0D1E-BA830D31B2A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2413" y="2862263"/>
                    <a:ext cx="125413" cy="106363"/>
                  </a:xfrm>
                  <a:custGeom>
                    <a:avLst/>
                    <a:gdLst>
                      <a:gd name="T0" fmla="*/ 68 w 68"/>
                      <a:gd name="T1" fmla="*/ 30 h 58"/>
                      <a:gd name="T2" fmla="*/ 58 w 68"/>
                      <a:gd name="T3" fmla="*/ 14 h 58"/>
                      <a:gd name="T4" fmla="*/ 39 w 68"/>
                      <a:gd name="T5" fmla="*/ 0 h 58"/>
                      <a:gd name="T6" fmla="*/ 31 w 68"/>
                      <a:gd name="T7" fmla="*/ 24 h 58"/>
                      <a:gd name="T8" fmla="*/ 18 w 68"/>
                      <a:gd name="T9" fmla="*/ 37 h 58"/>
                      <a:gd name="T10" fmla="*/ 0 w 68"/>
                      <a:gd name="T11" fmla="*/ 38 h 58"/>
                      <a:gd name="T12" fmla="*/ 36 w 68"/>
                      <a:gd name="T13" fmla="*/ 55 h 58"/>
                      <a:gd name="T14" fmla="*/ 68 w 68"/>
                      <a:gd name="T15" fmla="*/ 30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8" h="58">
                        <a:moveTo>
                          <a:pt x="68" y="30"/>
                        </a:moveTo>
                        <a:cubicBezTo>
                          <a:pt x="58" y="14"/>
                          <a:pt x="58" y="14"/>
                          <a:pt x="58" y="14"/>
                        </a:cubicBezTo>
                        <a:cubicBezTo>
                          <a:pt x="39" y="0"/>
                          <a:pt x="39" y="0"/>
                          <a:pt x="39" y="0"/>
                        </a:cubicBezTo>
                        <a:cubicBezTo>
                          <a:pt x="39" y="0"/>
                          <a:pt x="33" y="15"/>
                          <a:pt x="31" y="24"/>
                        </a:cubicBezTo>
                        <a:cubicBezTo>
                          <a:pt x="30" y="32"/>
                          <a:pt x="21" y="37"/>
                          <a:pt x="18" y="37"/>
                        </a:cubicBezTo>
                        <a:cubicBezTo>
                          <a:pt x="10" y="39"/>
                          <a:pt x="0" y="38"/>
                          <a:pt x="0" y="38"/>
                        </a:cubicBezTo>
                        <a:cubicBezTo>
                          <a:pt x="0" y="38"/>
                          <a:pt x="32" y="50"/>
                          <a:pt x="36" y="55"/>
                        </a:cubicBezTo>
                        <a:cubicBezTo>
                          <a:pt x="41" y="58"/>
                          <a:pt x="68" y="30"/>
                          <a:pt x="68" y="30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1" name="Freeform 227">
                    <a:extLst>
                      <a:ext uri="{FF2B5EF4-FFF2-40B4-BE49-F238E27FC236}">
                        <a16:creationId xmlns:a16="http://schemas.microsoft.com/office/drawing/2014/main" id="{35B24415-9B3A-2E87-060C-08EDC04C421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3363" y="2800350"/>
                    <a:ext cx="100013" cy="131763"/>
                  </a:xfrm>
                  <a:custGeom>
                    <a:avLst/>
                    <a:gdLst>
                      <a:gd name="T0" fmla="*/ 13 w 54"/>
                      <a:gd name="T1" fmla="*/ 71 h 71"/>
                      <a:gd name="T2" fmla="*/ 31 w 54"/>
                      <a:gd name="T3" fmla="*/ 70 h 71"/>
                      <a:gd name="T4" fmla="*/ 41 w 54"/>
                      <a:gd name="T5" fmla="*/ 61 h 71"/>
                      <a:gd name="T6" fmla="*/ 45 w 54"/>
                      <a:gd name="T7" fmla="*/ 46 h 71"/>
                      <a:gd name="T8" fmla="*/ 51 w 54"/>
                      <a:gd name="T9" fmla="*/ 41 h 71"/>
                      <a:gd name="T10" fmla="*/ 47 w 54"/>
                      <a:gd name="T11" fmla="*/ 32 h 71"/>
                      <a:gd name="T12" fmla="*/ 44 w 54"/>
                      <a:gd name="T13" fmla="*/ 3 h 71"/>
                      <a:gd name="T14" fmla="*/ 30 w 54"/>
                      <a:gd name="T15" fmla="*/ 0 h 71"/>
                      <a:gd name="T16" fmla="*/ 18 w 54"/>
                      <a:gd name="T17" fmla="*/ 7 h 71"/>
                      <a:gd name="T18" fmla="*/ 0 w 54"/>
                      <a:gd name="T19" fmla="*/ 40 h 71"/>
                      <a:gd name="T20" fmla="*/ 3 w 54"/>
                      <a:gd name="T21" fmla="*/ 42 h 71"/>
                      <a:gd name="T22" fmla="*/ 7 w 54"/>
                      <a:gd name="T23" fmla="*/ 43 h 71"/>
                      <a:gd name="T24" fmla="*/ 8 w 54"/>
                      <a:gd name="T25" fmla="*/ 70 h 71"/>
                      <a:gd name="T26" fmla="*/ 13 w 54"/>
                      <a:gd name="T27" fmla="*/ 71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54" h="71">
                        <a:moveTo>
                          <a:pt x="13" y="71"/>
                        </a:moveTo>
                        <a:cubicBezTo>
                          <a:pt x="17" y="71"/>
                          <a:pt x="25" y="71"/>
                          <a:pt x="31" y="70"/>
                        </a:cubicBezTo>
                        <a:cubicBezTo>
                          <a:pt x="40" y="69"/>
                          <a:pt x="41" y="61"/>
                          <a:pt x="41" y="61"/>
                        </a:cubicBezTo>
                        <a:cubicBezTo>
                          <a:pt x="45" y="46"/>
                          <a:pt x="45" y="46"/>
                          <a:pt x="45" y="46"/>
                        </a:cubicBezTo>
                        <a:cubicBezTo>
                          <a:pt x="45" y="46"/>
                          <a:pt x="48" y="44"/>
                          <a:pt x="51" y="41"/>
                        </a:cubicBezTo>
                        <a:cubicBezTo>
                          <a:pt x="52" y="40"/>
                          <a:pt x="54" y="34"/>
                          <a:pt x="47" y="32"/>
                        </a:cubicBezTo>
                        <a:cubicBezTo>
                          <a:pt x="37" y="28"/>
                          <a:pt x="44" y="3"/>
                          <a:pt x="44" y="3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18" y="7"/>
                          <a:pt x="18" y="7"/>
                          <a:pt x="18" y="7"/>
                        </a:cubicBezTo>
                        <a:cubicBezTo>
                          <a:pt x="0" y="40"/>
                          <a:pt x="0" y="40"/>
                          <a:pt x="0" y="40"/>
                        </a:cubicBezTo>
                        <a:cubicBezTo>
                          <a:pt x="0" y="40"/>
                          <a:pt x="1" y="42"/>
                          <a:pt x="3" y="42"/>
                        </a:cubicBezTo>
                        <a:cubicBezTo>
                          <a:pt x="6" y="42"/>
                          <a:pt x="7" y="43"/>
                          <a:pt x="7" y="43"/>
                        </a:cubicBezTo>
                        <a:cubicBezTo>
                          <a:pt x="7" y="43"/>
                          <a:pt x="8" y="69"/>
                          <a:pt x="8" y="70"/>
                        </a:cubicBezTo>
                        <a:cubicBezTo>
                          <a:pt x="9" y="71"/>
                          <a:pt x="10" y="71"/>
                          <a:pt x="13" y="71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2" name="Freeform 228">
                    <a:extLst>
                      <a:ext uri="{FF2B5EF4-FFF2-40B4-BE49-F238E27FC236}">
                        <a16:creationId xmlns:a16="http://schemas.microsoft.com/office/drawing/2014/main" id="{BD0187A4-3D7D-D83A-3899-69C79170BB9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5588" y="2849563"/>
                    <a:ext cx="20638" cy="7938"/>
                  </a:xfrm>
                  <a:custGeom>
                    <a:avLst/>
                    <a:gdLst>
                      <a:gd name="T0" fmla="*/ 1 w 11"/>
                      <a:gd name="T1" fmla="*/ 3 h 5"/>
                      <a:gd name="T2" fmla="*/ 3 w 11"/>
                      <a:gd name="T3" fmla="*/ 5 h 5"/>
                      <a:gd name="T4" fmla="*/ 10 w 11"/>
                      <a:gd name="T5" fmla="*/ 5 h 5"/>
                      <a:gd name="T6" fmla="*/ 2 w 11"/>
                      <a:gd name="T7" fmla="*/ 1 h 5"/>
                      <a:gd name="T8" fmla="*/ 1 w 11"/>
                      <a:gd name="T9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" h="5">
                        <a:moveTo>
                          <a:pt x="1" y="3"/>
                        </a:moveTo>
                        <a:cubicBezTo>
                          <a:pt x="1" y="5"/>
                          <a:pt x="1" y="5"/>
                          <a:pt x="3" y="5"/>
                        </a:cubicBezTo>
                        <a:cubicBezTo>
                          <a:pt x="5" y="5"/>
                          <a:pt x="8" y="5"/>
                          <a:pt x="10" y="5"/>
                        </a:cubicBezTo>
                        <a:cubicBezTo>
                          <a:pt x="11" y="5"/>
                          <a:pt x="7" y="3"/>
                          <a:pt x="2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3" name="Freeform 229">
                    <a:extLst>
                      <a:ext uri="{FF2B5EF4-FFF2-40B4-BE49-F238E27FC236}">
                        <a16:creationId xmlns:a16="http://schemas.microsoft.com/office/drawing/2014/main" id="{54682BC7-152B-E128-35A5-79643ECE09A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2263" y="2951163"/>
                    <a:ext cx="44450" cy="104775"/>
                  </a:xfrm>
                  <a:custGeom>
                    <a:avLst/>
                    <a:gdLst>
                      <a:gd name="T0" fmla="*/ 24 w 24"/>
                      <a:gd name="T1" fmla="*/ 57 h 57"/>
                      <a:gd name="T2" fmla="*/ 22 w 24"/>
                      <a:gd name="T3" fmla="*/ 0 h 57"/>
                      <a:gd name="T4" fmla="*/ 0 w 24"/>
                      <a:gd name="T5" fmla="*/ 8 h 57"/>
                      <a:gd name="T6" fmla="*/ 24 w 24"/>
                      <a:gd name="T7" fmla="*/ 57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4" h="57">
                        <a:moveTo>
                          <a:pt x="24" y="57"/>
                        </a:moveTo>
                        <a:cubicBezTo>
                          <a:pt x="24" y="57"/>
                          <a:pt x="8" y="28"/>
                          <a:pt x="22" y="0"/>
                        </a:cubicBezTo>
                        <a:cubicBezTo>
                          <a:pt x="17" y="5"/>
                          <a:pt x="6" y="6"/>
                          <a:pt x="0" y="8"/>
                        </a:cubicBezTo>
                        <a:cubicBezTo>
                          <a:pt x="0" y="32"/>
                          <a:pt x="24" y="57"/>
                          <a:pt x="24" y="57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4" name="Freeform 230">
                    <a:extLst>
                      <a:ext uri="{FF2B5EF4-FFF2-40B4-BE49-F238E27FC236}">
                        <a16:creationId xmlns:a16="http://schemas.microsoft.com/office/drawing/2014/main" id="{D9BDB12C-D512-FAB0-EA6A-0AD5B37D055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72688" y="2957513"/>
                    <a:ext cx="188913" cy="74613"/>
                  </a:xfrm>
                  <a:custGeom>
                    <a:avLst/>
                    <a:gdLst>
                      <a:gd name="T0" fmla="*/ 94 w 119"/>
                      <a:gd name="T1" fmla="*/ 47 h 47"/>
                      <a:gd name="T2" fmla="*/ 0 w 119"/>
                      <a:gd name="T3" fmla="*/ 12 h 47"/>
                      <a:gd name="T4" fmla="*/ 2 w 119"/>
                      <a:gd name="T5" fmla="*/ 0 h 47"/>
                      <a:gd name="T6" fmla="*/ 119 w 119"/>
                      <a:gd name="T7" fmla="*/ 23 h 47"/>
                      <a:gd name="T8" fmla="*/ 94 w 119"/>
                      <a:gd name="T9" fmla="*/ 47 h 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9" h="47">
                        <a:moveTo>
                          <a:pt x="94" y="47"/>
                        </a:moveTo>
                        <a:lnTo>
                          <a:pt x="0" y="12"/>
                        </a:lnTo>
                        <a:lnTo>
                          <a:pt x="2" y="0"/>
                        </a:lnTo>
                        <a:lnTo>
                          <a:pt x="119" y="23"/>
                        </a:lnTo>
                        <a:lnTo>
                          <a:pt x="94" y="47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5" name="Freeform 231">
                    <a:extLst>
                      <a:ext uri="{FF2B5EF4-FFF2-40B4-BE49-F238E27FC236}">
                        <a16:creationId xmlns:a16="http://schemas.microsoft.com/office/drawing/2014/main" id="{D5278B59-2E40-E99C-8FCF-509A3612265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15563" y="2954338"/>
                    <a:ext cx="434975" cy="128588"/>
                  </a:xfrm>
                  <a:custGeom>
                    <a:avLst/>
                    <a:gdLst>
                      <a:gd name="T0" fmla="*/ 2 w 235"/>
                      <a:gd name="T1" fmla="*/ 16 h 69"/>
                      <a:gd name="T2" fmla="*/ 82 w 235"/>
                      <a:gd name="T3" fmla="*/ 33 h 69"/>
                      <a:gd name="T4" fmla="*/ 201 w 235"/>
                      <a:gd name="T5" fmla="*/ 0 h 69"/>
                      <a:gd name="T6" fmla="*/ 235 w 235"/>
                      <a:gd name="T7" fmla="*/ 35 h 69"/>
                      <a:gd name="T8" fmla="*/ 120 w 235"/>
                      <a:gd name="T9" fmla="*/ 65 h 69"/>
                      <a:gd name="T10" fmla="*/ 59 w 235"/>
                      <a:gd name="T11" fmla="*/ 61 h 69"/>
                      <a:gd name="T12" fmla="*/ 0 w 235"/>
                      <a:gd name="T13" fmla="*/ 42 h 69"/>
                      <a:gd name="T14" fmla="*/ 2 w 235"/>
                      <a:gd name="T15" fmla="*/ 16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35" h="69">
                        <a:moveTo>
                          <a:pt x="2" y="16"/>
                        </a:moveTo>
                        <a:cubicBezTo>
                          <a:pt x="82" y="33"/>
                          <a:pt x="82" y="33"/>
                          <a:pt x="82" y="33"/>
                        </a:cubicBezTo>
                        <a:cubicBezTo>
                          <a:pt x="201" y="0"/>
                          <a:pt x="201" y="0"/>
                          <a:pt x="201" y="0"/>
                        </a:cubicBezTo>
                        <a:cubicBezTo>
                          <a:pt x="235" y="35"/>
                          <a:pt x="235" y="35"/>
                          <a:pt x="235" y="35"/>
                        </a:cubicBezTo>
                        <a:cubicBezTo>
                          <a:pt x="235" y="35"/>
                          <a:pt x="132" y="62"/>
                          <a:pt x="120" y="65"/>
                        </a:cubicBezTo>
                        <a:cubicBezTo>
                          <a:pt x="108" y="67"/>
                          <a:pt x="84" y="69"/>
                          <a:pt x="59" y="61"/>
                        </a:cubicBezTo>
                        <a:cubicBezTo>
                          <a:pt x="42" y="56"/>
                          <a:pt x="24" y="50"/>
                          <a:pt x="0" y="42"/>
                        </a:cubicBezTo>
                        <a:lnTo>
                          <a:pt x="2" y="16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6" name="Freeform 232">
                    <a:extLst>
                      <a:ext uri="{FF2B5EF4-FFF2-40B4-BE49-F238E27FC236}">
                        <a16:creationId xmlns:a16="http://schemas.microsoft.com/office/drawing/2014/main" id="{E6307223-8991-A8AC-3350-3271F956ED9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3525" y="2782888"/>
                    <a:ext cx="134938" cy="225425"/>
                  </a:xfrm>
                  <a:custGeom>
                    <a:avLst/>
                    <a:gdLst>
                      <a:gd name="T0" fmla="*/ 52 w 73"/>
                      <a:gd name="T1" fmla="*/ 19 h 122"/>
                      <a:gd name="T2" fmla="*/ 0 w 73"/>
                      <a:gd name="T3" fmla="*/ 9 h 122"/>
                      <a:gd name="T4" fmla="*/ 2 w 73"/>
                      <a:gd name="T5" fmla="*/ 17 h 122"/>
                      <a:gd name="T6" fmla="*/ 19 w 73"/>
                      <a:gd name="T7" fmla="*/ 56 h 122"/>
                      <a:gd name="T8" fmla="*/ 6 w 73"/>
                      <a:gd name="T9" fmla="*/ 107 h 122"/>
                      <a:gd name="T10" fmla="*/ 70 w 73"/>
                      <a:gd name="T11" fmla="*/ 76 h 122"/>
                      <a:gd name="T12" fmla="*/ 52 w 73"/>
                      <a:gd name="T13" fmla="*/ 19 h 1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3" h="122">
                        <a:moveTo>
                          <a:pt x="52" y="19"/>
                        </a:moveTo>
                        <a:cubicBezTo>
                          <a:pt x="17" y="1"/>
                          <a:pt x="4" y="0"/>
                          <a:pt x="0" y="9"/>
                        </a:cubicBezTo>
                        <a:cubicBezTo>
                          <a:pt x="0" y="11"/>
                          <a:pt x="0" y="15"/>
                          <a:pt x="2" y="17"/>
                        </a:cubicBezTo>
                        <a:cubicBezTo>
                          <a:pt x="12" y="17"/>
                          <a:pt x="19" y="36"/>
                          <a:pt x="19" y="56"/>
                        </a:cubicBezTo>
                        <a:cubicBezTo>
                          <a:pt x="17" y="75"/>
                          <a:pt x="16" y="102"/>
                          <a:pt x="6" y="107"/>
                        </a:cubicBezTo>
                        <a:cubicBezTo>
                          <a:pt x="34" y="117"/>
                          <a:pt x="73" y="122"/>
                          <a:pt x="70" y="76"/>
                        </a:cubicBezTo>
                        <a:cubicBezTo>
                          <a:pt x="70" y="62"/>
                          <a:pt x="55" y="24"/>
                          <a:pt x="52" y="19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7" name="Freeform 233">
                    <a:extLst>
                      <a:ext uri="{FF2B5EF4-FFF2-40B4-BE49-F238E27FC236}">
                        <a16:creationId xmlns:a16="http://schemas.microsoft.com/office/drawing/2014/main" id="{82F791BB-4344-5210-910B-B2E8B1CC5C7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8613" y="3302000"/>
                    <a:ext cx="563563" cy="241300"/>
                  </a:xfrm>
                  <a:custGeom>
                    <a:avLst/>
                    <a:gdLst>
                      <a:gd name="T0" fmla="*/ 267 w 304"/>
                      <a:gd name="T1" fmla="*/ 0 h 130"/>
                      <a:gd name="T2" fmla="*/ 304 w 304"/>
                      <a:gd name="T3" fmla="*/ 118 h 130"/>
                      <a:gd name="T4" fmla="*/ 26 w 304"/>
                      <a:gd name="T5" fmla="*/ 54 h 130"/>
                      <a:gd name="T6" fmla="*/ 1 w 304"/>
                      <a:gd name="T7" fmla="*/ 1 h 130"/>
                      <a:gd name="T8" fmla="*/ 267 w 304"/>
                      <a:gd name="T9" fmla="*/ 0 h 1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4" h="130">
                        <a:moveTo>
                          <a:pt x="267" y="0"/>
                        </a:moveTo>
                        <a:cubicBezTo>
                          <a:pt x="295" y="26"/>
                          <a:pt x="269" y="75"/>
                          <a:pt x="304" y="118"/>
                        </a:cubicBezTo>
                        <a:cubicBezTo>
                          <a:pt x="264" y="130"/>
                          <a:pt x="87" y="102"/>
                          <a:pt x="26" y="54"/>
                        </a:cubicBezTo>
                        <a:cubicBezTo>
                          <a:pt x="0" y="33"/>
                          <a:pt x="1" y="1"/>
                          <a:pt x="1" y="1"/>
                        </a:cubicBezTo>
                        <a:cubicBezTo>
                          <a:pt x="1" y="1"/>
                          <a:pt x="229" y="1"/>
                          <a:pt x="267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8" name="Freeform 234">
                    <a:extLst>
                      <a:ext uri="{FF2B5EF4-FFF2-40B4-BE49-F238E27FC236}">
                        <a16:creationId xmlns:a16="http://schemas.microsoft.com/office/drawing/2014/main" id="{4549A404-DDD5-2C32-CC91-8F1F6DABF7A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01250" y="2922588"/>
                    <a:ext cx="79375" cy="60325"/>
                  </a:xfrm>
                  <a:custGeom>
                    <a:avLst/>
                    <a:gdLst>
                      <a:gd name="T0" fmla="*/ 43 w 43"/>
                      <a:gd name="T1" fmla="*/ 20 h 32"/>
                      <a:gd name="T2" fmla="*/ 34 w 43"/>
                      <a:gd name="T3" fmla="*/ 16 h 32"/>
                      <a:gd name="T4" fmla="*/ 26 w 43"/>
                      <a:gd name="T5" fmla="*/ 10 h 32"/>
                      <a:gd name="T6" fmla="*/ 23 w 43"/>
                      <a:gd name="T7" fmla="*/ 7 h 32"/>
                      <a:gd name="T8" fmla="*/ 6 w 43"/>
                      <a:gd name="T9" fmla="*/ 0 h 32"/>
                      <a:gd name="T10" fmla="*/ 7 w 43"/>
                      <a:gd name="T11" fmla="*/ 4 h 32"/>
                      <a:gd name="T12" fmla="*/ 15 w 43"/>
                      <a:gd name="T13" fmla="*/ 9 h 32"/>
                      <a:gd name="T14" fmla="*/ 0 w 43"/>
                      <a:gd name="T15" fmla="*/ 13 h 32"/>
                      <a:gd name="T16" fmla="*/ 2 w 43"/>
                      <a:gd name="T17" fmla="*/ 16 h 32"/>
                      <a:gd name="T18" fmla="*/ 12 w 43"/>
                      <a:gd name="T19" fmla="*/ 15 h 32"/>
                      <a:gd name="T20" fmla="*/ 27 w 43"/>
                      <a:gd name="T21" fmla="*/ 27 h 32"/>
                      <a:gd name="T22" fmla="*/ 24 w 43"/>
                      <a:gd name="T23" fmla="*/ 28 h 32"/>
                      <a:gd name="T24" fmla="*/ 27 w 43"/>
                      <a:gd name="T25" fmla="*/ 32 h 32"/>
                      <a:gd name="T26" fmla="*/ 42 w 43"/>
                      <a:gd name="T27" fmla="*/ 30 h 32"/>
                      <a:gd name="T28" fmla="*/ 43 w 43"/>
                      <a:gd name="T29" fmla="*/ 20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3" h="32">
                        <a:moveTo>
                          <a:pt x="43" y="20"/>
                        </a:moveTo>
                        <a:cubicBezTo>
                          <a:pt x="43" y="20"/>
                          <a:pt x="38" y="18"/>
                          <a:pt x="34" y="16"/>
                        </a:cubicBezTo>
                        <a:cubicBezTo>
                          <a:pt x="30" y="13"/>
                          <a:pt x="26" y="10"/>
                          <a:pt x="26" y="10"/>
                        </a:cubicBezTo>
                        <a:cubicBezTo>
                          <a:pt x="26" y="10"/>
                          <a:pt x="24" y="8"/>
                          <a:pt x="23" y="7"/>
                        </a:cubicBezTo>
                        <a:cubicBezTo>
                          <a:pt x="22" y="7"/>
                          <a:pt x="13" y="3"/>
                          <a:pt x="6" y="0"/>
                        </a:cubicBezTo>
                        <a:cubicBezTo>
                          <a:pt x="5" y="0"/>
                          <a:pt x="6" y="3"/>
                          <a:pt x="7" y="4"/>
                        </a:cubicBezTo>
                        <a:cubicBezTo>
                          <a:pt x="8" y="5"/>
                          <a:pt x="15" y="9"/>
                          <a:pt x="15" y="9"/>
                        </a:cubicBezTo>
                        <a:cubicBezTo>
                          <a:pt x="15" y="9"/>
                          <a:pt x="3" y="12"/>
                          <a:pt x="0" y="13"/>
                        </a:cubicBezTo>
                        <a:cubicBezTo>
                          <a:pt x="0" y="13"/>
                          <a:pt x="1" y="15"/>
                          <a:pt x="2" y="16"/>
                        </a:cubicBezTo>
                        <a:cubicBezTo>
                          <a:pt x="4" y="16"/>
                          <a:pt x="12" y="15"/>
                          <a:pt x="12" y="15"/>
                        </a:cubicBezTo>
                        <a:cubicBezTo>
                          <a:pt x="27" y="27"/>
                          <a:pt x="27" y="27"/>
                          <a:pt x="27" y="27"/>
                        </a:cubicBezTo>
                        <a:cubicBezTo>
                          <a:pt x="24" y="28"/>
                          <a:pt x="24" y="28"/>
                          <a:pt x="24" y="28"/>
                        </a:cubicBezTo>
                        <a:cubicBezTo>
                          <a:pt x="27" y="32"/>
                          <a:pt x="27" y="32"/>
                          <a:pt x="27" y="32"/>
                        </a:cubicBezTo>
                        <a:cubicBezTo>
                          <a:pt x="27" y="32"/>
                          <a:pt x="33" y="32"/>
                          <a:pt x="42" y="30"/>
                        </a:cubicBezTo>
                        <a:lnTo>
                          <a:pt x="43" y="2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61" name="Freeform 180">
                  <a:extLst>
                    <a:ext uri="{FF2B5EF4-FFF2-40B4-BE49-F238E27FC236}">
                      <a16:creationId xmlns:a16="http://schemas.microsoft.com/office/drawing/2014/main" id="{F2A5EF19-8419-F3B7-95AC-78652BCB3CF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532353" y="4827346"/>
                  <a:ext cx="357122" cy="260510"/>
                </a:xfrm>
                <a:custGeom>
                  <a:avLst/>
                  <a:gdLst>
                    <a:gd name="T0" fmla="*/ 308 w 354"/>
                    <a:gd name="T1" fmla="*/ 0 h 259"/>
                    <a:gd name="T2" fmla="*/ 300 w 354"/>
                    <a:gd name="T3" fmla="*/ 0 h 259"/>
                    <a:gd name="T4" fmla="*/ 300 w 354"/>
                    <a:gd name="T5" fmla="*/ 14 h 259"/>
                    <a:gd name="T6" fmla="*/ 283 w 354"/>
                    <a:gd name="T7" fmla="*/ 0 h 259"/>
                    <a:gd name="T8" fmla="*/ 283 w 354"/>
                    <a:gd name="T9" fmla="*/ 0 h 259"/>
                    <a:gd name="T10" fmla="*/ 261 w 354"/>
                    <a:gd name="T11" fmla="*/ 0 h 259"/>
                    <a:gd name="T12" fmla="*/ 262 w 354"/>
                    <a:gd name="T13" fmla="*/ 6 h 259"/>
                    <a:gd name="T14" fmla="*/ 277 w 354"/>
                    <a:gd name="T15" fmla="*/ 12 h 259"/>
                    <a:gd name="T16" fmla="*/ 295 w 354"/>
                    <a:gd name="T17" fmla="*/ 36 h 259"/>
                    <a:gd name="T18" fmla="*/ 292 w 354"/>
                    <a:gd name="T19" fmla="*/ 237 h 259"/>
                    <a:gd name="T20" fmla="*/ 182 w 354"/>
                    <a:gd name="T21" fmla="*/ 111 h 259"/>
                    <a:gd name="T22" fmla="*/ 133 w 354"/>
                    <a:gd name="T23" fmla="*/ 84 h 259"/>
                    <a:gd name="T24" fmla="*/ 84 w 354"/>
                    <a:gd name="T25" fmla="*/ 117 h 259"/>
                    <a:gd name="T26" fmla="*/ 0 w 354"/>
                    <a:gd name="T27" fmla="*/ 259 h 259"/>
                    <a:gd name="T28" fmla="*/ 140 w 354"/>
                    <a:gd name="T29" fmla="*/ 259 h 259"/>
                    <a:gd name="T30" fmla="*/ 147 w 354"/>
                    <a:gd name="T31" fmla="*/ 188 h 259"/>
                    <a:gd name="T32" fmla="*/ 230 w 354"/>
                    <a:gd name="T33" fmla="*/ 259 h 259"/>
                    <a:gd name="T34" fmla="*/ 354 w 354"/>
                    <a:gd name="T35" fmla="*/ 259 h 259"/>
                    <a:gd name="T36" fmla="*/ 312 w 354"/>
                    <a:gd name="T37" fmla="*/ 35 h 259"/>
                    <a:gd name="T38" fmla="*/ 312 w 354"/>
                    <a:gd name="T39" fmla="*/ 24 h 259"/>
                    <a:gd name="T40" fmla="*/ 308 w 354"/>
                    <a:gd name="T41" fmla="*/ 0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4" h="259">
                      <a:moveTo>
                        <a:pt x="308" y="0"/>
                      </a:moveTo>
                      <a:cubicBezTo>
                        <a:pt x="300" y="0"/>
                        <a:pt x="300" y="0"/>
                        <a:pt x="300" y="0"/>
                      </a:cubicBezTo>
                      <a:cubicBezTo>
                        <a:pt x="300" y="14"/>
                        <a:pt x="300" y="14"/>
                        <a:pt x="300" y="14"/>
                      </a:cubicBezTo>
                      <a:cubicBezTo>
                        <a:pt x="300" y="14"/>
                        <a:pt x="288" y="0"/>
                        <a:pt x="283" y="0"/>
                      </a:cubicBezTo>
                      <a:cubicBezTo>
                        <a:pt x="283" y="0"/>
                        <a:pt x="283" y="0"/>
                        <a:pt x="283" y="0"/>
                      </a:cubicBezTo>
                      <a:cubicBezTo>
                        <a:pt x="279" y="0"/>
                        <a:pt x="261" y="0"/>
                        <a:pt x="261" y="0"/>
                      </a:cubicBezTo>
                      <a:cubicBezTo>
                        <a:pt x="261" y="0"/>
                        <a:pt x="258" y="5"/>
                        <a:pt x="262" y="6"/>
                      </a:cubicBezTo>
                      <a:cubicBezTo>
                        <a:pt x="263" y="6"/>
                        <a:pt x="273" y="10"/>
                        <a:pt x="277" y="12"/>
                      </a:cubicBezTo>
                      <a:cubicBezTo>
                        <a:pt x="295" y="36"/>
                        <a:pt x="295" y="36"/>
                        <a:pt x="295" y="36"/>
                      </a:cubicBezTo>
                      <a:cubicBezTo>
                        <a:pt x="292" y="237"/>
                        <a:pt x="292" y="237"/>
                        <a:pt x="292" y="237"/>
                      </a:cubicBezTo>
                      <a:cubicBezTo>
                        <a:pt x="241" y="180"/>
                        <a:pt x="189" y="121"/>
                        <a:pt x="182" y="111"/>
                      </a:cubicBezTo>
                      <a:cubicBezTo>
                        <a:pt x="174" y="99"/>
                        <a:pt x="155" y="84"/>
                        <a:pt x="133" y="84"/>
                      </a:cubicBezTo>
                      <a:cubicBezTo>
                        <a:pt x="117" y="84"/>
                        <a:pt x="99" y="93"/>
                        <a:pt x="84" y="117"/>
                      </a:cubicBezTo>
                      <a:cubicBezTo>
                        <a:pt x="61" y="155"/>
                        <a:pt x="26" y="213"/>
                        <a:pt x="0" y="259"/>
                      </a:cubicBezTo>
                      <a:cubicBezTo>
                        <a:pt x="140" y="259"/>
                        <a:pt x="140" y="259"/>
                        <a:pt x="140" y="259"/>
                      </a:cubicBezTo>
                      <a:cubicBezTo>
                        <a:pt x="144" y="231"/>
                        <a:pt x="146" y="205"/>
                        <a:pt x="147" y="188"/>
                      </a:cubicBezTo>
                      <a:cubicBezTo>
                        <a:pt x="230" y="259"/>
                        <a:pt x="230" y="259"/>
                        <a:pt x="230" y="259"/>
                      </a:cubicBezTo>
                      <a:cubicBezTo>
                        <a:pt x="354" y="259"/>
                        <a:pt x="354" y="259"/>
                        <a:pt x="354" y="259"/>
                      </a:cubicBezTo>
                      <a:cubicBezTo>
                        <a:pt x="345" y="166"/>
                        <a:pt x="312" y="35"/>
                        <a:pt x="312" y="35"/>
                      </a:cubicBezTo>
                      <a:cubicBezTo>
                        <a:pt x="312" y="35"/>
                        <a:pt x="313" y="29"/>
                        <a:pt x="312" y="24"/>
                      </a:cubicBezTo>
                      <a:cubicBezTo>
                        <a:pt x="310" y="13"/>
                        <a:pt x="308" y="0"/>
                        <a:pt x="308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16" name="Group 5">
                <a:extLst>
                  <a:ext uri="{FF2B5EF4-FFF2-40B4-BE49-F238E27FC236}">
                    <a16:creationId xmlns:a16="http://schemas.microsoft.com/office/drawing/2014/main" id="{69E45000-4789-5961-954A-EBFB8AEAA847}"/>
                  </a:ext>
                </a:extLst>
              </p:cNvPr>
              <p:cNvGrpSpPr/>
              <p:nvPr/>
            </p:nvGrpSpPr>
            <p:grpSpPr>
              <a:xfrm>
                <a:off x="3081113" y="3935198"/>
                <a:ext cx="1695948" cy="1162398"/>
                <a:chOff x="3081113" y="3935198"/>
                <a:chExt cx="1695948" cy="1162398"/>
              </a:xfrm>
            </p:grpSpPr>
            <p:grpSp>
              <p:nvGrpSpPr>
                <p:cNvPr id="17" name="Group 1051">
                  <a:extLst>
                    <a:ext uri="{FF2B5EF4-FFF2-40B4-BE49-F238E27FC236}">
                      <a16:creationId xmlns:a16="http://schemas.microsoft.com/office/drawing/2014/main" id="{6642AB73-363C-38B2-9144-920358A0AC8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096850" y="3935198"/>
                  <a:ext cx="947456" cy="851698"/>
                  <a:chOff x="6978651" y="4723607"/>
                  <a:chExt cx="1931987" cy="1736725"/>
                </a:xfrm>
              </p:grpSpPr>
              <p:sp>
                <p:nvSpPr>
                  <p:cNvPr id="45" name="Freeform 280">
                    <a:extLst>
                      <a:ext uri="{FF2B5EF4-FFF2-40B4-BE49-F238E27FC236}">
                        <a16:creationId xmlns:a16="http://schemas.microsoft.com/office/drawing/2014/main" id="{BC029789-A044-2A92-0530-0F424A64509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075488" y="5322095"/>
                    <a:ext cx="139700" cy="82550"/>
                  </a:xfrm>
                  <a:custGeom>
                    <a:avLst/>
                    <a:gdLst>
                      <a:gd name="T0" fmla="*/ 71 w 71"/>
                      <a:gd name="T1" fmla="*/ 40 h 42"/>
                      <a:gd name="T2" fmla="*/ 60 w 71"/>
                      <a:gd name="T3" fmla="*/ 42 h 42"/>
                      <a:gd name="T4" fmla="*/ 47 w 71"/>
                      <a:gd name="T5" fmla="*/ 39 h 42"/>
                      <a:gd name="T6" fmla="*/ 42 w 71"/>
                      <a:gd name="T7" fmla="*/ 33 h 42"/>
                      <a:gd name="T8" fmla="*/ 45 w 71"/>
                      <a:gd name="T9" fmla="*/ 31 h 42"/>
                      <a:gd name="T10" fmla="*/ 19 w 71"/>
                      <a:gd name="T11" fmla="*/ 13 h 42"/>
                      <a:gd name="T12" fmla="*/ 4 w 71"/>
                      <a:gd name="T13" fmla="*/ 14 h 42"/>
                      <a:gd name="T14" fmla="*/ 1 w 71"/>
                      <a:gd name="T15" fmla="*/ 11 h 42"/>
                      <a:gd name="T16" fmla="*/ 21 w 71"/>
                      <a:gd name="T17" fmla="*/ 5 h 42"/>
                      <a:gd name="T18" fmla="*/ 35 w 71"/>
                      <a:gd name="T19" fmla="*/ 2 h 42"/>
                      <a:gd name="T20" fmla="*/ 40 w 71"/>
                      <a:gd name="T21" fmla="*/ 6 h 42"/>
                      <a:gd name="T22" fmla="*/ 68 w 71"/>
                      <a:gd name="T23" fmla="*/ 21 h 42"/>
                      <a:gd name="T24" fmla="*/ 71 w 71"/>
                      <a:gd name="T25" fmla="*/ 40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71" h="42">
                        <a:moveTo>
                          <a:pt x="71" y="40"/>
                        </a:moveTo>
                        <a:cubicBezTo>
                          <a:pt x="71" y="40"/>
                          <a:pt x="63" y="42"/>
                          <a:pt x="60" y="42"/>
                        </a:cubicBezTo>
                        <a:cubicBezTo>
                          <a:pt x="49" y="42"/>
                          <a:pt x="47" y="39"/>
                          <a:pt x="47" y="39"/>
                        </a:cubicBezTo>
                        <a:cubicBezTo>
                          <a:pt x="42" y="33"/>
                          <a:pt x="42" y="33"/>
                          <a:pt x="42" y="33"/>
                        </a:cubicBezTo>
                        <a:cubicBezTo>
                          <a:pt x="45" y="31"/>
                          <a:pt x="45" y="31"/>
                          <a:pt x="45" y="31"/>
                        </a:cubicBezTo>
                        <a:cubicBezTo>
                          <a:pt x="19" y="13"/>
                          <a:pt x="19" y="13"/>
                          <a:pt x="19" y="13"/>
                        </a:cubicBezTo>
                        <a:cubicBezTo>
                          <a:pt x="19" y="13"/>
                          <a:pt x="6" y="15"/>
                          <a:pt x="4" y="14"/>
                        </a:cubicBezTo>
                        <a:cubicBezTo>
                          <a:pt x="2" y="14"/>
                          <a:pt x="0" y="11"/>
                          <a:pt x="1" y="11"/>
                        </a:cubicBezTo>
                        <a:cubicBezTo>
                          <a:pt x="5" y="9"/>
                          <a:pt x="21" y="5"/>
                          <a:pt x="21" y="5"/>
                        </a:cubicBezTo>
                        <a:cubicBezTo>
                          <a:pt x="21" y="5"/>
                          <a:pt x="32" y="0"/>
                          <a:pt x="35" y="2"/>
                        </a:cubicBezTo>
                        <a:cubicBezTo>
                          <a:pt x="38" y="3"/>
                          <a:pt x="40" y="6"/>
                          <a:pt x="40" y="6"/>
                        </a:cubicBezTo>
                        <a:cubicBezTo>
                          <a:pt x="68" y="21"/>
                          <a:pt x="68" y="21"/>
                          <a:pt x="68" y="21"/>
                        </a:cubicBezTo>
                        <a:lnTo>
                          <a:pt x="71" y="4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6" name="Freeform 281">
                    <a:extLst>
                      <a:ext uri="{FF2B5EF4-FFF2-40B4-BE49-F238E27FC236}">
                        <a16:creationId xmlns:a16="http://schemas.microsoft.com/office/drawing/2014/main" id="{14B7F36D-EDC9-C13F-7695-587F5B63A04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978651" y="4955382"/>
                    <a:ext cx="785813" cy="319088"/>
                  </a:xfrm>
                  <a:custGeom>
                    <a:avLst/>
                    <a:gdLst>
                      <a:gd name="T0" fmla="*/ 400 w 400"/>
                      <a:gd name="T1" fmla="*/ 96 h 163"/>
                      <a:gd name="T2" fmla="*/ 199 w 400"/>
                      <a:gd name="T3" fmla="*/ 146 h 163"/>
                      <a:gd name="T4" fmla="*/ 21 w 400"/>
                      <a:gd name="T5" fmla="*/ 163 h 163"/>
                      <a:gd name="T6" fmla="*/ 0 w 400"/>
                      <a:gd name="T7" fmla="*/ 142 h 163"/>
                      <a:gd name="T8" fmla="*/ 188 w 400"/>
                      <a:gd name="T9" fmla="*/ 100 h 163"/>
                      <a:gd name="T10" fmla="*/ 342 w 400"/>
                      <a:gd name="T11" fmla="*/ 0 h 163"/>
                      <a:gd name="T12" fmla="*/ 400 w 400"/>
                      <a:gd name="T13" fmla="*/ 96 h 1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00" h="163">
                        <a:moveTo>
                          <a:pt x="400" y="96"/>
                        </a:moveTo>
                        <a:cubicBezTo>
                          <a:pt x="400" y="96"/>
                          <a:pt x="268" y="137"/>
                          <a:pt x="199" y="146"/>
                        </a:cubicBezTo>
                        <a:cubicBezTo>
                          <a:pt x="130" y="154"/>
                          <a:pt x="21" y="163"/>
                          <a:pt x="21" y="163"/>
                        </a:cubicBezTo>
                        <a:cubicBezTo>
                          <a:pt x="21" y="163"/>
                          <a:pt x="0" y="151"/>
                          <a:pt x="0" y="142"/>
                        </a:cubicBezTo>
                        <a:cubicBezTo>
                          <a:pt x="59" y="127"/>
                          <a:pt x="141" y="104"/>
                          <a:pt x="188" y="100"/>
                        </a:cubicBezTo>
                        <a:cubicBezTo>
                          <a:pt x="246" y="73"/>
                          <a:pt x="342" y="0"/>
                          <a:pt x="342" y="0"/>
                        </a:cubicBezTo>
                        <a:lnTo>
                          <a:pt x="400" y="96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7" name="Freeform 282">
                    <a:extLst>
                      <a:ext uri="{FF2B5EF4-FFF2-40B4-BE49-F238E27FC236}">
                        <a16:creationId xmlns:a16="http://schemas.microsoft.com/office/drawing/2014/main" id="{F66F3251-E0CB-9534-C784-47BC394E507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135938" y="5620545"/>
                    <a:ext cx="774700" cy="719138"/>
                  </a:xfrm>
                  <a:custGeom>
                    <a:avLst/>
                    <a:gdLst>
                      <a:gd name="T0" fmla="*/ 17 w 394"/>
                      <a:gd name="T1" fmla="*/ 40 h 367"/>
                      <a:gd name="T2" fmla="*/ 146 w 394"/>
                      <a:gd name="T3" fmla="*/ 44 h 367"/>
                      <a:gd name="T4" fmla="*/ 173 w 394"/>
                      <a:gd name="T5" fmla="*/ 241 h 367"/>
                      <a:gd name="T6" fmla="*/ 349 w 394"/>
                      <a:gd name="T7" fmla="*/ 73 h 367"/>
                      <a:gd name="T8" fmla="*/ 391 w 394"/>
                      <a:gd name="T9" fmla="*/ 85 h 367"/>
                      <a:gd name="T10" fmla="*/ 206 w 394"/>
                      <a:gd name="T11" fmla="*/ 317 h 367"/>
                      <a:gd name="T12" fmla="*/ 106 w 394"/>
                      <a:gd name="T13" fmla="*/ 306 h 367"/>
                      <a:gd name="T14" fmla="*/ 0 w 394"/>
                      <a:gd name="T15" fmla="*/ 104 h 367"/>
                      <a:gd name="T16" fmla="*/ 17 w 394"/>
                      <a:gd name="T17" fmla="*/ 40 h 3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394" h="367">
                        <a:moveTo>
                          <a:pt x="17" y="40"/>
                        </a:moveTo>
                        <a:cubicBezTo>
                          <a:pt x="17" y="40"/>
                          <a:pt x="130" y="0"/>
                          <a:pt x="146" y="44"/>
                        </a:cubicBezTo>
                        <a:cubicBezTo>
                          <a:pt x="163" y="91"/>
                          <a:pt x="172" y="182"/>
                          <a:pt x="173" y="241"/>
                        </a:cubicBezTo>
                        <a:cubicBezTo>
                          <a:pt x="349" y="73"/>
                          <a:pt x="349" y="73"/>
                          <a:pt x="349" y="73"/>
                        </a:cubicBezTo>
                        <a:cubicBezTo>
                          <a:pt x="349" y="73"/>
                          <a:pt x="394" y="80"/>
                          <a:pt x="391" y="85"/>
                        </a:cubicBezTo>
                        <a:cubicBezTo>
                          <a:pt x="342" y="150"/>
                          <a:pt x="218" y="300"/>
                          <a:pt x="206" y="317"/>
                        </a:cubicBezTo>
                        <a:cubicBezTo>
                          <a:pt x="191" y="337"/>
                          <a:pt x="140" y="367"/>
                          <a:pt x="106" y="306"/>
                        </a:cubicBezTo>
                        <a:cubicBezTo>
                          <a:pt x="72" y="246"/>
                          <a:pt x="20" y="143"/>
                          <a:pt x="0" y="104"/>
                        </a:cubicBezTo>
                        <a:cubicBezTo>
                          <a:pt x="151" y="97"/>
                          <a:pt x="17" y="40"/>
                          <a:pt x="17" y="4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8" name="Freeform 283">
                    <a:extLst>
                      <a:ext uri="{FF2B5EF4-FFF2-40B4-BE49-F238E27FC236}">
                        <a16:creationId xmlns:a16="http://schemas.microsoft.com/office/drawing/2014/main" id="{8264B46E-275D-BE21-15F9-86D29B0903E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6813" y="4979195"/>
                    <a:ext cx="476250" cy="577850"/>
                  </a:xfrm>
                  <a:custGeom>
                    <a:avLst/>
                    <a:gdLst>
                      <a:gd name="T0" fmla="*/ 242 w 242"/>
                      <a:gd name="T1" fmla="*/ 295 h 295"/>
                      <a:gd name="T2" fmla="*/ 171 w 242"/>
                      <a:gd name="T3" fmla="*/ 242 h 295"/>
                      <a:gd name="T4" fmla="*/ 64 w 242"/>
                      <a:gd name="T5" fmla="*/ 159 h 295"/>
                      <a:gd name="T6" fmla="*/ 35 w 242"/>
                      <a:gd name="T7" fmla="*/ 0 h 295"/>
                      <a:gd name="T8" fmla="*/ 242 w 242"/>
                      <a:gd name="T9" fmla="*/ 295 h 2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2" h="295">
                        <a:moveTo>
                          <a:pt x="242" y="295"/>
                        </a:moveTo>
                        <a:cubicBezTo>
                          <a:pt x="242" y="295"/>
                          <a:pt x="196" y="254"/>
                          <a:pt x="171" y="242"/>
                        </a:cubicBezTo>
                        <a:cubicBezTo>
                          <a:pt x="130" y="221"/>
                          <a:pt x="93" y="197"/>
                          <a:pt x="64" y="159"/>
                        </a:cubicBezTo>
                        <a:cubicBezTo>
                          <a:pt x="0" y="74"/>
                          <a:pt x="35" y="0"/>
                          <a:pt x="35" y="0"/>
                        </a:cubicBezTo>
                        <a:cubicBezTo>
                          <a:pt x="242" y="295"/>
                          <a:pt x="242" y="295"/>
                          <a:pt x="242" y="295"/>
                        </a:cubicBezTo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" name="Freeform 284">
                    <a:extLst>
                      <a:ext uri="{FF2B5EF4-FFF2-40B4-BE49-F238E27FC236}">
                        <a16:creationId xmlns:a16="http://schemas.microsoft.com/office/drawing/2014/main" id="{58E449C5-34B7-D6C9-957D-8EDD3D5B350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66026" y="4920457"/>
                    <a:ext cx="841375" cy="669925"/>
                  </a:xfrm>
                  <a:custGeom>
                    <a:avLst/>
                    <a:gdLst>
                      <a:gd name="T0" fmla="*/ 231 w 428"/>
                      <a:gd name="T1" fmla="*/ 342 h 342"/>
                      <a:gd name="T2" fmla="*/ 52 w 428"/>
                      <a:gd name="T3" fmla="*/ 161 h 342"/>
                      <a:gd name="T4" fmla="*/ 7 w 428"/>
                      <a:gd name="T5" fmla="*/ 36 h 342"/>
                      <a:gd name="T6" fmla="*/ 46 w 428"/>
                      <a:gd name="T7" fmla="*/ 0 h 342"/>
                      <a:gd name="T8" fmla="*/ 238 w 428"/>
                      <a:gd name="T9" fmla="*/ 76 h 342"/>
                      <a:gd name="T10" fmla="*/ 428 w 428"/>
                      <a:gd name="T11" fmla="*/ 295 h 342"/>
                      <a:gd name="T12" fmla="*/ 231 w 428"/>
                      <a:gd name="T13" fmla="*/ 342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28" h="342">
                        <a:moveTo>
                          <a:pt x="231" y="342"/>
                        </a:moveTo>
                        <a:cubicBezTo>
                          <a:pt x="231" y="342"/>
                          <a:pt x="137" y="240"/>
                          <a:pt x="52" y="161"/>
                        </a:cubicBezTo>
                        <a:cubicBezTo>
                          <a:pt x="0" y="114"/>
                          <a:pt x="7" y="36"/>
                          <a:pt x="7" y="36"/>
                        </a:cubicBezTo>
                        <a:cubicBezTo>
                          <a:pt x="7" y="36"/>
                          <a:pt x="26" y="6"/>
                          <a:pt x="46" y="0"/>
                        </a:cubicBezTo>
                        <a:cubicBezTo>
                          <a:pt x="83" y="5"/>
                          <a:pt x="171" y="13"/>
                          <a:pt x="238" y="76"/>
                        </a:cubicBezTo>
                        <a:cubicBezTo>
                          <a:pt x="333" y="166"/>
                          <a:pt x="428" y="295"/>
                          <a:pt x="428" y="295"/>
                        </a:cubicBezTo>
                        <a:cubicBezTo>
                          <a:pt x="231" y="342"/>
                          <a:pt x="231" y="342"/>
                          <a:pt x="231" y="342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" name="Freeform 285">
                    <a:extLst>
                      <a:ext uri="{FF2B5EF4-FFF2-40B4-BE49-F238E27FC236}">
                        <a16:creationId xmlns:a16="http://schemas.microsoft.com/office/drawing/2014/main" id="{F9E79C83-1537-E463-C753-1EE53A4A6AD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704138" y="5168107"/>
                    <a:ext cx="355600" cy="409575"/>
                  </a:xfrm>
                  <a:custGeom>
                    <a:avLst/>
                    <a:gdLst>
                      <a:gd name="T0" fmla="*/ 0 w 181"/>
                      <a:gd name="T1" fmla="*/ 0 h 208"/>
                      <a:gd name="T2" fmla="*/ 88 w 181"/>
                      <a:gd name="T3" fmla="*/ 99 h 208"/>
                      <a:gd name="T4" fmla="*/ 164 w 181"/>
                      <a:gd name="T5" fmla="*/ 205 h 208"/>
                      <a:gd name="T6" fmla="*/ 181 w 181"/>
                      <a:gd name="T7" fmla="*/ 208 h 208"/>
                      <a:gd name="T8" fmla="*/ 88 w 181"/>
                      <a:gd name="T9" fmla="*/ 91 h 208"/>
                      <a:gd name="T10" fmla="*/ 0 w 181"/>
                      <a:gd name="T11" fmla="*/ 0 h 2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81" h="208">
                        <a:moveTo>
                          <a:pt x="0" y="0"/>
                        </a:moveTo>
                        <a:cubicBezTo>
                          <a:pt x="0" y="0"/>
                          <a:pt x="35" y="72"/>
                          <a:pt x="88" y="99"/>
                        </a:cubicBezTo>
                        <a:cubicBezTo>
                          <a:pt x="137" y="123"/>
                          <a:pt x="164" y="205"/>
                          <a:pt x="164" y="205"/>
                        </a:cubicBezTo>
                        <a:cubicBezTo>
                          <a:pt x="181" y="208"/>
                          <a:pt x="181" y="208"/>
                          <a:pt x="181" y="208"/>
                        </a:cubicBezTo>
                        <a:cubicBezTo>
                          <a:pt x="181" y="208"/>
                          <a:pt x="140" y="131"/>
                          <a:pt x="88" y="91"/>
                        </a:cubicBezTo>
                        <a:cubicBezTo>
                          <a:pt x="36" y="5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A0C9DC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" name="Freeform 286">
                    <a:extLst>
                      <a:ext uri="{FF2B5EF4-FFF2-40B4-BE49-F238E27FC236}">
                        <a16:creationId xmlns:a16="http://schemas.microsoft.com/office/drawing/2014/main" id="{13B953F4-7C95-F3DF-0E16-721B51DD55F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602538" y="4922045"/>
                    <a:ext cx="82550" cy="117475"/>
                  </a:xfrm>
                  <a:custGeom>
                    <a:avLst/>
                    <a:gdLst>
                      <a:gd name="T0" fmla="*/ 36 w 42"/>
                      <a:gd name="T1" fmla="*/ 0 h 60"/>
                      <a:gd name="T2" fmla="*/ 42 w 42"/>
                      <a:gd name="T3" fmla="*/ 4 h 60"/>
                      <a:gd name="T4" fmla="*/ 36 w 42"/>
                      <a:gd name="T5" fmla="*/ 52 h 60"/>
                      <a:gd name="T6" fmla="*/ 0 w 42"/>
                      <a:gd name="T7" fmla="*/ 47 h 60"/>
                      <a:gd name="T8" fmla="*/ 36 w 42"/>
                      <a:gd name="T9" fmla="*/ 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2" h="60">
                        <a:moveTo>
                          <a:pt x="36" y="0"/>
                        </a:moveTo>
                        <a:cubicBezTo>
                          <a:pt x="42" y="4"/>
                          <a:pt x="42" y="4"/>
                          <a:pt x="42" y="4"/>
                        </a:cubicBezTo>
                        <a:cubicBezTo>
                          <a:pt x="36" y="52"/>
                          <a:pt x="36" y="52"/>
                          <a:pt x="36" y="52"/>
                        </a:cubicBezTo>
                        <a:cubicBezTo>
                          <a:pt x="36" y="52"/>
                          <a:pt x="23" y="60"/>
                          <a:pt x="0" y="47"/>
                        </a:cubicBezTo>
                        <a:cubicBezTo>
                          <a:pt x="21" y="35"/>
                          <a:pt x="36" y="0"/>
                          <a:pt x="36" y="0"/>
                        </a:cubicBezTo>
                        <a:close/>
                      </a:path>
                    </a:pathLst>
                  </a:custGeom>
                  <a:solidFill>
                    <a:srgbClr val="1D99B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Freeform 287">
                    <a:extLst>
                      <a:ext uri="{FF2B5EF4-FFF2-40B4-BE49-F238E27FC236}">
                        <a16:creationId xmlns:a16="http://schemas.microsoft.com/office/drawing/2014/main" id="{B31B3B77-EC33-914E-A02B-AE69FF65C99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89838" y="5015707"/>
                    <a:ext cx="503238" cy="488950"/>
                  </a:xfrm>
                  <a:custGeom>
                    <a:avLst/>
                    <a:gdLst>
                      <a:gd name="T0" fmla="*/ 6 w 256"/>
                      <a:gd name="T1" fmla="*/ 0 h 249"/>
                      <a:gd name="T2" fmla="*/ 0 w 256"/>
                      <a:gd name="T3" fmla="*/ 10 h 249"/>
                      <a:gd name="T4" fmla="*/ 10 w 256"/>
                      <a:gd name="T5" fmla="*/ 24 h 249"/>
                      <a:gd name="T6" fmla="*/ 37 w 256"/>
                      <a:gd name="T7" fmla="*/ 123 h 249"/>
                      <a:gd name="T8" fmla="*/ 222 w 256"/>
                      <a:gd name="T9" fmla="*/ 249 h 249"/>
                      <a:gd name="T10" fmla="*/ 256 w 256"/>
                      <a:gd name="T11" fmla="*/ 231 h 249"/>
                      <a:gd name="T12" fmla="*/ 235 w 256"/>
                      <a:gd name="T13" fmla="*/ 193 h 249"/>
                      <a:gd name="T14" fmla="*/ 56 w 256"/>
                      <a:gd name="T15" fmla="*/ 106 h 249"/>
                      <a:gd name="T16" fmla="*/ 18 w 256"/>
                      <a:gd name="T17" fmla="*/ 21 h 249"/>
                      <a:gd name="T18" fmla="*/ 27 w 256"/>
                      <a:gd name="T19" fmla="*/ 6 h 249"/>
                      <a:gd name="T20" fmla="*/ 6 w 256"/>
                      <a:gd name="T21" fmla="*/ 0 h 2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56" h="249">
                        <a:moveTo>
                          <a:pt x="6" y="0"/>
                        </a:moveTo>
                        <a:cubicBezTo>
                          <a:pt x="6" y="0"/>
                          <a:pt x="2" y="4"/>
                          <a:pt x="0" y="10"/>
                        </a:cubicBezTo>
                        <a:cubicBezTo>
                          <a:pt x="3" y="16"/>
                          <a:pt x="10" y="24"/>
                          <a:pt x="10" y="24"/>
                        </a:cubicBezTo>
                        <a:cubicBezTo>
                          <a:pt x="10" y="24"/>
                          <a:pt x="6" y="73"/>
                          <a:pt x="37" y="123"/>
                        </a:cubicBezTo>
                        <a:cubicBezTo>
                          <a:pt x="84" y="200"/>
                          <a:pt x="222" y="249"/>
                          <a:pt x="222" y="249"/>
                        </a:cubicBezTo>
                        <a:cubicBezTo>
                          <a:pt x="256" y="231"/>
                          <a:pt x="256" y="231"/>
                          <a:pt x="256" y="231"/>
                        </a:cubicBezTo>
                        <a:cubicBezTo>
                          <a:pt x="235" y="193"/>
                          <a:pt x="235" y="193"/>
                          <a:pt x="235" y="193"/>
                        </a:cubicBezTo>
                        <a:cubicBezTo>
                          <a:pt x="235" y="193"/>
                          <a:pt x="111" y="175"/>
                          <a:pt x="56" y="106"/>
                        </a:cubicBezTo>
                        <a:cubicBezTo>
                          <a:pt x="18" y="58"/>
                          <a:pt x="18" y="21"/>
                          <a:pt x="18" y="21"/>
                        </a:cubicBezTo>
                        <a:cubicBezTo>
                          <a:pt x="18" y="21"/>
                          <a:pt x="24" y="13"/>
                          <a:pt x="27" y="6"/>
                        </a:cubicBezTo>
                        <a:cubicBezTo>
                          <a:pt x="15" y="5"/>
                          <a:pt x="6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" name="Freeform 288">
                    <a:extLst>
                      <a:ext uri="{FF2B5EF4-FFF2-40B4-BE49-F238E27FC236}">
                        <a16:creationId xmlns:a16="http://schemas.microsoft.com/office/drawing/2014/main" id="{CABA5CFB-9E53-C046-CD13-FA96A91AF23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67601" y="4853782"/>
                    <a:ext cx="206375" cy="160338"/>
                  </a:xfrm>
                  <a:custGeom>
                    <a:avLst/>
                    <a:gdLst>
                      <a:gd name="T0" fmla="*/ 105 w 105"/>
                      <a:gd name="T1" fmla="*/ 35 h 82"/>
                      <a:gd name="T2" fmla="*/ 93 w 105"/>
                      <a:gd name="T3" fmla="*/ 22 h 82"/>
                      <a:gd name="T4" fmla="*/ 67 w 105"/>
                      <a:gd name="T5" fmla="*/ 0 h 82"/>
                      <a:gd name="T6" fmla="*/ 54 w 105"/>
                      <a:gd name="T7" fmla="*/ 34 h 82"/>
                      <a:gd name="T8" fmla="*/ 34 w 105"/>
                      <a:gd name="T9" fmla="*/ 55 h 82"/>
                      <a:gd name="T10" fmla="*/ 0 w 105"/>
                      <a:gd name="T11" fmla="*/ 56 h 82"/>
                      <a:gd name="T12" fmla="*/ 69 w 105"/>
                      <a:gd name="T13" fmla="*/ 82 h 82"/>
                      <a:gd name="T14" fmla="*/ 105 w 105"/>
                      <a:gd name="T15" fmla="*/ 35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5" h="82">
                        <a:moveTo>
                          <a:pt x="105" y="35"/>
                        </a:moveTo>
                        <a:cubicBezTo>
                          <a:pt x="99" y="32"/>
                          <a:pt x="93" y="22"/>
                          <a:pt x="93" y="22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67" y="0"/>
                          <a:pt x="57" y="21"/>
                          <a:pt x="54" y="34"/>
                        </a:cubicBezTo>
                        <a:cubicBezTo>
                          <a:pt x="52" y="46"/>
                          <a:pt x="39" y="54"/>
                          <a:pt x="34" y="55"/>
                        </a:cubicBezTo>
                        <a:cubicBezTo>
                          <a:pt x="22" y="56"/>
                          <a:pt x="0" y="56"/>
                          <a:pt x="0" y="56"/>
                        </a:cubicBezTo>
                        <a:cubicBezTo>
                          <a:pt x="0" y="56"/>
                          <a:pt x="50" y="69"/>
                          <a:pt x="69" y="82"/>
                        </a:cubicBezTo>
                        <a:cubicBezTo>
                          <a:pt x="91" y="67"/>
                          <a:pt x="101" y="42"/>
                          <a:pt x="105" y="35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" name="Freeform 289">
                    <a:extLst>
                      <a:ext uri="{FF2B5EF4-FFF2-40B4-BE49-F238E27FC236}">
                        <a16:creationId xmlns:a16="http://schemas.microsoft.com/office/drawing/2014/main" id="{9E6B2D9E-3574-15F8-1437-080CCB8EFC6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50138" y="4755357"/>
                    <a:ext cx="163513" cy="207963"/>
                  </a:xfrm>
                  <a:custGeom>
                    <a:avLst/>
                    <a:gdLst>
                      <a:gd name="T0" fmla="*/ 9 w 83"/>
                      <a:gd name="T1" fmla="*/ 106 h 106"/>
                      <a:gd name="T2" fmla="*/ 47 w 83"/>
                      <a:gd name="T3" fmla="*/ 105 h 106"/>
                      <a:gd name="T4" fmla="*/ 62 w 83"/>
                      <a:gd name="T5" fmla="*/ 91 h 106"/>
                      <a:gd name="T6" fmla="*/ 69 w 83"/>
                      <a:gd name="T7" fmla="*/ 69 h 106"/>
                      <a:gd name="T8" fmla="*/ 78 w 83"/>
                      <a:gd name="T9" fmla="*/ 62 h 106"/>
                      <a:gd name="T10" fmla="*/ 73 w 83"/>
                      <a:gd name="T11" fmla="*/ 48 h 106"/>
                      <a:gd name="T12" fmla="*/ 70 w 83"/>
                      <a:gd name="T13" fmla="*/ 6 h 106"/>
                      <a:gd name="T14" fmla="*/ 50 w 83"/>
                      <a:gd name="T15" fmla="*/ 0 h 106"/>
                      <a:gd name="T16" fmla="*/ 32 w 83"/>
                      <a:gd name="T17" fmla="*/ 10 h 106"/>
                      <a:gd name="T18" fmla="*/ 0 w 83"/>
                      <a:gd name="T19" fmla="*/ 60 h 106"/>
                      <a:gd name="T20" fmla="*/ 4 w 83"/>
                      <a:gd name="T21" fmla="*/ 63 h 106"/>
                      <a:gd name="T22" fmla="*/ 12 w 83"/>
                      <a:gd name="T23" fmla="*/ 65 h 106"/>
                      <a:gd name="T24" fmla="*/ 8 w 83"/>
                      <a:gd name="T25" fmla="*/ 105 h 106"/>
                      <a:gd name="T26" fmla="*/ 9 w 83"/>
                      <a:gd name="T27" fmla="*/ 106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83" h="106">
                        <a:moveTo>
                          <a:pt x="9" y="106"/>
                        </a:moveTo>
                        <a:cubicBezTo>
                          <a:pt x="19" y="106"/>
                          <a:pt x="38" y="106"/>
                          <a:pt x="47" y="105"/>
                        </a:cubicBezTo>
                        <a:cubicBezTo>
                          <a:pt x="60" y="104"/>
                          <a:pt x="62" y="91"/>
                          <a:pt x="62" y="91"/>
                        </a:cubicBezTo>
                        <a:cubicBezTo>
                          <a:pt x="69" y="69"/>
                          <a:pt x="69" y="69"/>
                          <a:pt x="69" y="69"/>
                        </a:cubicBezTo>
                        <a:cubicBezTo>
                          <a:pt x="69" y="69"/>
                          <a:pt x="74" y="67"/>
                          <a:pt x="78" y="62"/>
                        </a:cubicBezTo>
                        <a:cubicBezTo>
                          <a:pt x="80" y="60"/>
                          <a:pt x="83" y="52"/>
                          <a:pt x="73" y="48"/>
                        </a:cubicBezTo>
                        <a:cubicBezTo>
                          <a:pt x="58" y="42"/>
                          <a:pt x="70" y="6"/>
                          <a:pt x="70" y="6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0" y="60"/>
                          <a:pt x="0" y="63"/>
                          <a:pt x="4" y="63"/>
                        </a:cubicBezTo>
                        <a:cubicBezTo>
                          <a:pt x="7" y="63"/>
                          <a:pt x="12" y="65"/>
                          <a:pt x="12" y="65"/>
                        </a:cubicBezTo>
                        <a:cubicBezTo>
                          <a:pt x="12" y="65"/>
                          <a:pt x="8" y="102"/>
                          <a:pt x="8" y="105"/>
                        </a:cubicBezTo>
                        <a:cubicBezTo>
                          <a:pt x="8" y="106"/>
                          <a:pt x="9" y="106"/>
                          <a:pt x="9" y="106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" name="Freeform 290">
                    <a:extLst>
                      <a:ext uri="{FF2B5EF4-FFF2-40B4-BE49-F238E27FC236}">
                        <a16:creationId xmlns:a16="http://schemas.microsoft.com/office/drawing/2014/main" id="{A85594BC-59FA-BA0A-B2AA-55B88A6C157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91413" y="4823620"/>
                    <a:ext cx="33338" cy="17463"/>
                  </a:xfrm>
                  <a:custGeom>
                    <a:avLst/>
                    <a:gdLst>
                      <a:gd name="T0" fmla="*/ 1 w 17"/>
                      <a:gd name="T1" fmla="*/ 6 h 9"/>
                      <a:gd name="T2" fmla="*/ 4 w 17"/>
                      <a:gd name="T3" fmla="*/ 9 h 9"/>
                      <a:gd name="T4" fmla="*/ 15 w 17"/>
                      <a:gd name="T5" fmla="*/ 8 h 9"/>
                      <a:gd name="T6" fmla="*/ 2 w 17"/>
                      <a:gd name="T7" fmla="*/ 2 h 9"/>
                      <a:gd name="T8" fmla="*/ 1 w 17"/>
                      <a:gd name="T9" fmla="*/ 6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7" h="9">
                        <a:moveTo>
                          <a:pt x="1" y="6"/>
                        </a:moveTo>
                        <a:cubicBezTo>
                          <a:pt x="1" y="9"/>
                          <a:pt x="1" y="9"/>
                          <a:pt x="4" y="9"/>
                        </a:cubicBezTo>
                        <a:cubicBezTo>
                          <a:pt x="7" y="9"/>
                          <a:pt x="17" y="9"/>
                          <a:pt x="15" y="8"/>
                        </a:cubicBezTo>
                        <a:cubicBezTo>
                          <a:pt x="14" y="8"/>
                          <a:pt x="10" y="6"/>
                          <a:pt x="2" y="2"/>
                        </a:cubicBezTo>
                        <a:cubicBezTo>
                          <a:pt x="0" y="0"/>
                          <a:pt x="1" y="3"/>
                          <a:pt x="1" y="6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" name="Freeform 291">
                    <a:extLst>
                      <a:ext uri="{FF2B5EF4-FFF2-40B4-BE49-F238E27FC236}">
                        <a16:creationId xmlns:a16="http://schemas.microsoft.com/office/drawing/2014/main" id="{F4E702DE-FA0F-AC81-5F1A-B878647AAB8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07288" y="4723607"/>
                    <a:ext cx="157163" cy="173038"/>
                  </a:xfrm>
                  <a:custGeom>
                    <a:avLst/>
                    <a:gdLst>
                      <a:gd name="T0" fmla="*/ 76 w 80"/>
                      <a:gd name="T1" fmla="*/ 31 h 88"/>
                      <a:gd name="T2" fmla="*/ 1 w 80"/>
                      <a:gd name="T3" fmla="*/ 14 h 88"/>
                      <a:gd name="T4" fmla="*/ 3 w 80"/>
                      <a:gd name="T5" fmla="*/ 26 h 88"/>
                      <a:gd name="T6" fmla="*/ 31 w 80"/>
                      <a:gd name="T7" fmla="*/ 35 h 88"/>
                      <a:gd name="T8" fmla="*/ 27 w 80"/>
                      <a:gd name="T9" fmla="*/ 78 h 88"/>
                      <a:gd name="T10" fmla="*/ 47 w 80"/>
                      <a:gd name="T11" fmla="*/ 66 h 88"/>
                      <a:gd name="T12" fmla="*/ 74 w 80"/>
                      <a:gd name="T13" fmla="*/ 88 h 88"/>
                      <a:gd name="T14" fmla="*/ 76 w 80"/>
                      <a:gd name="T15" fmla="*/ 31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0" h="88">
                        <a:moveTo>
                          <a:pt x="76" y="31"/>
                        </a:moveTo>
                        <a:cubicBezTo>
                          <a:pt x="26" y="2"/>
                          <a:pt x="6" y="0"/>
                          <a:pt x="1" y="14"/>
                        </a:cubicBezTo>
                        <a:cubicBezTo>
                          <a:pt x="0" y="17"/>
                          <a:pt x="0" y="22"/>
                          <a:pt x="3" y="26"/>
                        </a:cubicBezTo>
                        <a:cubicBezTo>
                          <a:pt x="19" y="24"/>
                          <a:pt x="35" y="24"/>
                          <a:pt x="31" y="35"/>
                        </a:cubicBezTo>
                        <a:cubicBezTo>
                          <a:pt x="30" y="39"/>
                          <a:pt x="13" y="76"/>
                          <a:pt x="27" y="78"/>
                        </a:cubicBezTo>
                        <a:cubicBezTo>
                          <a:pt x="30" y="73"/>
                          <a:pt x="37" y="60"/>
                          <a:pt x="47" y="66"/>
                        </a:cubicBezTo>
                        <a:cubicBezTo>
                          <a:pt x="53" y="69"/>
                          <a:pt x="47" y="83"/>
                          <a:pt x="74" y="88"/>
                        </a:cubicBezTo>
                        <a:cubicBezTo>
                          <a:pt x="76" y="66"/>
                          <a:pt x="80" y="39"/>
                          <a:pt x="76" y="31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" name="Freeform 292">
                    <a:extLst>
                      <a:ext uri="{FF2B5EF4-FFF2-40B4-BE49-F238E27FC236}">
                        <a16:creationId xmlns:a16="http://schemas.microsoft.com/office/drawing/2014/main" id="{C141E500-3680-E067-DF33-2557964E13D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215188" y="4896645"/>
                    <a:ext cx="711200" cy="517525"/>
                  </a:xfrm>
                  <a:custGeom>
                    <a:avLst/>
                    <a:gdLst>
                      <a:gd name="T0" fmla="*/ 339 w 362"/>
                      <a:gd name="T1" fmla="*/ 123 h 264"/>
                      <a:gd name="T2" fmla="*/ 256 w 362"/>
                      <a:gd name="T3" fmla="*/ 236 h 264"/>
                      <a:gd name="T4" fmla="*/ 191 w 362"/>
                      <a:gd name="T5" fmla="*/ 262 h 264"/>
                      <a:gd name="T6" fmla="*/ 3 w 362"/>
                      <a:gd name="T7" fmla="*/ 259 h 264"/>
                      <a:gd name="T8" fmla="*/ 0 w 362"/>
                      <a:gd name="T9" fmla="*/ 236 h 264"/>
                      <a:gd name="T10" fmla="*/ 200 w 362"/>
                      <a:gd name="T11" fmla="*/ 220 h 264"/>
                      <a:gd name="T12" fmla="*/ 268 w 362"/>
                      <a:gd name="T13" fmla="*/ 58 h 264"/>
                      <a:gd name="T14" fmla="*/ 339 w 362"/>
                      <a:gd name="T15" fmla="*/ 123 h 2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62" h="264">
                        <a:moveTo>
                          <a:pt x="339" y="123"/>
                        </a:moveTo>
                        <a:cubicBezTo>
                          <a:pt x="316" y="156"/>
                          <a:pt x="262" y="228"/>
                          <a:pt x="256" y="236"/>
                        </a:cubicBezTo>
                        <a:cubicBezTo>
                          <a:pt x="249" y="243"/>
                          <a:pt x="241" y="262"/>
                          <a:pt x="191" y="262"/>
                        </a:cubicBezTo>
                        <a:cubicBezTo>
                          <a:pt x="126" y="264"/>
                          <a:pt x="3" y="259"/>
                          <a:pt x="3" y="259"/>
                        </a:cubicBezTo>
                        <a:cubicBezTo>
                          <a:pt x="3" y="259"/>
                          <a:pt x="1" y="247"/>
                          <a:pt x="0" y="236"/>
                        </a:cubicBezTo>
                        <a:cubicBezTo>
                          <a:pt x="71" y="229"/>
                          <a:pt x="200" y="220"/>
                          <a:pt x="200" y="220"/>
                        </a:cubicBezTo>
                        <a:cubicBezTo>
                          <a:pt x="200" y="220"/>
                          <a:pt x="250" y="92"/>
                          <a:pt x="268" y="58"/>
                        </a:cubicBezTo>
                        <a:cubicBezTo>
                          <a:pt x="315" y="0"/>
                          <a:pt x="362" y="89"/>
                          <a:pt x="339" y="123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" name="Freeform 293">
                    <a:extLst>
                      <a:ext uri="{FF2B5EF4-FFF2-40B4-BE49-F238E27FC236}">
                        <a16:creationId xmlns:a16="http://schemas.microsoft.com/office/drawing/2014/main" id="{AE4FAECB-BEDE-8FDE-A902-1AD4F807EB3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26326" y="6409532"/>
                    <a:ext cx="142875" cy="50800"/>
                  </a:xfrm>
                  <a:custGeom>
                    <a:avLst/>
                    <a:gdLst>
                      <a:gd name="T0" fmla="*/ 72 w 72"/>
                      <a:gd name="T1" fmla="*/ 4 h 26"/>
                      <a:gd name="T2" fmla="*/ 72 w 72"/>
                      <a:gd name="T3" fmla="*/ 26 h 26"/>
                      <a:gd name="T4" fmla="*/ 53 w 72"/>
                      <a:gd name="T5" fmla="*/ 26 h 26"/>
                      <a:gd name="T6" fmla="*/ 53 w 72"/>
                      <a:gd name="T7" fmla="*/ 18 h 26"/>
                      <a:gd name="T8" fmla="*/ 27 w 72"/>
                      <a:gd name="T9" fmla="*/ 26 h 26"/>
                      <a:gd name="T10" fmla="*/ 3 w 72"/>
                      <a:gd name="T11" fmla="*/ 25 h 26"/>
                      <a:gd name="T12" fmla="*/ 4 w 72"/>
                      <a:gd name="T13" fmla="*/ 20 h 26"/>
                      <a:gd name="T14" fmla="*/ 29 w 72"/>
                      <a:gd name="T15" fmla="*/ 13 h 26"/>
                      <a:gd name="T16" fmla="*/ 48 w 72"/>
                      <a:gd name="T17" fmla="*/ 0 h 26"/>
                      <a:gd name="T18" fmla="*/ 72 w 72"/>
                      <a:gd name="T19" fmla="*/ 4 h 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2" h="26">
                        <a:moveTo>
                          <a:pt x="72" y="4"/>
                        </a:moveTo>
                        <a:cubicBezTo>
                          <a:pt x="72" y="26"/>
                          <a:pt x="72" y="26"/>
                          <a:pt x="72" y="26"/>
                        </a:cubicBez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18"/>
                          <a:pt x="53" y="18"/>
                          <a:pt x="53" y="18"/>
                        </a:cubicBezTo>
                        <a:cubicBezTo>
                          <a:pt x="27" y="26"/>
                          <a:pt x="27" y="26"/>
                          <a:pt x="27" y="26"/>
                        </a:cubicBezTo>
                        <a:cubicBezTo>
                          <a:pt x="3" y="25"/>
                          <a:pt x="3" y="25"/>
                          <a:pt x="3" y="25"/>
                        </a:cubicBezTo>
                        <a:cubicBezTo>
                          <a:pt x="3" y="25"/>
                          <a:pt x="0" y="21"/>
                          <a:pt x="4" y="20"/>
                        </a:cubicBezTo>
                        <a:cubicBezTo>
                          <a:pt x="5" y="20"/>
                          <a:pt x="29" y="13"/>
                          <a:pt x="29" y="13"/>
                        </a:cubicBezTo>
                        <a:cubicBezTo>
                          <a:pt x="48" y="0"/>
                          <a:pt x="48" y="0"/>
                          <a:pt x="48" y="0"/>
                        </a:cubicBezTo>
                        <a:lnTo>
                          <a:pt x="72" y="4"/>
                        </a:lnTo>
                        <a:close/>
                      </a:path>
                    </a:pathLst>
                  </a:custGeom>
                  <a:solidFill>
                    <a:srgbClr val="17235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" name="Freeform 294">
                    <a:extLst>
                      <a:ext uri="{FF2B5EF4-FFF2-40B4-BE49-F238E27FC236}">
                        <a16:creationId xmlns:a16="http://schemas.microsoft.com/office/drawing/2014/main" id="{7D981EBA-9837-4B96-22B4-45538264E97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2051" y="5498307"/>
                    <a:ext cx="1069975" cy="912813"/>
                  </a:xfrm>
                  <a:custGeom>
                    <a:avLst/>
                    <a:gdLst>
                      <a:gd name="T0" fmla="*/ 4 w 545"/>
                      <a:gd name="T1" fmla="*/ 465 h 465"/>
                      <a:gd name="T2" fmla="*/ 0 w 545"/>
                      <a:gd name="T3" fmla="*/ 147 h 465"/>
                      <a:gd name="T4" fmla="*/ 0 w 545"/>
                      <a:gd name="T5" fmla="*/ 147 h 465"/>
                      <a:gd name="T6" fmla="*/ 51 w 545"/>
                      <a:gd name="T7" fmla="*/ 77 h 465"/>
                      <a:gd name="T8" fmla="*/ 456 w 545"/>
                      <a:gd name="T9" fmla="*/ 0 h 465"/>
                      <a:gd name="T10" fmla="*/ 313 w 545"/>
                      <a:gd name="T11" fmla="*/ 160 h 465"/>
                      <a:gd name="T12" fmla="*/ 83 w 545"/>
                      <a:gd name="T13" fmla="*/ 160 h 465"/>
                      <a:gd name="T14" fmla="*/ 38 w 545"/>
                      <a:gd name="T15" fmla="*/ 463 h 465"/>
                      <a:gd name="T16" fmla="*/ 4 w 545"/>
                      <a:gd name="T17" fmla="*/ 465 h 4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545" h="465">
                        <a:moveTo>
                          <a:pt x="4" y="465"/>
                        </a:move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3" y="93"/>
                          <a:pt x="38" y="80"/>
                          <a:pt x="51" y="77"/>
                        </a:cubicBezTo>
                        <a:cubicBezTo>
                          <a:pt x="64" y="74"/>
                          <a:pt x="456" y="0"/>
                          <a:pt x="456" y="0"/>
                        </a:cubicBezTo>
                        <a:cubicBezTo>
                          <a:pt x="456" y="0"/>
                          <a:pt x="545" y="149"/>
                          <a:pt x="313" y="160"/>
                        </a:cubicBezTo>
                        <a:cubicBezTo>
                          <a:pt x="255" y="163"/>
                          <a:pt x="234" y="154"/>
                          <a:pt x="83" y="160"/>
                        </a:cubicBezTo>
                        <a:cubicBezTo>
                          <a:pt x="113" y="217"/>
                          <a:pt x="38" y="463"/>
                          <a:pt x="38" y="463"/>
                        </a:cubicBezTo>
                        <a:lnTo>
                          <a:pt x="4" y="46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8" name="Group 1028">
                  <a:extLst>
                    <a:ext uri="{FF2B5EF4-FFF2-40B4-BE49-F238E27FC236}">
                      <a16:creationId xmlns:a16="http://schemas.microsoft.com/office/drawing/2014/main" id="{09905963-84B9-C1EB-9D39-A7D0358BD280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683568" y="4089209"/>
                  <a:ext cx="936299" cy="705312"/>
                  <a:chOff x="9990467" y="4838701"/>
                  <a:chExt cx="1203326" cy="906463"/>
                </a:xfrm>
              </p:grpSpPr>
              <p:sp>
                <p:nvSpPr>
                  <p:cNvPr id="23" name="Freeform 277">
                    <a:extLst>
                      <a:ext uri="{FF2B5EF4-FFF2-40B4-BE49-F238E27FC236}">
                        <a16:creationId xmlns:a16="http://schemas.microsoft.com/office/drawing/2014/main" id="{20D6A8DB-85C7-2C99-760A-B2635D1AFAD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990467" y="4922838"/>
                    <a:ext cx="176213" cy="80963"/>
                  </a:xfrm>
                  <a:custGeom>
                    <a:avLst/>
                    <a:gdLst>
                      <a:gd name="T0" fmla="*/ 37 w 89"/>
                      <a:gd name="T1" fmla="*/ 27 h 42"/>
                      <a:gd name="T2" fmla="*/ 13 w 89"/>
                      <a:gd name="T3" fmla="*/ 29 h 42"/>
                      <a:gd name="T4" fmla="*/ 17 w 89"/>
                      <a:gd name="T5" fmla="*/ 24 h 42"/>
                      <a:gd name="T6" fmla="*/ 24 w 89"/>
                      <a:gd name="T7" fmla="*/ 21 h 42"/>
                      <a:gd name="T8" fmla="*/ 10 w 89"/>
                      <a:gd name="T9" fmla="*/ 8 h 42"/>
                      <a:gd name="T10" fmla="*/ 6 w 89"/>
                      <a:gd name="T11" fmla="*/ 8 h 42"/>
                      <a:gd name="T12" fmla="*/ 3 w 89"/>
                      <a:gd name="T13" fmla="*/ 5 h 42"/>
                      <a:gd name="T14" fmla="*/ 10 w 89"/>
                      <a:gd name="T15" fmla="*/ 4 h 42"/>
                      <a:gd name="T16" fmla="*/ 2 w 89"/>
                      <a:gd name="T17" fmla="*/ 3 h 42"/>
                      <a:gd name="T18" fmla="*/ 1 w 89"/>
                      <a:gd name="T19" fmla="*/ 0 h 42"/>
                      <a:gd name="T20" fmla="*/ 18 w 89"/>
                      <a:gd name="T21" fmla="*/ 1 h 42"/>
                      <a:gd name="T22" fmla="*/ 37 w 89"/>
                      <a:gd name="T23" fmla="*/ 16 h 42"/>
                      <a:gd name="T24" fmla="*/ 88 w 89"/>
                      <a:gd name="T25" fmla="*/ 24 h 42"/>
                      <a:gd name="T26" fmla="*/ 84 w 89"/>
                      <a:gd name="T27" fmla="*/ 42 h 42"/>
                      <a:gd name="T28" fmla="*/ 37 w 89"/>
                      <a:gd name="T29" fmla="*/ 27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89" h="42">
                        <a:moveTo>
                          <a:pt x="37" y="27"/>
                        </a:moveTo>
                        <a:cubicBezTo>
                          <a:pt x="28" y="27"/>
                          <a:pt x="13" y="29"/>
                          <a:pt x="13" y="29"/>
                        </a:cubicBezTo>
                        <a:cubicBezTo>
                          <a:pt x="13" y="29"/>
                          <a:pt x="14" y="24"/>
                          <a:pt x="17" y="24"/>
                        </a:cubicBezTo>
                        <a:cubicBezTo>
                          <a:pt x="23" y="23"/>
                          <a:pt x="24" y="21"/>
                          <a:pt x="24" y="21"/>
                        </a:cubicBezTo>
                        <a:cubicBezTo>
                          <a:pt x="10" y="8"/>
                          <a:pt x="10" y="8"/>
                          <a:pt x="10" y="8"/>
                        </a:cubicBezTo>
                        <a:cubicBezTo>
                          <a:pt x="6" y="8"/>
                          <a:pt x="6" y="8"/>
                          <a:pt x="6" y="8"/>
                        </a:cubicBezTo>
                        <a:cubicBezTo>
                          <a:pt x="3" y="5"/>
                          <a:pt x="3" y="5"/>
                          <a:pt x="3" y="5"/>
                        </a:cubicBezTo>
                        <a:cubicBezTo>
                          <a:pt x="10" y="4"/>
                          <a:pt x="10" y="4"/>
                          <a:pt x="10" y="4"/>
                        </a:cubicBezTo>
                        <a:cubicBezTo>
                          <a:pt x="10" y="4"/>
                          <a:pt x="3" y="4"/>
                          <a:pt x="2" y="3"/>
                        </a:cubicBezTo>
                        <a:cubicBezTo>
                          <a:pt x="1" y="2"/>
                          <a:pt x="0" y="0"/>
                          <a:pt x="1" y="0"/>
                        </a:cubicBezTo>
                        <a:cubicBezTo>
                          <a:pt x="9" y="0"/>
                          <a:pt x="17" y="0"/>
                          <a:pt x="18" y="1"/>
                        </a:cubicBezTo>
                        <a:cubicBezTo>
                          <a:pt x="20" y="2"/>
                          <a:pt x="37" y="16"/>
                          <a:pt x="37" y="16"/>
                        </a:cubicBezTo>
                        <a:cubicBezTo>
                          <a:pt x="88" y="24"/>
                          <a:pt x="88" y="24"/>
                          <a:pt x="88" y="24"/>
                        </a:cubicBezTo>
                        <a:cubicBezTo>
                          <a:pt x="88" y="24"/>
                          <a:pt x="89" y="34"/>
                          <a:pt x="84" y="42"/>
                        </a:cubicBezTo>
                        <a:cubicBezTo>
                          <a:pt x="84" y="42"/>
                          <a:pt x="37" y="27"/>
                          <a:pt x="37" y="27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" name="Freeform 220">
                    <a:extLst>
                      <a:ext uri="{FF2B5EF4-FFF2-40B4-BE49-F238E27FC236}">
                        <a16:creationId xmlns:a16="http://schemas.microsoft.com/office/drawing/2014/main" id="{7AA16B97-2F84-56CD-5CE5-3F84471EDBA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00042" y="4918076"/>
                    <a:ext cx="52388" cy="66675"/>
                  </a:xfrm>
                  <a:custGeom>
                    <a:avLst/>
                    <a:gdLst>
                      <a:gd name="T0" fmla="*/ 18 w 28"/>
                      <a:gd name="T1" fmla="*/ 23 h 36"/>
                      <a:gd name="T2" fmla="*/ 24 w 28"/>
                      <a:gd name="T3" fmla="*/ 33 h 36"/>
                      <a:gd name="T4" fmla="*/ 28 w 28"/>
                      <a:gd name="T5" fmla="*/ 33 h 36"/>
                      <a:gd name="T6" fmla="*/ 26 w 28"/>
                      <a:gd name="T7" fmla="*/ 17 h 36"/>
                      <a:gd name="T8" fmla="*/ 15 w 28"/>
                      <a:gd name="T9" fmla="*/ 7 h 36"/>
                      <a:gd name="T10" fmla="*/ 25 w 28"/>
                      <a:gd name="T11" fmla="*/ 6 h 36"/>
                      <a:gd name="T12" fmla="*/ 24 w 28"/>
                      <a:gd name="T13" fmla="*/ 1 h 36"/>
                      <a:gd name="T14" fmla="*/ 7 w 28"/>
                      <a:gd name="T15" fmla="*/ 0 h 36"/>
                      <a:gd name="T16" fmla="*/ 0 w 28"/>
                      <a:gd name="T17" fmla="*/ 1 h 36"/>
                      <a:gd name="T18" fmla="*/ 9 w 28"/>
                      <a:gd name="T19" fmla="*/ 9 h 36"/>
                      <a:gd name="T20" fmla="*/ 18 w 28"/>
                      <a:gd name="T21" fmla="*/ 23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8" h="36">
                        <a:moveTo>
                          <a:pt x="18" y="23"/>
                        </a:moveTo>
                        <a:cubicBezTo>
                          <a:pt x="20" y="26"/>
                          <a:pt x="24" y="32"/>
                          <a:pt x="24" y="33"/>
                        </a:cubicBezTo>
                        <a:cubicBezTo>
                          <a:pt x="25" y="36"/>
                          <a:pt x="28" y="33"/>
                          <a:pt x="28" y="33"/>
                        </a:cubicBezTo>
                        <a:cubicBezTo>
                          <a:pt x="28" y="33"/>
                          <a:pt x="27" y="20"/>
                          <a:pt x="26" y="17"/>
                        </a:cubicBezTo>
                        <a:cubicBezTo>
                          <a:pt x="26" y="15"/>
                          <a:pt x="15" y="7"/>
                          <a:pt x="15" y="7"/>
                        </a:cubicBezTo>
                        <a:cubicBezTo>
                          <a:pt x="25" y="6"/>
                          <a:pt x="25" y="6"/>
                          <a:pt x="25" y="6"/>
                        </a:cubicBezTo>
                        <a:cubicBezTo>
                          <a:pt x="24" y="1"/>
                          <a:pt x="24" y="1"/>
                          <a:pt x="24" y="1"/>
                        </a:cubicBezTo>
                        <a:cubicBezTo>
                          <a:pt x="24" y="1"/>
                          <a:pt x="15" y="1"/>
                          <a:pt x="7" y="0"/>
                        </a:cubicBezTo>
                        <a:cubicBezTo>
                          <a:pt x="3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9" y="9"/>
                        </a:cubicBezTo>
                        <a:cubicBezTo>
                          <a:pt x="18" y="15"/>
                          <a:pt x="18" y="21"/>
                          <a:pt x="18" y="2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" name="Freeform 260">
                    <a:extLst>
                      <a:ext uri="{FF2B5EF4-FFF2-40B4-BE49-F238E27FC236}">
                        <a16:creationId xmlns:a16="http://schemas.microsoft.com/office/drawing/2014/main" id="{0796493C-E43E-38F6-0187-E1DB7F1C169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58805" y="5259389"/>
                    <a:ext cx="534988" cy="322263"/>
                  </a:xfrm>
                  <a:custGeom>
                    <a:avLst/>
                    <a:gdLst>
                      <a:gd name="T0" fmla="*/ 270 w 272"/>
                      <a:gd name="T1" fmla="*/ 136 h 164"/>
                      <a:gd name="T2" fmla="*/ 262 w 272"/>
                      <a:gd name="T3" fmla="*/ 138 h 164"/>
                      <a:gd name="T4" fmla="*/ 271 w 272"/>
                      <a:gd name="T5" fmla="*/ 147 h 164"/>
                      <a:gd name="T6" fmla="*/ 272 w 272"/>
                      <a:gd name="T7" fmla="*/ 157 h 164"/>
                      <a:gd name="T8" fmla="*/ 269 w 272"/>
                      <a:gd name="T9" fmla="*/ 157 h 164"/>
                      <a:gd name="T10" fmla="*/ 265 w 272"/>
                      <a:gd name="T11" fmla="*/ 150 h 164"/>
                      <a:gd name="T12" fmla="*/ 251 w 272"/>
                      <a:gd name="T13" fmla="*/ 141 h 164"/>
                      <a:gd name="T14" fmla="*/ 146 w 272"/>
                      <a:gd name="T15" fmla="*/ 156 h 164"/>
                      <a:gd name="T16" fmla="*/ 92 w 272"/>
                      <a:gd name="T17" fmla="*/ 164 h 164"/>
                      <a:gd name="T18" fmla="*/ 65 w 272"/>
                      <a:gd name="T19" fmla="*/ 148 h 164"/>
                      <a:gd name="T20" fmla="*/ 0 w 272"/>
                      <a:gd name="T21" fmla="*/ 9 h 164"/>
                      <a:gd name="T22" fmla="*/ 76 w 272"/>
                      <a:gd name="T23" fmla="*/ 19 h 164"/>
                      <a:gd name="T24" fmla="*/ 93 w 272"/>
                      <a:gd name="T25" fmla="*/ 134 h 164"/>
                      <a:gd name="T26" fmla="*/ 251 w 272"/>
                      <a:gd name="T27" fmla="*/ 132 h 164"/>
                      <a:gd name="T28" fmla="*/ 257 w 272"/>
                      <a:gd name="T29" fmla="*/ 132 h 164"/>
                      <a:gd name="T30" fmla="*/ 270 w 272"/>
                      <a:gd name="T31" fmla="*/ 133 h 164"/>
                      <a:gd name="T32" fmla="*/ 270 w 272"/>
                      <a:gd name="T33" fmla="*/ 136 h 1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272" h="164">
                        <a:moveTo>
                          <a:pt x="270" y="136"/>
                        </a:moveTo>
                        <a:cubicBezTo>
                          <a:pt x="262" y="138"/>
                          <a:pt x="262" y="138"/>
                          <a:pt x="262" y="138"/>
                        </a:cubicBezTo>
                        <a:cubicBezTo>
                          <a:pt x="271" y="147"/>
                          <a:pt x="271" y="147"/>
                          <a:pt x="271" y="147"/>
                        </a:cubicBezTo>
                        <a:cubicBezTo>
                          <a:pt x="272" y="157"/>
                          <a:pt x="272" y="157"/>
                          <a:pt x="272" y="157"/>
                        </a:cubicBezTo>
                        <a:cubicBezTo>
                          <a:pt x="272" y="157"/>
                          <a:pt x="270" y="159"/>
                          <a:pt x="269" y="157"/>
                        </a:cubicBezTo>
                        <a:cubicBezTo>
                          <a:pt x="269" y="156"/>
                          <a:pt x="265" y="150"/>
                          <a:pt x="265" y="150"/>
                        </a:cubicBezTo>
                        <a:cubicBezTo>
                          <a:pt x="251" y="141"/>
                          <a:pt x="251" y="141"/>
                          <a:pt x="251" y="141"/>
                        </a:cubicBezTo>
                        <a:cubicBezTo>
                          <a:pt x="146" y="156"/>
                          <a:pt x="146" y="156"/>
                          <a:pt x="146" y="156"/>
                        </a:cubicBezTo>
                        <a:cubicBezTo>
                          <a:pt x="92" y="164"/>
                          <a:pt x="92" y="164"/>
                          <a:pt x="92" y="164"/>
                        </a:cubicBezTo>
                        <a:cubicBezTo>
                          <a:pt x="92" y="164"/>
                          <a:pt x="76" y="163"/>
                          <a:pt x="65" y="148"/>
                        </a:cubicBezTo>
                        <a:cubicBezTo>
                          <a:pt x="62" y="143"/>
                          <a:pt x="0" y="9"/>
                          <a:pt x="0" y="9"/>
                        </a:cubicBezTo>
                        <a:cubicBezTo>
                          <a:pt x="0" y="9"/>
                          <a:pt x="64" y="0"/>
                          <a:pt x="76" y="19"/>
                        </a:cubicBezTo>
                        <a:cubicBezTo>
                          <a:pt x="91" y="45"/>
                          <a:pt x="92" y="106"/>
                          <a:pt x="93" y="134"/>
                        </a:cubicBezTo>
                        <a:cubicBezTo>
                          <a:pt x="105" y="124"/>
                          <a:pt x="196" y="133"/>
                          <a:pt x="251" y="132"/>
                        </a:cubicBezTo>
                        <a:cubicBezTo>
                          <a:pt x="253" y="132"/>
                          <a:pt x="257" y="132"/>
                          <a:pt x="257" y="132"/>
                        </a:cubicBezTo>
                        <a:cubicBezTo>
                          <a:pt x="270" y="133"/>
                          <a:pt x="270" y="133"/>
                          <a:pt x="270" y="133"/>
                        </a:cubicBezTo>
                        <a:lnTo>
                          <a:pt x="270" y="136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" name="Freeform 261">
                    <a:extLst>
                      <a:ext uri="{FF2B5EF4-FFF2-40B4-BE49-F238E27FC236}">
                        <a16:creationId xmlns:a16="http://schemas.microsoft.com/office/drawing/2014/main" id="{45B5220F-BD25-FA5C-60BD-F57F702B644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52517" y="5516564"/>
                    <a:ext cx="41275" cy="57150"/>
                  </a:xfrm>
                  <a:custGeom>
                    <a:avLst/>
                    <a:gdLst>
                      <a:gd name="T0" fmla="*/ 14 w 21"/>
                      <a:gd name="T1" fmla="*/ 19 h 29"/>
                      <a:gd name="T2" fmla="*/ 18 w 21"/>
                      <a:gd name="T3" fmla="*/ 26 h 29"/>
                      <a:gd name="T4" fmla="*/ 21 w 21"/>
                      <a:gd name="T5" fmla="*/ 27 h 29"/>
                      <a:gd name="T6" fmla="*/ 20 w 21"/>
                      <a:gd name="T7" fmla="*/ 15 h 29"/>
                      <a:gd name="T8" fmla="*/ 11 w 21"/>
                      <a:gd name="T9" fmla="*/ 7 h 29"/>
                      <a:gd name="T10" fmla="*/ 19 w 21"/>
                      <a:gd name="T11" fmla="*/ 5 h 29"/>
                      <a:gd name="T12" fmla="*/ 19 w 21"/>
                      <a:gd name="T13" fmla="*/ 1 h 29"/>
                      <a:gd name="T14" fmla="*/ 6 w 21"/>
                      <a:gd name="T15" fmla="*/ 1 h 29"/>
                      <a:gd name="T16" fmla="*/ 0 w 21"/>
                      <a:gd name="T17" fmla="*/ 1 h 29"/>
                      <a:gd name="T18" fmla="*/ 6 w 21"/>
                      <a:gd name="T19" fmla="*/ 8 h 29"/>
                      <a:gd name="T20" fmla="*/ 14 w 21"/>
                      <a:gd name="T21" fmla="*/ 19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1" h="29">
                        <a:moveTo>
                          <a:pt x="14" y="19"/>
                        </a:moveTo>
                        <a:cubicBezTo>
                          <a:pt x="15" y="21"/>
                          <a:pt x="18" y="26"/>
                          <a:pt x="18" y="26"/>
                        </a:cubicBezTo>
                        <a:cubicBezTo>
                          <a:pt x="19" y="29"/>
                          <a:pt x="21" y="27"/>
                          <a:pt x="21" y="27"/>
                        </a:cubicBezTo>
                        <a:cubicBezTo>
                          <a:pt x="21" y="27"/>
                          <a:pt x="20" y="17"/>
                          <a:pt x="20" y="15"/>
                        </a:cubicBezTo>
                        <a:cubicBezTo>
                          <a:pt x="20" y="12"/>
                          <a:pt x="11" y="7"/>
                          <a:pt x="11" y="7"/>
                        </a:cubicBezTo>
                        <a:cubicBezTo>
                          <a:pt x="19" y="5"/>
                          <a:pt x="19" y="5"/>
                          <a:pt x="19" y="5"/>
                        </a:cubicBezTo>
                        <a:cubicBezTo>
                          <a:pt x="19" y="1"/>
                          <a:pt x="19" y="1"/>
                          <a:pt x="19" y="1"/>
                        </a:cubicBezTo>
                        <a:cubicBezTo>
                          <a:pt x="19" y="1"/>
                          <a:pt x="11" y="1"/>
                          <a:pt x="6" y="1"/>
                        </a:cubicBezTo>
                        <a:cubicBezTo>
                          <a:pt x="2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6" y="8"/>
                        </a:cubicBezTo>
                        <a:cubicBezTo>
                          <a:pt x="14" y="12"/>
                          <a:pt x="13" y="17"/>
                          <a:pt x="14" y="1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" name="Freeform 262">
                    <a:extLst>
                      <a:ext uri="{FF2B5EF4-FFF2-40B4-BE49-F238E27FC236}">
                        <a16:creationId xmlns:a16="http://schemas.microsoft.com/office/drawing/2014/main" id="{FF9C2C64-3286-54EB-318A-CBD36D9AE08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39692" y="4965701"/>
                    <a:ext cx="346075" cy="90488"/>
                  </a:xfrm>
                  <a:custGeom>
                    <a:avLst/>
                    <a:gdLst>
                      <a:gd name="T0" fmla="*/ 3 w 176"/>
                      <a:gd name="T1" fmla="*/ 0 h 46"/>
                      <a:gd name="T2" fmla="*/ 47 w 176"/>
                      <a:gd name="T3" fmla="*/ 6 h 46"/>
                      <a:gd name="T4" fmla="*/ 133 w 176"/>
                      <a:gd name="T5" fmla="*/ 5 h 46"/>
                      <a:gd name="T6" fmla="*/ 167 w 176"/>
                      <a:gd name="T7" fmla="*/ 22 h 46"/>
                      <a:gd name="T8" fmla="*/ 145 w 176"/>
                      <a:gd name="T9" fmla="*/ 46 h 46"/>
                      <a:gd name="T10" fmla="*/ 0 w 176"/>
                      <a:gd name="T11" fmla="*/ 19 h 46"/>
                      <a:gd name="T12" fmla="*/ 3 w 176"/>
                      <a:gd name="T13" fmla="*/ 0 h 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76" h="46">
                        <a:moveTo>
                          <a:pt x="3" y="0"/>
                        </a:moveTo>
                        <a:cubicBezTo>
                          <a:pt x="10" y="1"/>
                          <a:pt x="29" y="5"/>
                          <a:pt x="47" y="6"/>
                        </a:cubicBezTo>
                        <a:cubicBezTo>
                          <a:pt x="79" y="8"/>
                          <a:pt x="93" y="6"/>
                          <a:pt x="133" y="5"/>
                        </a:cubicBezTo>
                        <a:cubicBezTo>
                          <a:pt x="176" y="3"/>
                          <a:pt x="167" y="22"/>
                          <a:pt x="167" y="22"/>
                        </a:cubicBezTo>
                        <a:cubicBezTo>
                          <a:pt x="167" y="22"/>
                          <a:pt x="152" y="40"/>
                          <a:pt x="145" y="46"/>
                        </a:cubicBezTo>
                        <a:cubicBezTo>
                          <a:pt x="68" y="36"/>
                          <a:pt x="21" y="25"/>
                          <a:pt x="0" y="19"/>
                        </a:cubicBezTo>
                        <a:cubicBezTo>
                          <a:pt x="0" y="19"/>
                          <a:pt x="1" y="4"/>
                          <a:pt x="3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" name="Freeform 263">
                    <a:extLst>
                      <a:ext uri="{FF2B5EF4-FFF2-40B4-BE49-F238E27FC236}">
                        <a16:creationId xmlns:a16="http://schemas.microsoft.com/office/drawing/2014/main" id="{DD768960-9BB2-A17A-F5D6-C81104E87B1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74642" y="4941889"/>
                    <a:ext cx="420688" cy="288925"/>
                  </a:xfrm>
                  <a:custGeom>
                    <a:avLst/>
                    <a:gdLst>
                      <a:gd name="T0" fmla="*/ 126 w 214"/>
                      <a:gd name="T1" fmla="*/ 147 h 147"/>
                      <a:gd name="T2" fmla="*/ 63 w 214"/>
                      <a:gd name="T3" fmla="*/ 110 h 147"/>
                      <a:gd name="T4" fmla="*/ 7 w 214"/>
                      <a:gd name="T5" fmla="*/ 22 h 147"/>
                      <a:gd name="T6" fmla="*/ 28 w 214"/>
                      <a:gd name="T7" fmla="*/ 8 h 147"/>
                      <a:gd name="T8" fmla="*/ 130 w 214"/>
                      <a:gd name="T9" fmla="*/ 44 h 147"/>
                      <a:gd name="T10" fmla="*/ 214 w 214"/>
                      <a:gd name="T11" fmla="*/ 136 h 147"/>
                      <a:gd name="T12" fmla="*/ 126 w 214"/>
                      <a:gd name="T13" fmla="*/ 147 h 1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14" h="147">
                        <a:moveTo>
                          <a:pt x="126" y="147"/>
                        </a:moveTo>
                        <a:cubicBezTo>
                          <a:pt x="123" y="141"/>
                          <a:pt x="112" y="111"/>
                          <a:pt x="63" y="110"/>
                        </a:cubicBezTo>
                        <a:cubicBezTo>
                          <a:pt x="0" y="108"/>
                          <a:pt x="7" y="22"/>
                          <a:pt x="7" y="22"/>
                        </a:cubicBezTo>
                        <a:cubicBezTo>
                          <a:pt x="7" y="22"/>
                          <a:pt x="18" y="11"/>
                          <a:pt x="28" y="8"/>
                        </a:cubicBezTo>
                        <a:cubicBezTo>
                          <a:pt x="53" y="0"/>
                          <a:pt x="94" y="11"/>
                          <a:pt x="130" y="44"/>
                        </a:cubicBezTo>
                        <a:cubicBezTo>
                          <a:pt x="181" y="90"/>
                          <a:pt x="214" y="136"/>
                          <a:pt x="214" y="136"/>
                        </a:cubicBezTo>
                        <a:cubicBezTo>
                          <a:pt x="214" y="136"/>
                          <a:pt x="175" y="134"/>
                          <a:pt x="126" y="147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" name="Freeform 264">
                    <a:extLst>
                      <a:ext uri="{FF2B5EF4-FFF2-40B4-BE49-F238E27FC236}">
                        <a16:creationId xmlns:a16="http://schemas.microsoft.com/office/drawing/2014/main" id="{0A216084-3B1C-F9CC-C1BA-3EAB34702B7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5580" y="5221289"/>
                    <a:ext cx="611188" cy="523875"/>
                  </a:xfrm>
                  <a:custGeom>
                    <a:avLst/>
                    <a:gdLst>
                      <a:gd name="T0" fmla="*/ 2 w 311"/>
                      <a:gd name="T1" fmla="*/ 259 h 267"/>
                      <a:gd name="T2" fmla="*/ 10 w 311"/>
                      <a:gd name="T3" fmla="*/ 257 h 267"/>
                      <a:gd name="T4" fmla="*/ 22 w 311"/>
                      <a:gd name="T5" fmla="*/ 247 h 267"/>
                      <a:gd name="T6" fmla="*/ 44 w 311"/>
                      <a:gd name="T7" fmla="*/ 81 h 267"/>
                      <a:gd name="T8" fmla="*/ 44 w 311"/>
                      <a:gd name="T9" fmla="*/ 81 h 267"/>
                      <a:gd name="T10" fmla="*/ 66 w 311"/>
                      <a:gd name="T11" fmla="*/ 42 h 267"/>
                      <a:gd name="T12" fmla="*/ 276 w 311"/>
                      <a:gd name="T13" fmla="*/ 0 h 267"/>
                      <a:gd name="T14" fmla="*/ 213 w 311"/>
                      <a:gd name="T15" fmla="*/ 71 h 267"/>
                      <a:gd name="T16" fmla="*/ 82 w 311"/>
                      <a:gd name="T17" fmla="*/ 79 h 267"/>
                      <a:gd name="T18" fmla="*/ 31 w 311"/>
                      <a:gd name="T19" fmla="*/ 249 h 267"/>
                      <a:gd name="T20" fmla="*/ 29 w 311"/>
                      <a:gd name="T21" fmla="*/ 255 h 267"/>
                      <a:gd name="T22" fmla="*/ 25 w 311"/>
                      <a:gd name="T23" fmla="*/ 267 h 267"/>
                      <a:gd name="T24" fmla="*/ 22 w 311"/>
                      <a:gd name="T25" fmla="*/ 266 h 267"/>
                      <a:gd name="T26" fmla="*/ 22 w 311"/>
                      <a:gd name="T27" fmla="*/ 259 h 267"/>
                      <a:gd name="T28" fmla="*/ 11 w 311"/>
                      <a:gd name="T29" fmla="*/ 264 h 267"/>
                      <a:gd name="T30" fmla="*/ 1 w 311"/>
                      <a:gd name="T31" fmla="*/ 262 h 267"/>
                      <a:gd name="T32" fmla="*/ 2 w 311"/>
                      <a:gd name="T33" fmla="*/ 259 h 2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11" h="267">
                        <a:moveTo>
                          <a:pt x="2" y="259"/>
                        </a:moveTo>
                        <a:cubicBezTo>
                          <a:pt x="3" y="259"/>
                          <a:pt x="10" y="257"/>
                          <a:pt x="10" y="257"/>
                        </a:cubicBezTo>
                        <a:cubicBezTo>
                          <a:pt x="22" y="247"/>
                          <a:pt x="22" y="247"/>
                          <a:pt x="22" y="247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2" y="52"/>
                          <a:pt x="66" y="42"/>
                          <a:pt x="66" y="42"/>
                        </a:cubicBezTo>
                        <a:cubicBezTo>
                          <a:pt x="276" y="0"/>
                          <a:pt x="276" y="0"/>
                          <a:pt x="276" y="0"/>
                        </a:cubicBezTo>
                        <a:cubicBezTo>
                          <a:pt x="276" y="0"/>
                          <a:pt x="311" y="59"/>
                          <a:pt x="213" y="71"/>
                        </a:cubicBezTo>
                        <a:cubicBezTo>
                          <a:pt x="182" y="74"/>
                          <a:pt x="161" y="70"/>
                          <a:pt x="82" y="79"/>
                        </a:cubicBezTo>
                        <a:cubicBezTo>
                          <a:pt x="99" y="107"/>
                          <a:pt x="31" y="249"/>
                          <a:pt x="31" y="249"/>
                        </a:cubicBezTo>
                        <a:cubicBezTo>
                          <a:pt x="29" y="255"/>
                          <a:pt x="29" y="255"/>
                          <a:pt x="29" y="255"/>
                        </a:cubicBezTo>
                        <a:cubicBezTo>
                          <a:pt x="25" y="267"/>
                          <a:pt x="25" y="267"/>
                          <a:pt x="25" y="267"/>
                        </a:cubicBezTo>
                        <a:cubicBezTo>
                          <a:pt x="22" y="266"/>
                          <a:pt x="22" y="266"/>
                          <a:pt x="22" y="266"/>
                        </a:cubicBezTo>
                        <a:cubicBezTo>
                          <a:pt x="22" y="259"/>
                          <a:pt x="22" y="259"/>
                          <a:pt x="22" y="259"/>
                        </a:cubicBezTo>
                        <a:cubicBezTo>
                          <a:pt x="11" y="264"/>
                          <a:pt x="11" y="264"/>
                          <a:pt x="11" y="264"/>
                        </a:cubicBezTo>
                        <a:cubicBezTo>
                          <a:pt x="1" y="262"/>
                          <a:pt x="1" y="262"/>
                          <a:pt x="1" y="262"/>
                        </a:cubicBezTo>
                        <a:cubicBezTo>
                          <a:pt x="1" y="262"/>
                          <a:pt x="0" y="259"/>
                          <a:pt x="2" y="25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" name="Freeform 265">
                    <a:extLst>
                      <a:ext uri="{FF2B5EF4-FFF2-40B4-BE49-F238E27FC236}">
                        <a16:creationId xmlns:a16="http://schemas.microsoft.com/office/drawing/2014/main" id="{5D804BE9-A641-9644-C2AC-710E6A08C4E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4167" y="5197476"/>
                    <a:ext cx="487363" cy="219075"/>
                  </a:xfrm>
                  <a:custGeom>
                    <a:avLst/>
                    <a:gdLst>
                      <a:gd name="T0" fmla="*/ 206 w 248"/>
                      <a:gd name="T1" fmla="*/ 0 h 112"/>
                      <a:gd name="T2" fmla="*/ 248 w 248"/>
                      <a:gd name="T3" fmla="*/ 97 h 112"/>
                      <a:gd name="T4" fmla="*/ 26 w 248"/>
                      <a:gd name="T5" fmla="*/ 83 h 112"/>
                      <a:gd name="T6" fmla="*/ 0 w 248"/>
                      <a:gd name="T7" fmla="*/ 52 h 112"/>
                      <a:gd name="T8" fmla="*/ 206 w 248"/>
                      <a:gd name="T9" fmla="*/ 0 h 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8" h="112">
                        <a:moveTo>
                          <a:pt x="206" y="0"/>
                        </a:moveTo>
                        <a:cubicBezTo>
                          <a:pt x="240" y="22"/>
                          <a:pt x="215" y="69"/>
                          <a:pt x="248" y="97"/>
                        </a:cubicBezTo>
                        <a:cubicBezTo>
                          <a:pt x="219" y="112"/>
                          <a:pt x="79" y="112"/>
                          <a:pt x="26" y="83"/>
                        </a:cubicBezTo>
                        <a:cubicBezTo>
                          <a:pt x="4" y="71"/>
                          <a:pt x="0" y="52"/>
                          <a:pt x="0" y="52"/>
                        </a:cubicBezTo>
                        <a:cubicBezTo>
                          <a:pt x="0" y="52"/>
                          <a:pt x="177" y="6"/>
                          <a:pt x="206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" name="Freeform 266">
                    <a:extLst>
                      <a:ext uri="{FF2B5EF4-FFF2-40B4-BE49-F238E27FC236}">
                        <a16:creationId xmlns:a16="http://schemas.microsoft.com/office/drawing/2014/main" id="{D142E248-BA3E-5650-7975-ED65125ABCB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2105" y="4964114"/>
                    <a:ext cx="63500" cy="134938"/>
                  </a:xfrm>
                  <a:custGeom>
                    <a:avLst/>
                    <a:gdLst>
                      <a:gd name="T0" fmla="*/ 32 w 32"/>
                      <a:gd name="T1" fmla="*/ 69 h 69"/>
                      <a:gd name="T2" fmla="*/ 20 w 32"/>
                      <a:gd name="T3" fmla="*/ 0 h 69"/>
                      <a:gd name="T4" fmla="*/ 4 w 32"/>
                      <a:gd name="T5" fmla="*/ 14 h 69"/>
                      <a:gd name="T6" fmla="*/ 32 w 32"/>
                      <a:gd name="T7" fmla="*/ 69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2" h="69">
                        <a:moveTo>
                          <a:pt x="32" y="69"/>
                        </a:moveTo>
                        <a:cubicBezTo>
                          <a:pt x="32" y="69"/>
                          <a:pt x="7" y="24"/>
                          <a:pt x="20" y="0"/>
                        </a:cubicBezTo>
                        <a:cubicBezTo>
                          <a:pt x="17" y="5"/>
                          <a:pt x="12" y="15"/>
                          <a:pt x="4" y="14"/>
                        </a:cubicBezTo>
                        <a:cubicBezTo>
                          <a:pt x="0" y="41"/>
                          <a:pt x="32" y="69"/>
                          <a:pt x="32" y="6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" name="Freeform 267">
                    <a:extLst>
                      <a:ext uri="{FF2B5EF4-FFF2-40B4-BE49-F238E27FC236}">
                        <a16:creationId xmlns:a16="http://schemas.microsoft.com/office/drawing/2014/main" id="{35694585-DDB3-4EFE-292B-02DDD34912C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69880" y="4946651"/>
                    <a:ext cx="88900" cy="160338"/>
                  </a:xfrm>
                  <a:custGeom>
                    <a:avLst/>
                    <a:gdLst>
                      <a:gd name="T0" fmla="*/ 45 w 45"/>
                      <a:gd name="T1" fmla="*/ 82 h 82"/>
                      <a:gd name="T2" fmla="*/ 17 w 45"/>
                      <a:gd name="T3" fmla="*/ 19 h 82"/>
                      <a:gd name="T4" fmla="*/ 12 w 45"/>
                      <a:gd name="T5" fmla="*/ 12 h 82"/>
                      <a:gd name="T6" fmla="*/ 45 w 45"/>
                      <a:gd name="T7" fmla="*/ 82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5" h="82">
                        <a:moveTo>
                          <a:pt x="45" y="82"/>
                        </a:moveTo>
                        <a:cubicBezTo>
                          <a:pt x="45" y="82"/>
                          <a:pt x="15" y="54"/>
                          <a:pt x="17" y="19"/>
                        </a:cubicBezTo>
                        <a:cubicBezTo>
                          <a:pt x="17" y="9"/>
                          <a:pt x="15" y="0"/>
                          <a:pt x="12" y="12"/>
                        </a:cubicBezTo>
                        <a:cubicBezTo>
                          <a:pt x="0" y="63"/>
                          <a:pt x="45" y="82"/>
                          <a:pt x="45" y="8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" name="Freeform 268">
                    <a:extLst>
                      <a:ext uri="{FF2B5EF4-FFF2-40B4-BE49-F238E27FC236}">
                        <a16:creationId xmlns:a16="http://schemas.microsoft.com/office/drawing/2014/main" id="{196B5899-9183-46FA-DCE6-ABF65833A3A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3367" y="4899026"/>
                    <a:ext cx="103188" cy="93663"/>
                  </a:xfrm>
                  <a:custGeom>
                    <a:avLst/>
                    <a:gdLst>
                      <a:gd name="T0" fmla="*/ 52 w 53"/>
                      <a:gd name="T1" fmla="*/ 27 h 48"/>
                      <a:gd name="T2" fmla="*/ 42 w 53"/>
                      <a:gd name="T3" fmla="*/ 12 h 48"/>
                      <a:gd name="T4" fmla="*/ 30 w 53"/>
                      <a:gd name="T5" fmla="*/ 0 h 48"/>
                      <a:gd name="T6" fmla="*/ 24 w 53"/>
                      <a:gd name="T7" fmla="*/ 18 h 48"/>
                      <a:gd name="T8" fmla="*/ 13 w 53"/>
                      <a:gd name="T9" fmla="*/ 28 h 48"/>
                      <a:gd name="T10" fmla="*/ 0 w 53"/>
                      <a:gd name="T11" fmla="*/ 29 h 48"/>
                      <a:gd name="T12" fmla="*/ 36 w 53"/>
                      <a:gd name="T13" fmla="*/ 48 h 48"/>
                      <a:gd name="T14" fmla="*/ 52 w 53"/>
                      <a:gd name="T15" fmla="*/ 27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3" h="48">
                        <a:moveTo>
                          <a:pt x="52" y="27"/>
                        </a:moveTo>
                        <a:cubicBezTo>
                          <a:pt x="42" y="23"/>
                          <a:pt x="42" y="12"/>
                          <a:pt x="42" y="12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30" y="0"/>
                          <a:pt x="25" y="11"/>
                          <a:pt x="24" y="18"/>
                        </a:cubicBezTo>
                        <a:cubicBezTo>
                          <a:pt x="22" y="25"/>
                          <a:pt x="16" y="27"/>
                          <a:pt x="13" y="28"/>
                        </a:cubicBezTo>
                        <a:cubicBezTo>
                          <a:pt x="7" y="29"/>
                          <a:pt x="0" y="29"/>
                          <a:pt x="0" y="29"/>
                        </a:cubicBezTo>
                        <a:cubicBezTo>
                          <a:pt x="0" y="29"/>
                          <a:pt x="26" y="31"/>
                          <a:pt x="36" y="48"/>
                        </a:cubicBezTo>
                        <a:cubicBezTo>
                          <a:pt x="53" y="47"/>
                          <a:pt x="48" y="32"/>
                          <a:pt x="52" y="27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" name="Freeform 269">
                    <a:extLst>
                      <a:ext uri="{FF2B5EF4-FFF2-40B4-BE49-F238E27FC236}">
                        <a16:creationId xmlns:a16="http://schemas.microsoft.com/office/drawing/2014/main" id="{2E9BB419-17CB-D10C-D7E9-9517BD950F1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20667" y="4848226"/>
                    <a:ext cx="80963" cy="107950"/>
                  </a:xfrm>
                  <a:custGeom>
                    <a:avLst/>
                    <a:gdLst>
                      <a:gd name="T0" fmla="*/ 9 w 41"/>
                      <a:gd name="T1" fmla="*/ 55 h 55"/>
                      <a:gd name="T2" fmla="*/ 22 w 41"/>
                      <a:gd name="T3" fmla="*/ 55 h 55"/>
                      <a:gd name="T4" fmla="*/ 30 w 41"/>
                      <a:gd name="T5" fmla="*/ 48 h 55"/>
                      <a:gd name="T6" fmla="*/ 33 w 41"/>
                      <a:gd name="T7" fmla="*/ 36 h 55"/>
                      <a:gd name="T8" fmla="*/ 38 w 41"/>
                      <a:gd name="T9" fmla="*/ 32 h 55"/>
                      <a:gd name="T10" fmla="*/ 36 w 41"/>
                      <a:gd name="T11" fmla="*/ 24 h 55"/>
                      <a:gd name="T12" fmla="*/ 34 w 41"/>
                      <a:gd name="T13" fmla="*/ 3 h 55"/>
                      <a:gd name="T14" fmla="*/ 23 w 41"/>
                      <a:gd name="T15" fmla="*/ 0 h 55"/>
                      <a:gd name="T16" fmla="*/ 12 w 41"/>
                      <a:gd name="T17" fmla="*/ 8 h 55"/>
                      <a:gd name="T18" fmla="*/ 0 w 41"/>
                      <a:gd name="T19" fmla="*/ 30 h 55"/>
                      <a:gd name="T20" fmla="*/ 2 w 41"/>
                      <a:gd name="T21" fmla="*/ 32 h 55"/>
                      <a:gd name="T22" fmla="*/ 5 w 41"/>
                      <a:gd name="T23" fmla="*/ 33 h 55"/>
                      <a:gd name="T24" fmla="*/ 5 w 41"/>
                      <a:gd name="T25" fmla="*/ 54 h 55"/>
                      <a:gd name="T26" fmla="*/ 9 w 41"/>
                      <a:gd name="T27" fmla="*/ 55 h 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1" h="55">
                        <a:moveTo>
                          <a:pt x="9" y="55"/>
                        </a:moveTo>
                        <a:cubicBezTo>
                          <a:pt x="12" y="55"/>
                          <a:pt x="17" y="55"/>
                          <a:pt x="22" y="55"/>
                        </a:cubicBezTo>
                        <a:cubicBezTo>
                          <a:pt x="29" y="54"/>
                          <a:pt x="30" y="48"/>
                          <a:pt x="30" y="48"/>
                        </a:cubicBezTo>
                        <a:cubicBezTo>
                          <a:pt x="33" y="36"/>
                          <a:pt x="33" y="36"/>
                          <a:pt x="33" y="36"/>
                        </a:cubicBezTo>
                        <a:cubicBezTo>
                          <a:pt x="33" y="36"/>
                          <a:pt x="36" y="35"/>
                          <a:pt x="38" y="32"/>
                        </a:cubicBezTo>
                        <a:cubicBezTo>
                          <a:pt x="39" y="31"/>
                          <a:pt x="41" y="26"/>
                          <a:pt x="36" y="24"/>
                        </a:cubicBezTo>
                        <a:cubicBezTo>
                          <a:pt x="28" y="21"/>
                          <a:pt x="34" y="3"/>
                          <a:pt x="34" y="3"/>
                        </a:cubicBezTo>
                        <a:cubicBezTo>
                          <a:pt x="23" y="0"/>
                          <a:pt x="23" y="0"/>
                          <a:pt x="23" y="0"/>
                        </a:cubicBezTo>
                        <a:cubicBezTo>
                          <a:pt x="12" y="8"/>
                          <a:pt x="12" y="8"/>
                          <a:pt x="12" y="8"/>
                        </a:cubicBezTo>
                        <a:cubicBezTo>
                          <a:pt x="0" y="30"/>
                          <a:pt x="0" y="30"/>
                          <a:pt x="0" y="30"/>
                        </a:cubicBezTo>
                        <a:cubicBezTo>
                          <a:pt x="0" y="30"/>
                          <a:pt x="0" y="31"/>
                          <a:pt x="2" y="32"/>
                        </a:cubicBezTo>
                        <a:cubicBezTo>
                          <a:pt x="4" y="32"/>
                          <a:pt x="5" y="33"/>
                          <a:pt x="5" y="33"/>
                        </a:cubicBezTo>
                        <a:cubicBezTo>
                          <a:pt x="5" y="33"/>
                          <a:pt x="5" y="53"/>
                          <a:pt x="5" y="54"/>
                        </a:cubicBezTo>
                        <a:cubicBezTo>
                          <a:pt x="5" y="55"/>
                          <a:pt x="7" y="55"/>
                          <a:pt x="9" y="55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" name="Freeform 270">
                    <a:extLst>
                      <a:ext uri="{FF2B5EF4-FFF2-40B4-BE49-F238E27FC236}">
                        <a16:creationId xmlns:a16="http://schemas.microsoft.com/office/drawing/2014/main" id="{C5F76EF2-29BD-D28D-9878-2E22CDFF82A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44480" y="4838701"/>
                    <a:ext cx="92075" cy="85725"/>
                  </a:xfrm>
                  <a:custGeom>
                    <a:avLst/>
                    <a:gdLst>
                      <a:gd name="T0" fmla="*/ 45 w 47"/>
                      <a:gd name="T1" fmla="*/ 22 h 44"/>
                      <a:gd name="T2" fmla="*/ 44 w 47"/>
                      <a:gd name="T3" fmla="*/ 18 h 44"/>
                      <a:gd name="T4" fmla="*/ 25 w 47"/>
                      <a:gd name="T5" fmla="*/ 3 h 44"/>
                      <a:gd name="T6" fmla="*/ 0 w 47"/>
                      <a:gd name="T7" fmla="*/ 14 h 44"/>
                      <a:gd name="T8" fmla="*/ 14 w 47"/>
                      <a:gd name="T9" fmla="*/ 21 h 44"/>
                      <a:gd name="T10" fmla="*/ 21 w 47"/>
                      <a:gd name="T11" fmla="*/ 30 h 44"/>
                      <a:gd name="T12" fmla="*/ 27 w 47"/>
                      <a:gd name="T13" fmla="*/ 35 h 44"/>
                      <a:gd name="T14" fmla="*/ 36 w 47"/>
                      <a:gd name="T15" fmla="*/ 44 h 44"/>
                      <a:gd name="T16" fmla="*/ 45 w 47"/>
                      <a:gd name="T17" fmla="*/ 22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7" h="44">
                        <a:moveTo>
                          <a:pt x="45" y="22"/>
                        </a:moveTo>
                        <a:cubicBezTo>
                          <a:pt x="44" y="18"/>
                          <a:pt x="44" y="18"/>
                          <a:pt x="44" y="18"/>
                        </a:cubicBezTo>
                        <a:cubicBezTo>
                          <a:pt x="44" y="18"/>
                          <a:pt x="42" y="7"/>
                          <a:pt x="25" y="3"/>
                        </a:cubicBezTo>
                        <a:cubicBezTo>
                          <a:pt x="6" y="0"/>
                          <a:pt x="0" y="14"/>
                          <a:pt x="0" y="14"/>
                        </a:cubicBezTo>
                        <a:cubicBezTo>
                          <a:pt x="0" y="14"/>
                          <a:pt x="14" y="12"/>
                          <a:pt x="14" y="21"/>
                        </a:cubicBezTo>
                        <a:cubicBezTo>
                          <a:pt x="14" y="31"/>
                          <a:pt x="20" y="30"/>
                          <a:pt x="21" y="30"/>
                        </a:cubicBezTo>
                        <a:cubicBezTo>
                          <a:pt x="22" y="30"/>
                          <a:pt x="26" y="31"/>
                          <a:pt x="27" y="35"/>
                        </a:cubicBezTo>
                        <a:cubicBezTo>
                          <a:pt x="27" y="41"/>
                          <a:pt x="33" y="44"/>
                          <a:pt x="36" y="44"/>
                        </a:cubicBezTo>
                        <a:cubicBezTo>
                          <a:pt x="47" y="32"/>
                          <a:pt x="45" y="22"/>
                          <a:pt x="45" y="22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" name="Freeform 271">
                    <a:extLst>
                      <a:ext uri="{FF2B5EF4-FFF2-40B4-BE49-F238E27FC236}">
                        <a16:creationId xmlns:a16="http://schemas.microsoft.com/office/drawing/2014/main" id="{0D4AFB63-5D37-245D-8599-6E40B09BA6D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6542" y="4886326"/>
                    <a:ext cx="15875" cy="7938"/>
                  </a:xfrm>
                  <a:custGeom>
                    <a:avLst/>
                    <a:gdLst>
                      <a:gd name="T0" fmla="*/ 1 w 8"/>
                      <a:gd name="T1" fmla="*/ 3 h 4"/>
                      <a:gd name="T2" fmla="*/ 2 w 8"/>
                      <a:gd name="T3" fmla="*/ 4 h 4"/>
                      <a:gd name="T4" fmla="*/ 8 w 8"/>
                      <a:gd name="T5" fmla="*/ 4 h 4"/>
                      <a:gd name="T6" fmla="*/ 1 w 8"/>
                      <a:gd name="T7" fmla="*/ 1 h 4"/>
                      <a:gd name="T8" fmla="*/ 1 w 8"/>
                      <a:gd name="T9" fmla="*/ 3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" h="4">
                        <a:moveTo>
                          <a:pt x="1" y="3"/>
                        </a:moveTo>
                        <a:cubicBezTo>
                          <a:pt x="1" y="4"/>
                          <a:pt x="1" y="4"/>
                          <a:pt x="2" y="4"/>
                        </a:cubicBezTo>
                        <a:cubicBezTo>
                          <a:pt x="4" y="4"/>
                          <a:pt x="6" y="4"/>
                          <a:pt x="8" y="4"/>
                        </a:cubicBezTo>
                        <a:cubicBezTo>
                          <a:pt x="8" y="4"/>
                          <a:pt x="6" y="3"/>
                          <a:pt x="1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" name="Freeform 272">
                    <a:extLst>
                      <a:ext uri="{FF2B5EF4-FFF2-40B4-BE49-F238E27FC236}">
                        <a16:creationId xmlns:a16="http://schemas.microsoft.com/office/drawing/2014/main" id="{A398813E-6DFD-3393-4749-78540F16576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1792" y="4857751"/>
                    <a:ext cx="217488" cy="93663"/>
                  </a:xfrm>
                  <a:custGeom>
                    <a:avLst/>
                    <a:gdLst>
                      <a:gd name="T0" fmla="*/ 0 w 111"/>
                      <a:gd name="T1" fmla="*/ 8 h 48"/>
                      <a:gd name="T2" fmla="*/ 17 w 111"/>
                      <a:gd name="T3" fmla="*/ 1 h 48"/>
                      <a:gd name="T4" fmla="*/ 42 w 111"/>
                      <a:gd name="T5" fmla="*/ 11 h 48"/>
                      <a:gd name="T6" fmla="*/ 75 w 111"/>
                      <a:gd name="T7" fmla="*/ 12 h 48"/>
                      <a:gd name="T8" fmla="*/ 94 w 111"/>
                      <a:gd name="T9" fmla="*/ 19 h 48"/>
                      <a:gd name="T10" fmla="*/ 111 w 111"/>
                      <a:gd name="T11" fmla="*/ 34 h 48"/>
                      <a:gd name="T12" fmla="*/ 79 w 111"/>
                      <a:gd name="T13" fmla="*/ 42 h 48"/>
                      <a:gd name="T14" fmla="*/ 50 w 111"/>
                      <a:gd name="T15" fmla="*/ 34 h 48"/>
                      <a:gd name="T16" fmla="*/ 28 w 111"/>
                      <a:gd name="T17" fmla="*/ 22 h 48"/>
                      <a:gd name="T18" fmla="*/ 14 w 111"/>
                      <a:gd name="T19" fmla="*/ 13 h 48"/>
                      <a:gd name="T20" fmla="*/ 1 w 111"/>
                      <a:gd name="T21" fmla="*/ 13 h 48"/>
                      <a:gd name="T22" fmla="*/ 0 w 111"/>
                      <a:gd name="T23" fmla="*/ 8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11" h="48">
                        <a:moveTo>
                          <a:pt x="0" y="8"/>
                        </a:moveTo>
                        <a:cubicBezTo>
                          <a:pt x="0" y="8"/>
                          <a:pt x="7" y="0"/>
                          <a:pt x="17" y="1"/>
                        </a:cubicBezTo>
                        <a:cubicBezTo>
                          <a:pt x="27" y="2"/>
                          <a:pt x="30" y="5"/>
                          <a:pt x="42" y="11"/>
                        </a:cubicBezTo>
                        <a:cubicBezTo>
                          <a:pt x="54" y="16"/>
                          <a:pt x="62" y="11"/>
                          <a:pt x="75" y="12"/>
                        </a:cubicBezTo>
                        <a:cubicBezTo>
                          <a:pt x="88" y="13"/>
                          <a:pt x="92" y="17"/>
                          <a:pt x="94" y="19"/>
                        </a:cubicBezTo>
                        <a:cubicBezTo>
                          <a:pt x="102" y="24"/>
                          <a:pt x="111" y="34"/>
                          <a:pt x="111" y="34"/>
                        </a:cubicBezTo>
                        <a:cubicBezTo>
                          <a:pt x="111" y="34"/>
                          <a:pt x="94" y="48"/>
                          <a:pt x="79" y="42"/>
                        </a:cubicBezTo>
                        <a:cubicBezTo>
                          <a:pt x="74" y="40"/>
                          <a:pt x="66" y="31"/>
                          <a:pt x="50" y="34"/>
                        </a:cubicBezTo>
                        <a:cubicBezTo>
                          <a:pt x="39" y="36"/>
                          <a:pt x="33" y="29"/>
                          <a:pt x="28" y="22"/>
                        </a:cubicBezTo>
                        <a:cubicBezTo>
                          <a:pt x="25" y="18"/>
                          <a:pt x="19" y="14"/>
                          <a:pt x="14" y="13"/>
                        </a:cubicBezTo>
                        <a:cubicBezTo>
                          <a:pt x="9" y="11"/>
                          <a:pt x="1" y="13"/>
                          <a:pt x="1" y="13"/>
                        </a:cubicBez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" name="Freeform 273">
                    <a:extLst>
                      <a:ext uri="{FF2B5EF4-FFF2-40B4-BE49-F238E27FC236}">
                        <a16:creationId xmlns:a16="http://schemas.microsoft.com/office/drawing/2014/main" id="{3BA4249C-0C9B-98D6-8E4A-298625913B5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8617" y="4868864"/>
                    <a:ext cx="7938" cy="15875"/>
                  </a:xfrm>
                  <a:custGeom>
                    <a:avLst/>
                    <a:gdLst>
                      <a:gd name="T0" fmla="*/ 1 w 4"/>
                      <a:gd name="T1" fmla="*/ 6 h 8"/>
                      <a:gd name="T2" fmla="*/ 3 w 4"/>
                      <a:gd name="T3" fmla="*/ 8 h 8"/>
                      <a:gd name="T4" fmla="*/ 4 w 4"/>
                      <a:gd name="T5" fmla="*/ 5 h 8"/>
                      <a:gd name="T6" fmla="*/ 3 w 4"/>
                      <a:gd name="T7" fmla="*/ 2 h 8"/>
                      <a:gd name="T8" fmla="*/ 1 w 4"/>
                      <a:gd name="T9" fmla="*/ 0 h 8"/>
                      <a:gd name="T10" fmla="*/ 0 w 4"/>
                      <a:gd name="T11" fmla="*/ 2 h 8"/>
                      <a:gd name="T12" fmla="*/ 1 w 4"/>
                      <a:gd name="T13" fmla="*/ 6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" h="8">
                        <a:moveTo>
                          <a:pt x="1" y="6"/>
                        </a:moveTo>
                        <a:cubicBezTo>
                          <a:pt x="1" y="7"/>
                          <a:pt x="2" y="8"/>
                          <a:pt x="3" y="8"/>
                        </a:cubicBezTo>
                        <a:cubicBezTo>
                          <a:pt x="4" y="7"/>
                          <a:pt x="4" y="6"/>
                          <a:pt x="4" y="5"/>
                        </a:cubicBezTo>
                        <a:cubicBezTo>
                          <a:pt x="3" y="2"/>
                          <a:pt x="3" y="2"/>
                          <a:pt x="3" y="2"/>
                        </a:cubicBezTo>
                        <a:cubicBezTo>
                          <a:pt x="3" y="1"/>
                          <a:pt x="2" y="0"/>
                          <a:pt x="1" y="0"/>
                        </a:cubicBezTo>
                        <a:cubicBezTo>
                          <a:pt x="0" y="1"/>
                          <a:pt x="0" y="1"/>
                          <a:pt x="0" y="2"/>
                        </a:cubicBezTo>
                        <a:lnTo>
                          <a:pt x="1" y="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" name="Freeform 274">
                    <a:extLst>
                      <a:ext uri="{FF2B5EF4-FFF2-40B4-BE49-F238E27FC236}">
                        <a16:creationId xmlns:a16="http://schemas.microsoft.com/office/drawing/2014/main" id="{1CE171CC-AD09-97D2-3490-FC1B4C2AFE8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7505" y="4951414"/>
                    <a:ext cx="50800" cy="150813"/>
                  </a:xfrm>
                  <a:custGeom>
                    <a:avLst/>
                    <a:gdLst>
                      <a:gd name="T0" fmla="*/ 8 w 26"/>
                      <a:gd name="T1" fmla="*/ 0 h 77"/>
                      <a:gd name="T2" fmla="*/ 1 w 26"/>
                      <a:gd name="T3" fmla="*/ 34 h 77"/>
                      <a:gd name="T4" fmla="*/ 26 w 26"/>
                      <a:gd name="T5" fmla="*/ 77 h 77"/>
                      <a:gd name="T6" fmla="*/ 12 w 26"/>
                      <a:gd name="T7" fmla="*/ 31 h 77"/>
                      <a:gd name="T8" fmla="*/ 5 w 26"/>
                      <a:gd name="T9" fmla="*/ 28 h 77"/>
                      <a:gd name="T10" fmla="*/ 12 w 26"/>
                      <a:gd name="T11" fmla="*/ 23 h 77"/>
                      <a:gd name="T12" fmla="*/ 12 w 26"/>
                      <a:gd name="T13" fmla="*/ 1 h 77"/>
                      <a:gd name="T14" fmla="*/ 8 w 26"/>
                      <a:gd name="T15" fmla="*/ 0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6" h="77">
                        <a:moveTo>
                          <a:pt x="8" y="0"/>
                        </a:moveTo>
                        <a:cubicBezTo>
                          <a:pt x="8" y="0"/>
                          <a:pt x="0" y="15"/>
                          <a:pt x="1" y="34"/>
                        </a:cubicBezTo>
                        <a:cubicBezTo>
                          <a:pt x="2" y="54"/>
                          <a:pt x="22" y="73"/>
                          <a:pt x="26" y="77"/>
                        </a:cubicBezTo>
                        <a:cubicBezTo>
                          <a:pt x="16" y="59"/>
                          <a:pt x="12" y="31"/>
                          <a:pt x="12" y="31"/>
                        </a:cubicBezTo>
                        <a:cubicBezTo>
                          <a:pt x="5" y="28"/>
                          <a:pt x="5" y="28"/>
                          <a:pt x="5" y="28"/>
                        </a:cubicBezTo>
                        <a:cubicBezTo>
                          <a:pt x="12" y="23"/>
                          <a:pt x="12" y="23"/>
                          <a:pt x="12" y="23"/>
                        </a:cubicBezTo>
                        <a:cubicBezTo>
                          <a:pt x="12" y="1"/>
                          <a:pt x="12" y="1"/>
                          <a:pt x="12" y="1"/>
                        </a:cubicBezTo>
                        <a:lnTo>
                          <a:pt x="8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" name="Freeform 275">
                    <a:extLst>
                      <a:ext uri="{FF2B5EF4-FFF2-40B4-BE49-F238E27FC236}">
                        <a16:creationId xmlns:a16="http://schemas.microsoft.com/office/drawing/2014/main" id="{32091D1D-B9F6-5076-D272-9ABE40C9F58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87317" y="5113339"/>
                    <a:ext cx="174625" cy="79375"/>
                  </a:xfrm>
                  <a:custGeom>
                    <a:avLst/>
                    <a:gdLst>
                      <a:gd name="T0" fmla="*/ 1 w 110"/>
                      <a:gd name="T1" fmla="*/ 0 h 50"/>
                      <a:gd name="T2" fmla="*/ 110 w 110"/>
                      <a:gd name="T3" fmla="*/ 22 h 50"/>
                      <a:gd name="T4" fmla="*/ 95 w 110"/>
                      <a:gd name="T5" fmla="*/ 50 h 50"/>
                      <a:gd name="T6" fmla="*/ 0 w 110"/>
                      <a:gd name="T7" fmla="*/ 12 h 50"/>
                      <a:gd name="T8" fmla="*/ 1 w 110"/>
                      <a:gd name="T9" fmla="*/ 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0" h="50">
                        <a:moveTo>
                          <a:pt x="1" y="0"/>
                        </a:moveTo>
                        <a:lnTo>
                          <a:pt x="110" y="22"/>
                        </a:lnTo>
                        <a:lnTo>
                          <a:pt x="95" y="50"/>
                        </a:lnTo>
                        <a:lnTo>
                          <a:pt x="0" y="12"/>
                        </a:ln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2" name="Freeform 276">
                    <a:extLst>
                      <a:ext uri="{FF2B5EF4-FFF2-40B4-BE49-F238E27FC236}">
                        <a16:creationId xmlns:a16="http://schemas.microsoft.com/office/drawing/2014/main" id="{CD1D1D20-7F69-0326-CEDA-5F1F3CAB6D1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77805" y="4949826"/>
                    <a:ext cx="252413" cy="258763"/>
                  </a:xfrm>
                  <a:custGeom>
                    <a:avLst/>
                    <a:gdLst>
                      <a:gd name="T0" fmla="*/ 7 w 128"/>
                      <a:gd name="T1" fmla="*/ 93 h 132"/>
                      <a:gd name="T2" fmla="*/ 49 w 128"/>
                      <a:gd name="T3" fmla="*/ 102 h 132"/>
                      <a:gd name="T4" fmla="*/ 91 w 128"/>
                      <a:gd name="T5" fmla="*/ 24 h 132"/>
                      <a:gd name="T6" fmla="*/ 121 w 128"/>
                      <a:gd name="T7" fmla="*/ 53 h 132"/>
                      <a:gd name="T8" fmla="*/ 70 w 128"/>
                      <a:gd name="T9" fmla="*/ 119 h 132"/>
                      <a:gd name="T10" fmla="*/ 38 w 128"/>
                      <a:gd name="T11" fmla="*/ 127 h 132"/>
                      <a:gd name="T12" fmla="*/ 0 w 128"/>
                      <a:gd name="T13" fmla="*/ 112 h 132"/>
                      <a:gd name="T14" fmla="*/ 7 w 128"/>
                      <a:gd name="T15" fmla="*/ 93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8" h="132">
                        <a:moveTo>
                          <a:pt x="7" y="93"/>
                        </a:moveTo>
                        <a:cubicBezTo>
                          <a:pt x="49" y="102"/>
                          <a:pt x="49" y="102"/>
                          <a:pt x="49" y="102"/>
                        </a:cubicBezTo>
                        <a:cubicBezTo>
                          <a:pt x="49" y="102"/>
                          <a:pt x="81" y="54"/>
                          <a:pt x="91" y="24"/>
                        </a:cubicBezTo>
                        <a:cubicBezTo>
                          <a:pt x="109" y="0"/>
                          <a:pt x="128" y="26"/>
                          <a:pt x="121" y="53"/>
                        </a:cubicBezTo>
                        <a:cubicBezTo>
                          <a:pt x="101" y="86"/>
                          <a:pt x="82" y="108"/>
                          <a:pt x="70" y="119"/>
                        </a:cubicBezTo>
                        <a:cubicBezTo>
                          <a:pt x="55" y="132"/>
                          <a:pt x="38" y="127"/>
                          <a:pt x="38" y="127"/>
                        </a:cubicBezTo>
                        <a:cubicBezTo>
                          <a:pt x="38" y="127"/>
                          <a:pt x="14" y="117"/>
                          <a:pt x="0" y="112"/>
                        </a:cubicBezTo>
                        <a:lnTo>
                          <a:pt x="7" y="93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3" name="Freeform 278">
                    <a:extLst>
                      <a:ext uri="{FF2B5EF4-FFF2-40B4-BE49-F238E27FC236}">
                        <a16:creationId xmlns:a16="http://schemas.microsoft.com/office/drawing/2014/main" id="{7442D2EE-5012-2842-786C-3551CD68175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12705" y="5087939"/>
                    <a:ext cx="79375" cy="46038"/>
                  </a:xfrm>
                  <a:custGeom>
                    <a:avLst/>
                    <a:gdLst>
                      <a:gd name="T0" fmla="*/ 40 w 40"/>
                      <a:gd name="T1" fmla="*/ 14 h 24"/>
                      <a:gd name="T2" fmla="*/ 31 w 40"/>
                      <a:gd name="T3" fmla="*/ 9 h 24"/>
                      <a:gd name="T4" fmla="*/ 24 w 40"/>
                      <a:gd name="T5" fmla="*/ 4 h 24"/>
                      <a:gd name="T6" fmla="*/ 21 w 40"/>
                      <a:gd name="T7" fmla="*/ 2 h 24"/>
                      <a:gd name="T8" fmla="*/ 4 w 40"/>
                      <a:gd name="T9" fmla="*/ 1 h 24"/>
                      <a:gd name="T10" fmla="*/ 4 w 40"/>
                      <a:gd name="T11" fmla="*/ 2 h 24"/>
                      <a:gd name="T12" fmla="*/ 12 w 40"/>
                      <a:gd name="T13" fmla="*/ 4 h 24"/>
                      <a:gd name="T14" fmla="*/ 1 w 40"/>
                      <a:gd name="T15" fmla="*/ 7 h 24"/>
                      <a:gd name="T16" fmla="*/ 3 w 40"/>
                      <a:gd name="T17" fmla="*/ 9 h 24"/>
                      <a:gd name="T18" fmla="*/ 11 w 40"/>
                      <a:gd name="T19" fmla="*/ 8 h 24"/>
                      <a:gd name="T20" fmla="*/ 25 w 40"/>
                      <a:gd name="T21" fmla="*/ 20 h 24"/>
                      <a:gd name="T22" fmla="*/ 19 w 40"/>
                      <a:gd name="T23" fmla="*/ 21 h 24"/>
                      <a:gd name="T24" fmla="*/ 22 w 40"/>
                      <a:gd name="T25" fmla="*/ 24 h 24"/>
                      <a:gd name="T26" fmla="*/ 39 w 40"/>
                      <a:gd name="T27" fmla="*/ 23 h 24"/>
                      <a:gd name="T28" fmla="*/ 40 w 40"/>
                      <a:gd name="T29" fmla="*/ 14 h 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0" h="24">
                        <a:moveTo>
                          <a:pt x="40" y="14"/>
                        </a:moveTo>
                        <a:cubicBezTo>
                          <a:pt x="40" y="14"/>
                          <a:pt x="35" y="12"/>
                          <a:pt x="31" y="9"/>
                        </a:cubicBezTo>
                        <a:cubicBezTo>
                          <a:pt x="28" y="7"/>
                          <a:pt x="24" y="4"/>
                          <a:pt x="24" y="4"/>
                        </a:cubicBezTo>
                        <a:cubicBezTo>
                          <a:pt x="24" y="4"/>
                          <a:pt x="23" y="3"/>
                          <a:pt x="21" y="2"/>
                        </a:cubicBezTo>
                        <a:cubicBezTo>
                          <a:pt x="20" y="1"/>
                          <a:pt x="12" y="0"/>
                          <a:pt x="4" y="1"/>
                        </a:cubicBezTo>
                        <a:cubicBezTo>
                          <a:pt x="3" y="1"/>
                          <a:pt x="3" y="2"/>
                          <a:pt x="4" y="2"/>
                        </a:cubicBezTo>
                        <a:cubicBezTo>
                          <a:pt x="5" y="3"/>
                          <a:pt x="12" y="4"/>
                          <a:pt x="12" y="4"/>
                        </a:cubicBezTo>
                        <a:cubicBezTo>
                          <a:pt x="12" y="4"/>
                          <a:pt x="3" y="6"/>
                          <a:pt x="1" y="7"/>
                        </a:cubicBezTo>
                        <a:cubicBezTo>
                          <a:pt x="0" y="7"/>
                          <a:pt x="1" y="9"/>
                          <a:pt x="3" y="9"/>
                        </a:cubicBezTo>
                        <a:cubicBezTo>
                          <a:pt x="4" y="9"/>
                          <a:pt x="11" y="8"/>
                          <a:pt x="11" y="8"/>
                        </a:cubicBezTo>
                        <a:cubicBezTo>
                          <a:pt x="25" y="20"/>
                          <a:pt x="25" y="20"/>
                          <a:pt x="25" y="20"/>
                        </a:cubicBezTo>
                        <a:cubicBezTo>
                          <a:pt x="19" y="21"/>
                          <a:pt x="19" y="21"/>
                          <a:pt x="19" y="21"/>
                        </a:cubicBezTo>
                        <a:cubicBezTo>
                          <a:pt x="22" y="24"/>
                          <a:pt x="22" y="24"/>
                          <a:pt x="22" y="24"/>
                        </a:cubicBezTo>
                        <a:cubicBezTo>
                          <a:pt x="22" y="24"/>
                          <a:pt x="30" y="24"/>
                          <a:pt x="39" y="23"/>
                        </a:cubicBezTo>
                        <a:lnTo>
                          <a:pt x="40" y="14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4" name="Freeform 279">
                    <a:extLst>
                      <a:ext uri="{FF2B5EF4-FFF2-40B4-BE49-F238E27FC236}">
                        <a16:creationId xmlns:a16="http://schemas.microsoft.com/office/drawing/2014/main" id="{22DA40D0-4C20-DD6C-0BBD-02A98534067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2405" y="5707064"/>
                    <a:ext cx="63500" cy="38100"/>
                  </a:xfrm>
                  <a:custGeom>
                    <a:avLst/>
                    <a:gdLst>
                      <a:gd name="T0" fmla="*/ 11 w 32"/>
                      <a:gd name="T1" fmla="*/ 9 h 19"/>
                      <a:gd name="T2" fmla="*/ 2 w 32"/>
                      <a:gd name="T3" fmla="*/ 11 h 19"/>
                      <a:gd name="T4" fmla="*/ 1 w 32"/>
                      <a:gd name="T5" fmla="*/ 14 h 19"/>
                      <a:gd name="T6" fmla="*/ 13 w 32"/>
                      <a:gd name="T7" fmla="*/ 16 h 19"/>
                      <a:gd name="T8" fmla="*/ 23 w 32"/>
                      <a:gd name="T9" fmla="*/ 10 h 19"/>
                      <a:gd name="T10" fmla="*/ 22 w 32"/>
                      <a:gd name="T11" fmla="*/ 18 h 19"/>
                      <a:gd name="T12" fmla="*/ 26 w 32"/>
                      <a:gd name="T13" fmla="*/ 19 h 19"/>
                      <a:gd name="T14" fmla="*/ 30 w 32"/>
                      <a:gd name="T15" fmla="*/ 6 h 19"/>
                      <a:gd name="T16" fmla="*/ 31 w 32"/>
                      <a:gd name="T17" fmla="*/ 0 h 19"/>
                      <a:gd name="T18" fmla="*/ 23 w 32"/>
                      <a:gd name="T19" fmla="*/ 5 h 19"/>
                      <a:gd name="T20" fmla="*/ 11 w 32"/>
                      <a:gd name="T21" fmla="*/ 9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2" h="19">
                        <a:moveTo>
                          <a:pt x="11" y="9"/>
                        </a:moveTo>
                        <a:cubicBezTo>
                          <a:pt x="8" y="9"/>
                          <a:pt x="3" y="11"/>
                          <a:pt x="2" y="11"/>
                        </a:cubicBezTo>
                        <a:cubicBezTo>
                          <a:pt x="0" y="11"/>
                          <a:pt x="1" y="14"/>
                          <a:pt x="1" y="14"/>
                        </a:cubicBezTo>
                        <a:cubicBezTo>
                          <a:pt x="1" y="14"/>
                          <a:pt x="11" y="15"/>
                          <a:pt x="13" y="16"/>
                        </a:cubicBezTo>
                        <a:cubicBezTo>
                          <a:pt x="15" y="16"/>
                          <a:pt x="23" y="10"/>
                          <a:pt x="23" y="10"/>
                        </a:cubicBezTo>
                        <a:cubicBezTo>
                          <a:pt x="22" y="18"/>
                          <a:pt x="22" y="18"/>
                          <a:pt x="22" y="18"/>
                        </a:cubicBezTo>
                        <a:cubicBezTo>
                          <a:pt x="26" y="19"/>
                          <a:pt x="26" y="19"/>
                          <a:pt x="26" y="19"/>
                        </a:cubicBezTo>
                        <a:cubicBezTo>
                          <a:pt x="26" y="19"/>
                          <a:pt x="28" y="12"/>
                          <a:pt x="30" y="6"/>
                        </a:cubicBezTo>
                        <a:cubicBezTo>
                          <a:pt x="32" y="3"/>
                          <a:pt x="31" y="0"/>
                          <a:pt x="31" y="0"/>
                        </a:cubicBezTo>
                        <a:cubicBezTo>
                          <a:pt x="31" y="0"/>
                          <a:pt x="29" y="0"/>
                          <a:pt x="23" y="5"/>
                        </a:cubicBezTo>
                        <a:cubicBezTo>
                          <a:pt x="17" y="11"/>
                          <a:pt x="13" y="9"/>
                          <a:pt x="11" y="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9" name="Freeform 179">
                  <a:extLst>
                    <a:ext uri="{FF2B5EF4-FFF2-40B4-BE49-F238E27FC236}">
                      <a16:creationId xmlns:a16="http://schemas.microsoft.com/office/drawing/2014/main" id="{277BA154-5B80-F7C9-F6B3-9F56AA643B8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81113" y="4808808"/>
                  <a:ext cx="566968" cy="273800"/>
                </a:xfrm>
                <a:custGeom>
                  <a:avLst/>
                  <a:gdLst>
                    <a:gd name="T0" fmla="*/ 262 w 551"/>
                    <a:gd name="T1" fmla="*/ 0 h 266"/>
                    <a:gd name="T2" fmla="*/ 238 w 551"/>
                    <a:gd name="T3" fmla="*/ 1 h 266"/>
                    <a:gd name="T4" fmla="*/ 240 w 551"/>
                    <a:gd name="T5" fmla="*/ 6 h 266"/>
                    <a:gd name="T6" fmla="*/ 264 w 551"/>
                    <a:gd name="T7" fmla="*/ 12 h 266"/>
                    <a:gd name="T8" fmla="*/ 282 w 551"/>
                    <a:gd name="T9" fmla="*/ 24 h 266"/>
                    <a:gd name="T10" fmla="*/ 281 w 551"/>
                    <a:gd name="T11" fmla="*/ 24 h 266"/>
                    <a:gd name="T12" fmla="*/ 280 w 551"/>
                    <a:gd name="T13" fmla="*/ 111 h 266"/>
                    <a:gd name="T14" fmla="*/ 218 w 551"/>
                    <a:gd name="T15" fmla="*/ 100 h 266"/>
                    <a:gd name="T16" fmla="*/ 166 w 551"/>
                    <a:gd name="T17" fmla="*/ 128 h 266"/>
                    <a:gd name="T18" fmla="*/ 94 w 551"/>
                    <a:gd name="T19" fmla="*/ 246 h 266"/>
                    <a:gd name="T20" fmla="*/ 0 w 551"/>
                    <a:gd name="T21" fmla="*/ 266 h 266"/>
                    <a:gd name="T22" fmla="*/ 224 w 551"/>
                    <a:gd name="T23" fmla="*/ 266 h 266"/>
                    <a:gd name="T24" fmla="*/ 241 w 551"/>
                    <a:gd name="T25" fmla="*/ 240 h 266"/>
                    <a:gd name="T26" fmla="*/ 212 w 551"/>
                    <a:gd name="T27" fmla="*/ 236 h 266"/>
                    <a:gd name="T28" fmla="*/ 217 w 551"/>
                    <a:gd name="T29" fmla="*/ 156 h 266"/>
                    <a:gd name="T30" fmla="*/ 280 w 551"/>
                    <a:gd name="T31" fmla="*/ 166 h 266"/>
                    <a:gd name="T32" fmla="*/ 279 w 551"/>
                    <a:gd name="T33" fmla="*/ 266 h 266"/>
                    <a:gd name="T34" fmla="*/ 364 w 551"/>
                    <a:gd name="T35" fmla="*/ 266 h 266"/>
                    <a:gd name="T36" fmla="*/ 348 w 551"/>
                    <a:gd name="T37" fmla="*/ 167 h 266"/>
                    <a:gd name="T38" fmla="*/ 451 w 551"/>
                    <a:gd name="T39" fmla="*/ 166 h 266"/>
                    <a:gd name="T40" fmla="*/ 510 w 551"/>
                    <a:gd name="T41" fmla="*/ 167 h 266"/>
                    <a:gd name="T42" fmla="*/ 519 w 551"/>
                    <a:gd name="T43" fmla="*/ 168 h 266"/>
                    <a:gd name="T44" fmla="*/ 521 w 551"/>
                    <a:gd name="T45" fmla="*/ 168 h 266"/>
                    <a:gd name="T46" fmla="*/ 545 w 551"/>
                    <a:gd name="T47" fmla="*/ 168 h 266"/>
                    <a:gd name="T48" fmla="*/ 546 w 551"/>
                    <a:gd name="T49" fmla="*/ 160 h 266"/>
                    <a:gd name="T50" fmla="*/ 532 w 551"/>
                    <a:gd name="T51" fmla="*/ 158 h 266"/>
                    <a:gd name="T52" fmla="*/ 548 w 551"/>
                    <a:gd name="T53" fmla="*/ 143 h 266"/>
                    <a:gd name="T54" fmla="*/ 551 w 551"/>
                    <a:gd name="T55" fmla="*/ 121 h 266"/>
                    <a:gd name="T56" fmla="*/ 548 w 551"/>
                    <a:gd name="T57" fmla="*/ 119 h 266"/>
                    <a:gd name="T58" fmla="*/ 545 w 551"/>
                    <a:gd name="T59" fmla="*/ 121 h 266"/>
                    <a:gd name="T60" fmla="*/ 537 w 551"/>
                    <a:gd name="T61" fmla="*/ 135 h 266"/>
                    <a:gd name="T62" fmla="*/ 511 w 551"/>
                    <a:gd name="T63" fmla="*/ 150 h 266"/>
                    <a:gd name="T64" fmla="*/ 338 w 551"/>
                    <a:gd name="T65" fmla="*/ 121 h 266"/>
                    <a:gd name="T66" fmla="*/ 315 w 551"/>
                    <a:gd name="T67" fmla="*/ 27 h 266"/>
                    <a:gd name="T68" fmla="*/ 306 w 551"/>
                    <a:gd name="T69" fmla="*/ 25 h 266"/>
                    <a:gd name="T70" fmla="*/ 306 w 551"/>
                    <a:gd name="T71" fmla="*/ 22 h 266"/>
                    <a:gd name="T72" fmla="*/ 306 w 551"/>
                    <a:gd name="T73" fmla="*/ 0 h 266"/>
                    <a:gd name="T74" fmla="*/ 288 w 551"/>
                    <a:gd name="T75" fmla="*/ 0 h 266"/>
                    <a:gd name="T76" fmla="*/ 287 w 551"/>
                    <a:gd name="T77" fmla="*/ 8 h 266"/>
                    <a:gd name="T78" fmla="*/ 262 w 551"/>
                    <a:gd name="T79" fmla="*/ 0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551" h="266">
                      <a:moveTo>
                        <a:pt x="262" y="0"/>
                      </a:moveTo>
                      <a:cubicBezTo>
                        <a:pt x="238" y="1"/>
                        <a:pt x="238" y="1"/>
                        <a:pt x="238" y="1"/>
                      </a:cubicBezTo>
                      <a:cubicBezTo>
                        <a:pt x="238" y="1"/>
                        <a:pt x="235" y="5"/>
                        <a:pt x="240" y="6"/>
                      </a:cubicBezTo>
                      <a:cubicBezTo>
                        <a:pt x="241" y="6"/>
                        <a:pt x="264" y="12"/>
                        <a:pt x="264" y="12"/>
                      </a:cubicBezTo>
                      <a:cubicBezTo>
                        <a:pt x="282" y="24"/>
                        <a:pt x="282" y="24"/>
                        <a:pt x="282" y="24"/>
                      </a:cubicBezTo>
                      <a:cubicBezTo>
                        <a:pt x="281" y="24"/>
                        <a:pt x="281" y="24"/>
                        <a:pt x="281" y="24"/>
                      </a:cubicBezTo>
                      <a:cubicBezTo>
                        <a:pt x="280" y="111"/>
                        <a:pt x="280" y="111"/>
                        <a:pt x="280" y="111"/>
                      </a:cubicBezTo>
                      <a:cubicBezTo>
                        <a:pt x="218" y="100"/>
                        <a:pt x="218" y="100"/>
                        <a:pt x="218" y="100"/>
                      </a:cubicBezTo>
                      <a:cubicBezTo>
                        <a:pt x="218" y="100"/>
                        <a:pt x="187" y="101"/>
                        <a:pt x="166" y="128"/>
                      </a:cubicBezTo>
                      <a:cubicBezTo>
                        <a:pt x="163" y="132"/>
                        <a:pt x="129" y="188"/>
                        <a:pt x="94" y="246"/>
                      </a:cubicBezTo>
                      <a:cubicBezTo>
                        <a:pt x="63" y="251"/>
                        <a:pt x="31" y="258"/>
                        <a:pt x="0" y="266"/>
                      </a:cubicBezTo>
                      <a:cubicBezTo>
                        <a:pt x="224" y="266"/>
                        <a:pt x="224" y="266"/>
                        <a:pt x="224" y="266"/>
                      </a:cubicBezTo>
                      <a:cubicBezTo>
                        <a:pt x="228" y="258"/>
                        <a:pt x="233" y="249"/>
                        <a:pt x="241" y="240"/>
                      </a:cubicBezTo>
                      <a:cubicBezTo>
                        <a:pt x="234" y="238"/>
                        <a:pt x="224" y="237"/>
                        <a:pt x="212" y="236"/>
                      </a:cubicBezTo>
                      <a:cubicBezTo>
                        <a:pt x="215" y="205"/>
                        <a:pt x="216" y="176"/>
                        <a:pt x="217" y="156"/>
                      </a:cubicBezTo>
                      <a:cubicBezTo>
                        <a:pt x="224" y="162"/>
                        <a:pt x="248" y="165"/>
                        <a:pt x="280" y="166"/>
                      </a:cubicBezTo>
                      <a:cubicBezTo>
                        <a:pt x="279" y="266"/>
                        <a:pt x="279" y="266"/>
                        <a:pt x="279" y="266"/>
                      </a:cubicBezTo>
                      <a:cubicBezTo>
                        <a:pt x="364" y="266"/>
                        <a:pt x="364" y="266"/>
                        <a:pt x="364" y="266"/>
                      </a:cubicBezTo>
                      <a:cubicBezTo>
                        <a:pt x="362" y="236"/>
                        <a:pt x="356" y="201"/>
                        <a:pt x="348" y="167"/>
                      </a:cubicBezTo>
                      <a:cubicBezTo>
                        <a:pt x="382" y="166"/>
                        <a:pt x="417" y="166"/>
                        <a:pt x="451" y="166"/>
                      </a:cubicBezTo>
                      <a:cubicBezTo>
                        <a:pt x="472" y="166"/>
                        <a:pt x="492" y="166"/>
                        <a:pt x="510" y="167"/>
                      </a:cubicBezTo>
                      <a:cubicBezTo>
                        <a:pt x="510" y="167"/>
                        <a:pt x="514" y="168"/>
                        <a:pt x="519" y="168"/>
                      </a:cubicBezTo>
                      <a:cubicBezTo>
                        <a:pt x="520" y="168"/>
                        <a:pt x="520" y="168"/>
                        <a:pt x="521" y="168"/>
                      </a:cubicBezTo>
                      <a:cubicBezTo>
                        <a:pt x="532" y="168"/>
                        <a:pt x="545" y="168"/>
                        <a:pt x="545" y="168"/>
                      </a:cubicBezTo>
                      <a:cubicBezTo>
                        <a:pt x="546" y="160"/>
                        <a:pt x="546" y="160"/>
                        <a:pt x="546" y="160"/>
                      </a:cubicBezTo>
                      <a:cubicBezTo>
                        <a:pt x="532" y="158"/>
                        <a:pt x="532" y="158"/>
                        <a:pt x="532" y="158"/>
                      </a:cubicBezTo>
                      <a:cubicBezTo>
                        <a:pt x="532" y="158"/>
                        <a:pt x="547" y="147"/>
                        <a:pt x="548" y="143"/>
                      </a:cubicBezTo>
                      <a:cubicBezTo>
                        <a:pt x="548" y="139"/>
                        <a:pt x="551" y="121"/>
                        <a:pt x="551" y="121"/>
                      </a:cubicBezTo>
                      <a:cubicBezTo>
                        <a:pt x="551" y="121"/>
                        <a:pt x="549" y="119"/>
                        <a:pt x="548" y="119"/>
                      </a:cubicBezTo>
                      <a:cubicBezTo>
                        <a:pt x="547" y="119"/>
                        <a:pt x="546" y="120"/>
                        <a:pt x="545" y="121"/>
                      </a:cubicBezTo>
                      <a:cubicBezTo>
                        <a:pt x="545" y="123"/>
                        <a:pt x="539" y="131"/>
                        <a:pt x="537" y="135"/>
                      </a:cubicBezTo>
                      <a:cubicBezTo>
                        <a:pt x="511" y="150"/>
                        <a:pt x="511" y="150"/>
                        <a:pt x="511" y="150"/>
                      </a:cubicBezTo>
                      <a:cubicBezTo>
                        <a:pt x="338" y="121"/>
                        <a:pt x="338" y="121"/>
                        <a:pt x="338" y="121"/>
                      </a:cubicBezTo>
                      <a:cubicBezTo>
                        <a:pt x="326" y="73"/>
                        <a:pt x="315" y="27"/>
                        <a:pt x="315" y="27"/>
                      </a:cubicBezTo>
                      <a:cubicBezTo>
                        <a:pt x="306" y="25"/>
                        <a:pt x="306" y="25"/>
                        <a:pt x="306" y="25"/>
                      </a:cubicBezTo>
                      <a:cubicBezTo>
                        <a:pt x="306" y="22"/>
                        <a:pt x="306" y="22"/>
                        <a:pt x="306" y="22"/>
                      </a:cubicBezTo>
                      <a:cubicBezTo>
                        <a:pt x="306" y="0"/>
                        <a:pt x="306" y="0"/>
                        <a:pt x="306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87" y="8"/>
                        <a:pt x="287" y="8"/>
                        <a:pt x="287" y="8"/>
                      </a:cubicBezTo>
                      <a:cubicBezTo>
                        <a:pt x="262" y="0"/>
                        <a:pt x="262" y="0"/>
                        <a:pt x="262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0" name="Freeform 178">
                  <a:extLst>
                    <a:ext uri="{FF2B5EF4-FFF2-40B4-BE49-F238E27FC236}">
                      <a16:creationId xmlns:a16="http://schemas.microsoft.com/office/drawing/2014/main" id="{53C68A84-35E1-097C-BB39-896A7E29CCC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695018" y="4798755"/>
                  <a:ext cx="340636" cy="295218"/>
                </a:xfrm>
                <a:custGeom>
                  <a:avLst/>
                  <a:gdLst>
                    <a:gd name="T0" fmla="*/ 214 w 308"/>
                    <a:gd name="T1" fmla="*/ 0 h 267"/>
                    <a:gd name="T2" fmla="*/ 208 w 308"/>
                    <a:gd name="T3" fmla="*/ 1 h 267"/>
                    <a:gd name="T4" fmla="*/ 210 w 308"/>
                    <a:gd name="T5" fmla="*/ 13 h 267"/>
                    <a:gd name="T6" fmla="*/ 195 w 308"/>
                    <a:gd name="T7" fmla="*/ 4 h 267"/>
                    <a:gd name="T8" fmla="*/ 194 w 308"/>
                    <a:gd name="T9" fmla="*/ 4 h 267"/>
                    <a:gd name="T10" fmla="*/ 175 w 308"/>
                    <a:gd name="T11" fmla="*/ 8 h 267"/>
                    <a:gd name="T12" fmla="*/ 177 w 308"/>
                    <a:gd name="T13" fmla="*/ 12 h 267"/>
                    <a:gd name="T14" fmla="*/ 190 w 308"/>
                    <a:gd name="T15" fmla="*/ 16 h 267"/>
                    <a:gd name="T16" fmla="*/ 210 w 308"/>
                    <a:gd name="T17" fmla="*/ 32 h 267"/>
                    <a:gd name="T18" fmla="*/ 230 w 308"/>
                    <a:gd name="T19" fmla="*/ 190 h 267"/>
                    <a:gd name="T20" fmla="*/ 172 w 308"/>
                    <a:gd name="T21" fmla="*/ 119 h 267"/>
                    <a:gd name="T22" fmla="*/ 124 w 308"/>
                    <a:gd name="T23" fmla="*/ 94 h 267"/>
                    <a:gd name="T24" fmla="*/ 74 w 308"/>
                    <a:gd name="T25" fmla="*/ 128 h 267"/>
                    <a:gd name="T26" fmla="*/ 0 w 308"/>
                    <a:gd name="T27" fmla="*/ 267 h 267"/>
                    <a:gd name="T28" fmla="*/ 135 w 308"/>
                    <a:gd name="T29" fmla="*/ 267 h 267"/>
                    <a:gd name="T30" fmla="*/ 139 w 308"/>
                    <a:gd name="T31" fmla="*/ 192 h 267"/>
                    <a:gd name="T32" fmla="*/ 218 w 308"/>
                    <a:gd name="T33" fmla="*/ 267 h 267"/>
                    <a:gd name="T34" fmla="*/ 308 w 308"/>
                    <a:gd name="T35" fmla="*/ 267 h 267"/>
                    <a:gd name="T36" fmla="*/ 223 w 308"/>
                    <a:gd name="T37" fmla="*/ 29 h 267"/>
                    <a:gd name="T38" fmla="*/ 222 w 308"/>
                    <a:gd name="T39" fmla="*/ 20 h 267"/>
                    <a:gd name="T40" fmla="*/ 214 w 308"/>
                    <a:gd name="T41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08" h="267">
                      <a:moveTo>
                        <a:pt x="214" y="0"/>
                      </a:moveTo>
                      <a:cubicBezTo>
                        <a:pt x="208" y="1"/>
                        <a:pt x="208" y="1"/>
                        <a:pt x="208" y="1"/>
                      </a:cubicBezTo>
                      <a:cubicBezTo>
                        <a:pt x="210" y="13"/>
                        <a:pt x="210" y="13"/>
                        <a:pt x="210" y="13"/>
                      </a:cubicBezTo>
                      <a:cubicBezTo>
                        <a:pt x="210" y="13"/>
                        <a:pt x="198" y="4"/>
                        <a:pt x="195" y="4"/>
                      </a:cubicBezTo>
                      <a:cubicBezTo>
                        <a:pt x="194" y="4"/>
                        <a:pt x="194" y="4"/>
                        <a:pt x="194" y="4"/>
                      </a:cubicBezTo>
                      <a:cubicBezTo>
                        <a:pt x="191" y="5"/>
                        <a:pt x="175" y="8"/>
                        <a:pt x="175" y="8"/>
                      </a:cubicBezTo>
                      <a:cubicBezTo>
                        <a:pt x="175" y="8"/>
                        <a:pt x="173" y="12"/>
                        <a:pt x="177" y="12"/>
                      </a:cubicBezTo>
                      <a:cubicBezTo>
                        <a:pt x="178" y="12"/>
                        <a:pt x="187" y="15"/>
                        <a:pt x="190" y="16"/>
                      </a:cubicBezTo>
                      <a:cubicBezTo>
                        <a:pt x="210" y="32"/>
                        <a:pt x="210" y="32"/>
                        <a:pt x="210" y="32"/>
                      </a:cubicBezTo>
                      <a:cubicBezTo>
                        <a:pt x="230" y="190"/>
                        <a:pt x="230" y="190"/>
                        <a:pt x="230" y="190"/>
                      </a:cubicBezTo>
                      <a:cubicBezTo>
                        <a:pt x="200" y="154"/>
                        <a:pt x="177" y="125"/>
                        <a:pt x="172" y="119"/>
                      </a:cubicBezTo>
                      <a:cubicBezTo>
                        <a:pt x="164" y="107"/>
                        <a:pt x="145" y="94"/>
                        <a:pt x="124" y="94"/>
                      </a:cubicBezTo>
                      <a:cubicBezTo>
                        <a:pt x="107" y="94"/>
                        <a:pt x="89" y="102"/>
                        <a:pt x="74" y="128"/>
                      </a:cubicBezTo>
                      <a:cubicBezTo>
                        <a:pt x="54" y="164"/>
                        <a:pt x="24" y="222"/>
                        <a:pt x="0" y="267"/>
                      </a:cubicBezTo>
                      <a:cubicBezTo>
                        <a:pt x="135" y="267"/>
                        <a:pt x="135" y="267"/>
                        <a:pt x="135" y="267"/>
                      </a:cubicBezTo>
                      <a:cubicBezTo>
                        <a:pt x="138" y="241"/>
                        <a:pt x="139" y="214"/>
                        <a:pt x="139" y="192"/>
                      </a:cubicBezTo>
                      <a:cubicBezTo>
                        <a:pt x="218" y="267"/>
                        <a:pt x="218" y="267"/>
                        <a:pt x="218" y="267"/>
                      </a:cubicBezTo>
                      <a:cubicBezTo>
                        <a:pt x="308" y="267"/>
                        <a:pt x="308" y="267"/>
                        <a:pt x="308" y="267"/>
                      </a:cubicBezTo>
                      <a:cubicBezTo>
                        <a:pt x="297" y="187"/>
                        <a:pt x="223" y="29"/>
                        <a:pt x="223" y="29"/>
                      </a:cubicBezTo>
                      <a:cubicBezTo>
                        <a:pt x="223" y="29"/>
                        <a:pt x="223" y="24"/>
                        <a:pt x="222" y="20"/>
                      </a:cubicBezTo>
                      <a:cubicBezTo>
                        <a:pt x="218" y="11"/>
                        <a:pt x="214" y="0"/>
                        <a:pt x="214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2" name="Freeform 176">
                  <a:extLst>
                    <a:ext uri="{FF2B5EF4-FFF2-40B4-BE49-F238E27FC236}">
                      <a16:creationId xmlns:a16="http://schemas.microsoft.com/office/drawing/2014/main" id="{1540928B-5006-AECC-C32F-8E3752A9B0F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36034" y="4916018"/>
                  <a:ext cx="541027" cy="181578"/>
                </a:xfrm>
                <a:custGeom>
                  <a:avLst/>
                  <a:gdLst>
                    <a:gd name="T0" fmla="*/ 91 w 375"/>
                    <a:gd name="T1" fmla="*/ 0 h 126"/>
                    <a:gd name="T2" fmla="*/ 48 w 375"/>
                    <a:gd name="T3" fmla="*/ 25 h 126"/>
                    <a:gd name="T4" fmla="*/ 0 w 375"/>
                    <a:gd name="T5" fmla="*/ 126 h 126"/>
                    <a:gd name="T6" fmla="*/ 88 w 375"/>
                    <a:gd name="T7" fmla="*/ 126 h 126"/>
                    <a:gd name="T8" fmla="*/ 92 w 375"/>
                    <a:gd name="T9" fmla="*/ 48 h 126"/>
                    <a:gd name="T10" fmla="*/ 152 w 375"/>
                    <a:gd name="T11" fmla="*/ 55 h 126"/>
                    <a:gd name="T12" fmla="*/ 240 w 375"/>
                    <a:gd name="T13" fmla="*/ 52 h 126"/>
                    <a:gd name="T14" fmla="*/ 331 w 375"/>
                    <a:gd name="T15" fmla="*/ 50 h 126"/>
                    <a:gd name="T16" fmla="*/ 341 w 375"/>
                    <a:gd name="T17" fmla="*/ 50 h 126"/>
                    <a:gd name="T18" fmla="*/ 349 w 375"/>
                    <a:gd name="T19" fmla="*/ 51 h 126"/>
                    <a:gd name="T20" fmla="*/ 351 w 375"/>
                    <a:gd name="T21" fmla="*/ 51 h 126"/>
                    <a:gd name="T22" fmla="*/ 371 w 375"/>
                    <a:gd name="T23" fmla="*/ 50 h 126"/>
                    <a:gd name="T24" fmla="*/ 372 w 375"/>
                    <a:gd name="T25" fmla="*/ 44 h 126"/>
                    <a:gd name="T26" fmla="*/ 360 w 375"/>
                    <a:gd name="T27" fmla="*/ 42 h 126"/>
                    <a:gd name="T28" fmla="*/ 373 w 375"/>
                    <a:gd name="T29" fmla="*/ 29 h 126"/>
                    <a:gd name="T30" fmla="*/ 375 w 375"/>
                    <a:gd name="T31" fmla="*/ 10 h 126"/>
                    <a:gd name="T32" fmla="*/ 372 w 375"/>
                    <a:gd name="T33" fmla="*/ 9 h 126"/>
                    <a:gd name="T34" fmla="*/ 370 w 375"/>
                    <a:gd name="T35" fmla="*/ 10 h 126"/>
                    <a:gd name="T36" fmla="*/ 363 w 375"/>
                    <a:gd name="T37" fmla="*/ 22 h 126"/>
                    <a:gd name="T38" fmla="*/ 342 w 375"/>
                    <a:gd name="T39" fmla="*/ 36 h 126"/>
                    <a:gd name="T40" fmla="*/ 176 w 375"/>
                    <a:gd name="T41" fmla="*/ 13 h 126"/>
                    <a:gd name="T42" fmla="*/ 91 w 375"/>
                    <a:gd name="T43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75" h="126">
                      <a:moveTo>
                        <a:pt x="91" y="0"/>
                      </a:moveTo>
                      <a:cubicBezTo>
                        <a:pt x="91" y="0"/>
                        <a:pt x="65" y="2"/>
                        <a:pt x="48" y="25"/>
                      </a:cubicBezTo>
                      <a:cubicBezTo>
                        <a:pt x="46" y="29"/>
                        <a:pt x="23" y="76"/>
                        <a:pt x="0" y="126"/>
                      </a:cubicBezTo>
                      <a:cubicBezTo>
                        <a:pt x="88" y="126"/>
                        <a:pt x="88" y="126"/>
                        <a:pt x="88" y="126"/>
                      </a:cubicBezTo>
                      <a:cubicBezTo>
                        <a:pt x="91" y="96"/>
                        <a:pt x="92" y="67"/>
                        <a:pt x="92" y="48"/>
                      </a:cubicBezTo>
                      <a:cubicBezTo>
                        <a:pt x="99" y="53"/>
                        <a:pt x="121" y="55"/>
                        <a:pt x="152" y="55"/>
                      </a:cubicBezTo>
                      <a:cubicBezTo>
                        <a:pt x="177" y="55"/>
                        <a:pt x="208" y="53"/>
                        <a:pt x="240" y="52"/>
                      </a:cubicBezTo>
                      <a:cubicBezTo>
                        <a:pt x="271" y="51"/>
                        <a:pt x="303" y="50"/>
                        <a:pt x="331" y="50"/>
                      </a:cubicBezTo>
                      <a:cubicBezTo>
                        <a:pt x="334" y="50"/>
                        <a:pt x="338" y="50"/>
                        <a:pt x="341" y="50"/>
                      </a:cubicBezTo>
                      <a:cubicBezTo>
                        <a:pt x="341" y="50"/>
                        <a:pt x="345" y="51"/>
                        <a:pt x="349" y="51"/>
                      </a:cubicBezTo>
                      <a:cubicBezTo>
                        <a:pt x="349" y="51"/>
                        <a:pt x="350" y="51"/>
                        <a:pt x="351" y="51"/>
                      </a:cubicBezTo>
                      <a:cubicBezTo>
                        <a:pt x="360" y="50"/>
                        <a:pt x="371" y="50"/>
                        <a:pt x="371" y="50"/>
                      </a:cubicBezTo>
                      <a:cubicBezTo>
                        <a:pt x="372" y="44"/>
                        <a:pt x="372" y="44"/>
                        <a:pt x="372" y="44"/>
                      </a:cubicBezTo>
                      <a:cubicBezTo>
                        <a:pt x="360" y="42"/>
                        <a:pt x="360" y="42"/>
                        <a:pt x="360" y="42"/>
                      </a:cubicBezTo>
                      <a:cubicBezTo>
                        <a:pt x="360" y="42"/>
                        <a:pt x="373" y="33"/>
                        <a:pt x="373" y="29"/>
                      </a:cubicBezTo>
                      <a:cubicBezTo>
                        <a:pt x="373" y="26"/>
                        <a:pt x="375" y="10"/>
                        <a:pt x="375" y="10"/>
                      </a:cubicBezTo>
                      <a:cubicBezTo>
                        <a:pt x="375" y="10"/>
                        <a:pt x="374" y="9"/>
                        <a:pt x="372" y="9"/>
                      </a:cubicBezTo>
                      <a:cubicBezTo>
                        <a:pt x="372" y="9"/>
                        <a:pt x="371" y="9"/>
                        <a:pt x="370" y="10"/>
                      </a:cubicBezTo>
                      <a:cubicBezTo>
                        <a:pt x="370" y="11"/>
                        <a:pt x="365" y="19"/>
                        <a:pt x="363" y="22"/>
                      </a:cubicBezTo>
                      <a:cubicBezTo>
                        <a:pt x="342" y="36"/>
                        <a:pt x="342" y="36"/>
                        <a:pt x="342" y="36"/>
                      </a:cubicBezTo>
                      <a:cubicBezTo>
                        <a:pt x="176" y="13"/>
                        <a:pt x="176" y="13"/>
                        <a:pt x="176" y="13"/>
                      </a:cubicBezTo>
                      <a:cubicBezTo>
                        <a:pt x="91" y="0"/>
                        <a:pt x="91" y="0"/>
                        <a:pt x="91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8573324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96" grpId="0" animBg="1"/>
      <p:bldP spid="9" grpId="0"/>
      <p:bldP spid="10" grpId="0"/>
      <p:bldP spid="21" grpId="0" animBg="1"/>
      <p:bldP spid="1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3897B0-267D-4F4B-9983-39C48AE1CC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el 28">
            <a:extLst>
              <a:ext uri="{FF2B5EF4-FFF2-40B4-BE49-F238E27FC236}">
                <a16:creationId xmlns:a16="http://schemas.microsoft.com/office/drawing/2014/main" id="{A48B6662-58C5-050D-F2FE-697B7AC39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5652629" cy="936774"/>
          </a:xfrm>
        </p:spPr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2" name="masterTextbox3">
            <a:extLst>
              <a:ext uri="{FF2B5EF4-FFF2-40B4-BE49-F238E27FC236}">
                <a16:creationId xmlns:a16="http://schemas.microsoft.com/office/drawing/2014/main" id="{EF1EF462-3B6F-8EDA-F362-A7BD9DA0813F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42913" y="1714285"/>
            <a:ext cx="671512" cy="59030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1" i="0">
                <a:latin typeface="+mj-lt"/>
              </a:defRPr>
            </a:lvl1pPr>
            <a:lvl2pPr marL="180975" indent="-180975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/>
            </a:lvl2pPr>
            <a:lvl3pPr marL="360000" indent="-18000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>
                <a:latin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>
                <a:latin typeface="Arial" panose="020B0604020202020204" pitchFamily="34" charset="0"/>
              </a:defRPr>
            </a:lvl4pPr>
            <a:lvl5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cap="none" baseline="0"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b="1" cap="all" baseline="0">
                <a:latin typeface="+mj-lt"/>
              </a:defRPr>
            </a:lvl6pPr>
            <a:lvl7pPr marL="0"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b="0" i="0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01</a:t>
            </a:r>
          </a:p>
        </p:txBody>
      </p:sp>
      <p:sp>
        <p:nvSpPr>
          <p:cNvPr id="3" name="masterTextbox3">
            <a:extLst>
              <a:ext uri="{FF2B5EF4-FFF2-40B4-BE49-F238E27FC236}">
                <a16:creationId xmlns:a16="http://schemas.microsoft.com/office/drawing/2014/main" id="{04DF6483-29C5-A43E-36F4-1D2089B3C99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87388" y="2465159"/>
            <a:ext cx="671512" cy="59030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1" i="0">
                <a:latin typeface="+mj-lt"/>
              </a:defRPr>
            </a:lvl1pPr>
            <a:lvl2pPr marL="180975" indent="-180975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/>
            </a:lvl2pPr>
            <a:lvl3pPr marL="360000" indent="-18000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>
                <a:latin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>
                <a:latin typeface="Arial" panose="020B0604020202020204" pitchFamily="34" charset="0"/>
              </a:defRPr>
            </a:lvl4pPr>
            <a:lvl5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cap="none" baseline="0"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b="1" cap="all" baseline="0">
                <a:latin typeface="+mj-lt"/>
              </a:defRPr>
            </a:lvl6pPr>
            <a:lvl7pPr marL="0"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b="0" i="0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02</a:t>
            </a:r>
          </a:p>
        </p:txBody>
      </p:sp>
      <p:sp>
        <p:nvSpPr>
          <p:cNvPr id="4" name="masterTextbox3">
            <a:extLst>
              <a:ext uri="{FF2B5EF4-FFF2-40B4-BE49-F238E27FC236}">
                <a16:creationId xmlns:a16="http://schemas.microsoft.com/office/drawing/2014/main" id="{BFA640A0-0C25-4DD1-204C-86CD70C0ABC9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31404" y="3216032"/>
            <a:ext cx="671512" cy="59030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1" i="0">
                <a:latin typeface="+mj-lt"/>
              </a:defRPr>
            </a:lvl1pPr>
            <a:lvl2pPr marL="180975" indent="-180975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/>
            </a:lvl2pPr>
            <a:lvl3pPr marL="360000" indent="-18000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>
                <a:latin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>
                <a:latin typeface="Arial" panose="020B0604020202020204" pitchFamily="34" charset="0"/>
              </a:defRPr>
            </a:lvl4pPr>
            <a:lvl5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cap="none" baseline="0"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b="1" cap="all" baseline="0">
                <a:latin typeface="+mj-lt"/>
              </a:defRPr>
            </a:lvl6pPr>
            <a:lvl7pPr marL="0"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b="0" i="0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03</a:t>
            </a:r>
          </a:p>
        </p:txBody>
      </p:sp>
      <p:sp>
        <p:nvSpPr>
          <p:cNvPr id="5" name="masterTextbox3">
            <a:extLst>
              <a:ext uri="{FF2B5EF4-FFF2-40B4-BE49-F238E27FC236}">
                <a16:creationId xmlns:a16="http://schemas.microsoft.com/office/drawing/2014/main" id="{549B1C74-7C42-DADB-89AB-7C37167094D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851980" y="3949368"/>
            <a:ext cx="671512" cy="59030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1" i="0">
                <a:latin typeface="+mj-lt"/>
              </a:defRPr>
            </a:lvl1pPr>
            <a:lvl2pPr marL="180975" indent="-180975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/>
            </a:lvl2pPr>
            <a:lvl3pPr marL="360000" indent="-18000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>
                <a:latin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>
                <a:latin typeface="Arial" panose="020B0604020202020204" pitchFamily="34" charset="0"/>
              </a:defRPr>
            </a:lvl4pPr>
            <a:lvl5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cap="none" baseline="0"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b="1" cap="all" baseline="0">
                <a:latin typeface="+mj-lt"/>
              </a:defRPr>
            </a:lvl6pPr>
            <a:lvl7pPr marL="0"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b="0" i="0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04</a:t>
            </a:r>
          </a:p>
        </p:txBody>
      </p:sp>
      <p:sp>
        <p:nvSpPr>
          <p:cNvPr id="6" name="masterTextbox3">
            <a:extLst>
              <a:ext uri="{FF2B5EF4-FFF2-40B4-BE49-F238E27FC236}">
                <a16:creationId xmlns:a16="http://schemas.microsoft.com/office/drawing/2014/main" id="{68292AB2-0EF7-9BBD-3F00-CB5BC9561F3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995996" y="4717777"/>
            <a:ext cx="671512" cy="59030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1" i="0">
                <a:latin typeface="+mj-lt"/>
              </a:defRPr>
            </a:lvl1pPr>
            <a:lvl2pPr marL="180975" indent="-180975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/>
            </a:lvl2pPr>
            <a:lvl3pPr marL="360000" indent="-18000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>
                <a:latin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>
                <a:latin typeface="Arial" panose="020B0604020202020204" pitchFamily="34" charset="0"/>
              </a:defRPr>
            </a:lvl4pPr>
            <a:lvl5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cap="none" baseline="0"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b="1" cap="all" baseline="0">
                <a:latin typeface="+mj-lt"/>
              </a:defRPr>
            </a:lvl6pPr>
            <a:lvl7pPr marL="0"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b="0" i="0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05</a:t>
            </a:r>
          </a:p>
        </p:txBody>
      </p:sp>
      <p:sp>
        <p:nvSpPr>
          <p:cNvPr id="19" name="masterTextbox3">
            <a:extLst>
              <a:ext uri="{FF2B5EF4-FFF2-40B4-BE49-F238E27FC236}">
                <a16:creationId xmlns:a16="http://schemas.microsoft.com/office/drawing/2014/main" id="{1B45A780-3A52-C2F8-45D5-53E93ECF4CE0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140012" y="5456880"/>
            <a:ext cx="671512" cy="59030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3600" b="1" i="0">
                <a:latin typeface="+mj-lt"/>
              </a:defRPr>
            </a:lvl1pPr>
            <a:lvl2pPr marL="180975" indent="-180975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/>
            </a:lvl2pPr>
            <a:lvl3pPr marL="360000" indent="-18000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>
                <a:latin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>
                <a:latin typeface="Arial" panose="020B0604020202020204" pitchFamily="34" charset="0"/>
              </a:defRPr>
            </a:lvl4pPr>
            <a:lvl5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cap="none" baseline="0"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b="1" cap="all" baseline="0">
                <a:latin typeface="+mj-lt"/>
              </a:defRPr>
            </a:lvl6pPr>
            <a:lvl7pPr marL="0"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b="0" i="0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06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FA9F779E-D1C9-5EB6-44D6-8F4FA935335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CB58C3F2-3AE3-417E-B204-81AF71A01582}" type="slidenum">
              <a:rPr lang="de-DE" smtClean="0">
                <a:solidFill>
                  <a:srgbClr val="FFFFFF"/>
                </a:solidFill>
              </a:rPr>
              <a:pPr/>
              <a:t>2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58A0F4C2-94D2-4705-133E-FF641A0384C9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DE6B08A4-D211-484F-AC67-90CA0BD802AC}" type="datetime1">
              <a:rPr lang="de-DE" smtClean="0">
                <a:solidFill>
                  <a:srgbClr val="FFFFFF"/>
                </a:solidFill>
              </a:rPr>
              <a:t>03.03.2025</a:t>
            </a:fld>
            <a:endParaRPr lang="de-DE" dirty="0">
              <a:solidFill>
                <a:srgbClr val="FFFFFF"/>
              </a:solidFill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767A236F-2269-73E7-F776-BCC8BD2D062C}"/>
              </a:ext>
            </a:extLst>
          </p:cNvPr>
          <p:cNvGrpSpPr/>
          <p:nvPr/>
        </p:nvGrpSpPr>
        <p:grpSpPr>
          <a:xfrm>
            <a:off x="2291281" y="1412976"/>
            <a:ext cx="9493351" cy="5472408"/>
            <a:chOff x="-4483533" y="-327535"/>
            <a:chExt cx="13909180" cy="8017896"/>
          </a:xfrm>
        </p:grpSpPr>
        <p:pic>
          <p:nvPicPr>
            <p:cNvPr id="20" name="Graphic 61">
              <a:extLst>
                <a:ext uri="{FF2B5EF4-FFF2-40B4-BE49-F238E27FC236}">
                  <a16:creationId xmlns:a16="http://schemas.microsoft.com/office/drawing/2014/main" id="{B963B1DA-C7A0-DF20-1FCE-0167EAE1F1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302929">
              <a:off x="-4483533" y="-327535"/>
              <a:ext cx="13909180" cy="8017896"/>
            </a:xfrm>
            <a:prstGeom prst="rect">
              <a:avLst/>
            </a:prstGeom>
          </p:spPr>
        </p:pic>
        <p:pic>
          <p:nvPicPr>
            <p:cNvPr id="21" name="Graphic 63">
              <a:extLst>
                <a:ext uri="{FF2B5EF4-FFF2-40B4-BE49-F238E27FC236}">
                  <a16:creationId xmlns:a16="http://schemas.microsoft.com/office/drawing/2014/main" id="{0D2ACFE3-FF78-1547-950F-DC0B940D8D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5434949" y="4029053"/>
              <a:ext cx="1116243" cy="1116243"/>
            </a:xfrm>
            <a:prstGeom prst="rect">
              <a:avLst/>
            </a:prstGeom>
          </p:spPr>
        </p:pic>
        <p:grpSp>
          <p:nvGrpSpPr>
            <p:cNvPr id="24" name="Group 3">
              <a:extLst>
                <a:ext uri="{FF2B5EF4-FFF2-40B4-BE49-F238E27FC236}">
                  <a16:creationId xmlns:a16="http://schemas.microsoft.com/office/drawing/2014/main" id="{52816585-F2BB-F51B-8C6B-9A65B1D416ED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7508317" y="788811"/>
              <a:ext cx="1233828" cy="1401140"/>
              <a:chOff x="9759210" y="1088292"/>
              <a:chExt cx="956611" cy="1086331"/>
            </a:xfrm>
          </p:grpSpPr>
          <p:pic>
            <p:nvPicPr>
              <p:cNvPr id="30" name="Graphic 62">
                <a:extLst>
                  <a:ext uri="{FF2B5EF4-FFF2-40B4-BE49-F238E27FC236}">
                    <a16:creationId xmlns:a16="http://schemas.microsoft.com/office/drawing/2014/main" id="{12297451-3F88-D8C3-B715-2C62B6B534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 rot="19368955">
                <a:off x="10188577" y="1088292"/>
                <a:ext cx="527244" cy="481396"/>
              </a:xfrm>
              <a:prstGeom prst="rect">
                <a:avLst/>
              </a:prstGeom>
            </p:spPr>
          </p:pic>
          <p:pic>
            <p:nvPicPr>
              <p:cNvPr id="31" name="Graphic 65">
                <a:extLst>
                  <a:ext uri="{FF2B5EF4-FFF2-40B4-BE49-F238E27FC236}">
                    <a16:creationId xmlns:a16="http://schemas.microsoft.com/office/drawing/2014/main" id="{4C0460D6-25D3-8180-3DBB-C871590AE3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>
                <a:extLst>
                  <a:ext uri="{96DAC541-7B7A-43D3-8B79-37D633B846F1}">
                    <asvg:svgBlip xmlns:asvg="http://schemas.microsoft.com/office/drawing/2016/SVG/main" r:embed="rId23"/>
                  </a:ext>
                </a:extLst>
              </a:blip>
              <a:stretch>
                <a:fillRect/>
              </a:stretch>
            </p:blipFill>
            <p:spPr>
              <a:xfrm>
                <a:off x="9759210" y="1250698"/>
                <a:ext cx="619125" cy="923925"/>
              </a:xfrm>
              <a:prstGeom prst="rect">
                <a:avLst/>
              </a:prstGeom>
            </p:spPr>
          </p:pic>
        </p:grpSp>
        <p:grpSp>
          <p:nvGrpSpPr>
            <p:cNvPr id="25" name="Group 2">
              <a:extLst>
                <a:ext uri="{FF2B5EF4-FFF2-40B4-BE49-F238E27FC236}">
                  <a16:creationId xmlns:a16="http://schemas.microsoft.com/office/drawing/2014/main" id="{A610D8B0-AA29-7F3F-6793-871D281E2485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6400799" y="2299317"/>
              <a:ext cx="1168209" cy="1373346"/>
              <a:chOff x="8479021" y="2909887"/>
              <a:chExt cx="829131" cy="974726"/>
            </a:xfrm>
          </p:grpSpPr>
          <p:pic>
            <p:nvPicPr>
              <p:cNvPr id="27" name="Graphic 64">
                <a:extLst>
                  <a:ext uri="{FF2B5EF4-FFF2-40B4-BE49-F238E27FC236}">
                    <a16:creationId xmlns:a16="http://schemas.microsoft.com/office/drawing/2014/main" id="{8F6043AA-442F-E61E-968C-50A39CB555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>
                <a:extLst>
                  <a:ext uri="{96DAC541-7B7A-43D3-8B79-37D633B846F1}">
                    <asvg:svgBlip xmlns:asvg="http://schemas.microsoft.com/office/drawing/2016/SVG/main" r:embed="rId25"/>
                  </a:ext>
                </a:extLst>
              </a:blip>
              <a:stretch>
                <a:fillRect/>
              </a:stretch>
            </p:blipFill>
            <p:spPr>
              <a:xfrm>
                <a:off x="8479021" y="3101975"/>
                <a:ext cx="829131" cy="782638"/>
              </a:xfrm>
              <a:prstGeom prst="rect">
                <a:avLst/>
              </a:prstGeom>
            </p:spPr>
          </p:pic>
          <p:pic>
            <p:nvPicPr>
              <p:cNvPr id="28" name="Graphic 66">
                <a:extLst>
                  <a:ext uri="{FF2B5EF4-FFF2-40B4-BE49-F238E27FC236}">
                    <a16:creationId xmlns:a16="http://schemas.microsoft.com/office/drawing/2014/main" id="{029B3E71-9DDB-6AE1-480A-D1AB4BF501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6">
                <a:extLst>
                  <a:ext uri="{96DAC541-7B7A-43D3-8B79-37D633B846F1}">
                    <asvg:svgBlip xmlns:asvg="http://schemas.microsoft.com/office/drawing/2016/SVG/main" r:embed="rId27"/>
                  </a:ext>
                </a:extLst>
              </a:blip>
              <a:stretch>
                <a:fillRect/>
              </a:stretch>
            </p:blipFill>
            <p:spPr>
              <a:xfrm>
                <a:off x="9056687" y="2909887"/>
                <a:ext cx="200025" cy="200025"/>
              </a:xfrm>
              <a:prstGeom prst="rect">
                <a:avLst/>
              </a:prstGeom>
            </p:spPr>
          </p:pic>
        </p:grpSp>
      </p:grpSp>
      <p:sp>
        <p:nvSpPr>
          <p:cNvPr id="32" name="masterTextbox3">
            <a:extLst>
              <a:ext uri="{FF2B5EF4-FFF2-40B4-BE49-F238E27FC236}">
                <a16:creationId xmlns:a16="http://schemas.microsoft.com/office/drawing/2014/main" id="{319BA9B7-BE67-E460-26EB-E15B0853451A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379476" y="2468536"/>
            <a:ext cx="6211966" cy="70326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noAutofit/>
          </a:bodyPr>
          <a:lstStyle>
            <a:defPPr>
              <a:defRPr lang="de-DE"/>
            </a:defPPr>
            <a:lvl1pPr indent="0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0" i="0">
                <a:latin typeface="+mj-lt"/>
              </a:defRPr>
            </a:lvl1pPr>
            <a:lvl2pPr marL="180975" indent="-180975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chemeClr val="bg1"/>
                </a:solidFill>
              </a:defRPr>
            </a:lvl2pPr>
            <a:lvl3pPr marL="360000" indent="-18000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b="1" cap="all" baseline="0">
                <a:latin typeface="+mj-lt"/>
              </a:defRPr>
            </a:lvl6pPr>
            <a:lvl7pPr marL="0"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b="0" i="0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sz="2000" dirty="0"/>
              <a:t>Die wirtschaftliche Situation</a:t>
            </a:r>
            <a:br>
              <a:rPr lang="de-DE" sz="2000" dirty="0"/>
            </a:br>
            <a:r>
              <a:rPr lang="de-DE" sz="1600" dirty="0"/>
              <a:t>Aktuelle Treiber und Entwicklungen des Marktes </a:t>
            </a:r>
            <a:endParaRPr lang="de-DE" sz="2000" dirty="0"/>
          </a:p>
        </p:txBody>
      </p:sp>
      <p:sp>
        <p:nvSpPr>
          <p:cNvPr id="33" name="masterTextbox3">
            <a:extLst>
              <a:ext uri="{FF2B5EF4-FFF2-40B4-BE49-F238E27FC236}">
                <a16:creationId xmlns:a16="http://schemas.microsoft.com/office/drawing/2014/main" id="{A8E9E63C-C2EB-3A9C-A4E9-56D458AFDE61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559496" y="3157786"/>
            <a:ext cx="6469972" cy="70326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de-DE"/>
            </a:defPPr>
            <a:lvl1pPr indent="0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0" i="0">
                <a:latin typeface="+mj-lt"/>
              </a:defRPr>
            </a:lvl1pPr>
            <a:lvl2pPr marL="180975" indent="-180975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chemeClr val="bg1"/>
                </a:solidFill>
              </a:defRPr>
            </a:lvl2pPr>
            <a:lvl3pPr marL="360000" indent="-18000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b="1" cap="all" baseline="0">
                <a:latin typeface="+mj-lt"/>
              </a:defRPr>
            </a:lvl6pPr>
            <a:lvl7pPr marL="0"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b="0" i="0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sz="2000" dirty="0"/>
              <a:t>US </a:t>
            </a:r>
            <a:r>
              <a:rPr lang="de-DE" sz="2000" dirty="0" err="1"/>
              <a:t>Casualty</a:t>
            </a:r>
            <a:br>
              <a:rPr lang="de-DE" sz="2000" dirty="0"/>
            </a:br>
            <a:r>
              <a:rPr lang="de-DE" sz="1600" dirty="0"/>
              <a:t>Die große Sorge der Versicherer</a:t>
            </a:r>
          </a:p>
        </p:txBody>
      </p:sp>
      <p:sp>
        <p:nvSpPr>
          <p:cNvPr id="34" name="masterTextbox3">
            <a:extLst>
              <a:ext uri="{FF2B5EF4-FFF2-40B4-BE49-F238E27FC236}">
                <a16:creationId xmlns:a16="http://schemas.microsoft.com/office/drawing/2014/main" id="{0A5CC1DD-7E36-B956-5311-0FFDC99D6519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1765103" y="3894684"/>
            <a:ext cx="5771057" cy="70326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de-DE"/>
            </a:defPPr>
            <a:lvl1pPr indent="0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0" i="0">
                <a:latin typeface="+mj-lt"/>
              </a:defRPr>
            </a:lvl1pPr>
            <a:lvl2pPr marL="180975" indent="-180975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chemeClr val="bg1"/>
                </a:solidFill>
              </a:defRPr>
            </a:lvl2pPr>
            <a:lvl3pPr marL="360000" indent="-18000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b="1" cap="all" baseline="0">
                <a:latin typeface="+mj-lt"/>
              </a:defRPr>
            </a:lvl6pPr>
            <a:lvl7pPr marL="0"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b="0" i="0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sz="2000" dirty="0"/>
              <a:t>ESG-Themen</a:t>
            </a:r>
            <a:br>
              <a:rPr lang="de-DE" sz="2000" dirty="0"/>
            </a:br>
            <a:r>
              <a:rPr lang="de-DE" sz="1600" dirty="0" err="1"/>
              <a:t>LkSG</a:t>
            </a:r>
            <a:r>
              <a:rPr lang="de-DE" sz="1600" dirty="0"/>
              <a:t> | Umweltgesetzgebung | „Klimaklagen“ | PFAS</a:t>
            </a:r>
          </a:p>
        </p:txBody>
      </p:sp>
      <p:sp>
        <p:nvSpPr>
          <p:cNvPr id="35" name="masterTextbox3">
            <a:extLst>
              <a:ext uri="{FF2B5EF4-FFF2-40B4-BE49-F238E27FC236}">
                <a16:creationId xmlns:a16="http://schemas.microsoft.com/office/drawing/2014/main" id="{6F31A825-20A4-E53A-97A1-F66CA388C443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1861252" y="4597946"/>
            <a:ext cx="6971052" cy="70326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de-DE"/>
            </a:defPPr>
            <a:lvl1pPr indent="0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0" i="0">
                <a:latin typeface="+mj-lt"/>
              </a:defRPr>
            </a:lvl1pPr>
            <a:lvl2pPr marL="180975" indent="-180975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chemeClr val="bg1"/>
                </a:solidFill>
              </a:defRPr>
            </a:lvl2pPr>
            <a:lvl3pPr marL="360000" indent="-18000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b="1" cap="all" baseline="0">
                <a:latin typeface="+mj-lt"/>
              </a:defRPr>
            </a:lvl6pPr>
            <a:lvl7pPr marL="0"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b="0" i="0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sz="2000" dirty="0"/>
              <a:t>Rechtliche Veränderungen</a:t>
            </a:r>
            <a:br>
              <a:rPr lang="de-DE" sz="2000" dirty="0"/>
            </a:br>
            <a:r>
              <a:rPr lang="de-DE" sz="1600" dirty="0"/>
              <a:t>Neue Gesetzgebungsinitiativen | EU-Richtlinien | EU-Verbandsklagerichtlinie</a:t>
            </a:r>
          </a:p>
        </p:txBody>
      </p:sp>
      <p:sp>
        <p:nvSpPr>
          <p:cNvPr id="36" name="masterTextbox3">
            <a:extLst>
              <a:ext uri="{FF2B5EF4-FFF2-40B4-BE49-F238E27FC236}">
                <a16:creationId xmlns:a16="http://schemas.microsoft.com/office/drawing/2014/main" id="{1445D7DB-9AE3-CE63-B374-29B60AAAD9DC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2040981" y="5390034"/>
            <a:ext cx="5361513" cy="70326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indent="0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0" i="0">
                <a:latin typeface="+mj-lt"/>
              </a:defRPr>
            </a:lvl1pPr>
            <a:lvl2pPr marL="180975" indent="-180975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chemeClr val="bg1"/>
                </a:solidFill>
              </a:defRPr>
            </a:lvl2pPr>
            <a:lvl3pPr marL="360000" indent="-18000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b="1" cap="all" baseline="0">
                <a:latin typeface="+mj-lt"/>
              </a:defRPr>
            </a:lvl6pPr>
            <a:lvl7pPr marL="0"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b="0" i="0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sz="2000" dirty="0" err="1"/>
              <a:t>Liability</a:t>
            </a:r>
            <a:r>
              <a:rPr lang="de-DE" sz="2000" dirty="0"/>
              <a:t> Loss Trends 2024</a:t>
            </a:r>
          </a:p>
        </p:txBody>
      </p:sp>
      <p:sp>
        <p:nvSpPr>
          <p:cNvPr id="37" name="masterTextbox3">
            <a:extLst>
              <a:ext uri="{FF2B5EF4-FFF2-40B4-BE49-F238E27FC236}">
                <a16:creationId xmlns:a16="http://schemas.microsoft.com/office/drawing/2014/main" id="{B69BA187-8603-8246-6E13-C3334503E4A0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1187736" y="1622242"/>
            <a:ext cx="5361513" cy="70326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indent="0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0" i="0">
                <a:latin typeface="+mj-lt"/>
              </a:defRPr>
            </a:lvl1pPr>
            <a:lvl2pPr marL="180975" indent="-180975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chemeClr val="bg1"/>
                </a:solidFill>
              </a:defRPr>
            </a:lvl2pPr>
            <a:lvl3pPr marL="360000" indent="-18000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b="1" cap="all" baseline="0">
                <a:latin typeface="+mj-lt"/>
              </a:defRPr>
            </a:lvl6pPr>
            <a:lvl7pPr marL="0"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b="0" i="0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sz="2000" dirty="0"/>
              <a:t>Zahlen, Daten, Fakten</a:t>
            </a:r>
            <a:br>
              <a:rPr lang="de-DE" sz="2000" dirty="0"/>
            </a:br>
            <a:r>
              <a:rPr lang="de-DE" sz="1600" dirty="0"/>
              <a:t>Ecclesia Gruppe und </a:t>
            </a:r>
            <a:r>
              <a:rPr lang="de-DE" sz="1600" dirty="0" err="1"/>
              <a:t>deas</a:t>
            </a:r>
            <a:r>
              <a:rPr lang="de-DE" sz="1600" dirty="0"/>
              <a:t> </a:t>
            </a:r>
            <a:endParaRPr lang="de-DE" sz="2000" dirty="0"/>
          </a:p>
        </p:txBody>
      </p:sp>
      <p:grpSp>
        <p:nvGrpSpPr>
          <p:cNvPr id="38" name="Group 8">
            <a:extLst>
              <a:ext uri="{FF2B5EF4-FFF2-40B4-BE49-F238E27FC236}">
                <a16:creationId xmlns:a16="http://schemas.microsoft.com/office/drawing/2014/main" id="{3396819A-8274-EC52-206E-9DB45E6C478D}"/>
              </a:ext>
            </a:extLst>
          </p:cNvPr>
          <p:cNvGrpSpPr/>
          <p:nvPr/>
        </p:nvGrpSpPr>
        <p:grpSpPr>
          <a:xfrm>
            <a:off x="-5511952" y="2292015"/>
            <a:ext cx="5113637" cy="4188876"/>
            <a:chOff x="445135" y="1549065"/>
            <a:chExt cx="4331926" cy="3548531"/>
          </a:xfrm>
        </p:grpSpPr>
        <p:grpSp>
          <p:nvGrpSpPr>
            <p:cNvPr id="39" name="Group 7">
              <a:extLst>
                <a:ext uri="{FF2B5EF4-FFF2-40B4-BE49-F238E27FC236}">
                  <a16:creationId xmlns:a16="http://schemas.microsoft.com/office/drawing/2014/main" id="{9FFD1780-B19F-48E1-5EF2-9F39426BB597}"/>
                </a:ext>
              </a:extLst>
            </p:cNvPr>
            <p:cNvGrpSpPr/>
            <p:nvPr/>
          </p:nvGrpSpPr>
          <p:grpSpPr>
            <a:xfrm>
              <a:off x="445135" y="1549065"/>
              <a:ext cx="3558677" cy="3191816"/>
              <a:chOff x="445135" y="1549065"/>
              <a:chExt cx="3558677" cy="3191816"/>
            </a:xfrm>
          </p:grpSpPr>
          <p:sp>
            <p:nvSpPr>
              <p:cNvPr id="128" name="Block Arc 1015">
                <a:extLst>
                  <a:ext uri="{FF2B5EF4-FFF2-40B4-BE49-F238E27FC236}">
                    <a16:creationId xmlns:a16="http://schemas.microsoft.com/office/drawing/2014/main" id="{39095487-B884-A600-4274-E1B1DA16252D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20207308">
                <a:off x="725875" y="1982498"/>
                <a:ext cx="3010427" cy="2737514"/>
              </a:xfrm>
              <a:prstGeom prst="blockArc">
                <a:avLst>
                  <a:gd name="adj1" fmla="val 12006639"/>
                  <a:gd name="adj2" fmla="val 0"/>
                  <a:gd name="adj3" fmla="val 25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solidFill>
                    <a:schemeClr val="tx1"/>
                  </a:solidFill>
                </a:endParaRPr>
              </a:p>
            </p:txBody>
          </p:sp>
          <p:pic>
            <p:nvPicPr>
              <p:cNvPr id="129" name="Picture 8">
                <a:extLst>
                  <a:ext uri="{FF2B5EF4-FFF2-40B4-BE49-F238E27FC236}">
                    <a16:creationId xmlns:a16="http://schemas.microsoft.com/office/drawing/2014/main" id="{05BC73CE-513E-D3DD-C02B-F3159ACB480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34972" y="1928279"/>
                <a:ext cx="9882" cy="61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130" name="Group 1018">
                <a:extLst>
                  <a:ext uri="{FF2B5EF4-FFF2-40B4-BE49-F238E27FC236}">
                    <a16:creationId xmlns:a16="http://schemas.microsoft.com/office/drawing/2014/main" id="{C323C229-3BAB-8182-B842-0E97C66801A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45135" y="1549065"/>
                <a:ext cx="3106586" cy="2757018"/>
                <a:chOff x="528638" y="2306638"/>
                <a:chExt cx="3992563" cy="3543301"/>
              </a:xfrm>
            </p:grpSpPr>
            <p:sp>
              <p:nvSpPr>
                <p:cNvPr id="260" name="Freeform 38">
                  <a:extLst>
                    <a:ext uri="{FF2B5EF4-FFF2-40B4-BE49-F238E27FC236}">
                      <a16:creationId xmlns:a16="http://schemas.microsoft.com/office/drawing/2014/main" id="{921FB973-6F3C-1285-3058-1399D284596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58800" y="4167188"/>
                  <a:ext cx="139700" cy="38100"/>
                </a:xfrm>
                <a:custGeom>
                  <a:avLst/>
                  <a:gdLst>
                    <a:gd name="T0" fmla="*/ 75 w 76"/>
                    <a:gd name="T1" fmla="*/ 21 h 21"/>
                    <a:gd name="T2" fmla="*/ 76 w 76"/>
                    <a:gd name="T3" fmla="*/ 13 h 21"/>
                    <a:gd name="T4" fmla="*/ 2 w 76"/>
                    <a:gd name="T5" fmla="*/ 0 h 21"/>
                    <a:gd name="T6" fmla="*/ 0 w 76"/>
                    <a:gd name="T7" fmla="*/ 8 h 21"/>
                    <a:gd name="T8" fmla="*/ 75 w 76"/>
                    <a:gd name="T9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6" h="21">
                      <a:moveTo>
                        <a:pt x="75" y="21"/>
                      </a:moveTo>
                      <a:cubicBezTo>
                        <a:pt x="75" y="18"/>
                        <a:pt x="76" y="15"/>
                        <a:pt x="76" y="13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2"/>
                        <a:pt x="1" y="5"/>
                        <a:pt x="0" y="8"/>
                      </a:cubicBezTo>
                      <a:lnTo>
                        <a:pt x="75" y="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1" name="Freeform 45">
                  <a:extLst>
                    <a:ext uri="{FF2B5EF4-FFF2-40B4-BE49-F238E27FC236}">
                      <a16:creationId xmlns:a16="http://schemas.microsoft.com/office/drawing/2014/main" id="{CB755A9A-6E66-1134-E6F6-562807E23A4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95313" y="3963988"/>
                  <a:ext cx="177800" cy="80963"/>
                </a:xfrm>
                <a:custGeom>
                  <a:avLst/>
                  <a:gdLst>
                    <a:gd name="T0" fmla="*/ 0 w 96"/>
                    <a:gd name="T1" fmla="*/ 19 h 44"/>
                    <a:gd name="T2" fmla="*/ 91 w 96"/>
                    <a:gd name="T3" fmla="*/ 44 h 44"/>
                    <a:gd name="T4" fmla="*/ 93 w 96"/>
                    <a:gd name="T5" fmla="*/ 35 h 44"/>
                    <a:gd name="T6" fmla="*/ 96 w 96"/>
                    <a:gd name="T7" fmla="*/ 25 h 44"/>
                    <a:gd name="T8" fmla="*/ 6 w 96"/>
                    <a:gd name="T9" fmla="*/ 0 h 44"/>
                    <a:gd name="T10" fmla="*/ 3 w 96"/>
                    <a:gd name="T11" fmla="*/ 10 h 44"/>
                    <a:gd name="T12" fmla="*/ 0 w 96"/>
                    <a:gd name="T13" fmla="*/ 19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6" h="44">
                      <a:moveTo>
                        <a:pt x="0" y="19"/>
                      </a:moveTo>
                      <a:cubicBezTo>
                        <a:pt x="91" y="44"/>
                        <a:pt x="91" y="44"/>
                        <a:pt x="91" y="44"/>
                      </a:cubicBezTo>
                      <a:cubicBezTo>
                        <a:pt x="91" y="43"/>
                        <a:pt x="93" y="36"/>
                        <a:pt x="93" y="35"/>
                      </a:cubicBezTo>
                      <a:cubicBezTo>
                        <a:pt x="94" y="33"/>
                        <a:pt x="96" y="26"/>
                        <a:pt x="96" y="25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5" y="1"/>
                        <a:pt x="3" y="8"/>
                        <a:pt x="3" y="10"/>
                      </a:cubicBezTo>
                      <a:cubicBezTo>
                        <a:pt x="3" y="11"/>
                        <a:pt x="1" y="18"/>
                        <a:pt x="0" y="1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262" name="Group 1238">
                  <a:extLst>
                    <a:ext uri="{FF2B5EF4-FFF2-40B4-BE49-F238E27FC236}">
                      <a16:creationId xmlns:a16="http://schemas.microsoft.com/office/drawing/2014/main" id="{FD27E804-5585-69FB-C5BE-7EAF3051BBF6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528638" y="2306638"/>
                  <a:ext cx="3992563" cy="3543301"/>
                  <a:chOff x="528638" y="2306638"/>
                  <a:chExt cx="3992563" cy="3543301"/>
                </a:xfrm>
              </p:grpSpPr>
              <p:sp>
                <p:nvSpPr>
                  <p:cNvPr id="263" name="Oval 10">
                    <a:extLst>
                      <a:ext uri="{FF2B5EF4-FFF2-40B4-BE49-F238E27FC236}">
                        <a16:creationId xmlns:a16="http://schemas.microsoft.com/office/drawing/2014/main" id="{BB308CCC-16C9-F256-FFC0-28367891A570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957263" y="5762626"/>
                    <a:ext cx="87313" cy="8731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4" name="Freeform 11">
                    <a:extLst>
                      <a:ext uri="{FF2B5EF4-FFF2-40B4-BE49-F238E27FC236}">
                        <a16:creationId xmlns:a16="http://schemas.microsoft.com/office/drawing/2014/main" id="{0EA869D0-A505-276B-3312-1F73AC625FE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008188" y="2438401"/>
                    <a:ext cx="63500" cy="136525"/>
                  </a:xfrm>
                  <a:custGeom>
                    <a:avLst/>
                    <a:gdLst>
                      <a:gd name="T0" fmla="*/ 26 w 34"/>
                      <a:gd name="T1" fmla="*/ 74 h 74"/>
                      <a:gd name="T2" fmla="*/ 34 w 34"/>
                      <a:gd name="T3" fmla="*/ 71 h 74"/>
                      <a:gd name="T4" fmla="*/ 8 w 34"/>
                      <a:gd name="T5" fmla="*/ 0 h 74"/>
                      <a:gd name="T6" fmla="*/ 0 w 34"/>
                      <a:gd name="T7" fmla="*/ 2 h 74"/>
                      <a:gd name="T8" fmla="*/ 26 w 34"/>
                      <a:gd name="T9" fmla="*/ 7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" h="74">
                        <a:moveTo>
                          <a:pt x="26" y="74"/>
                        </a:moveTo>
                        <a:cubicBezTo>
                          <a:pt x="28" y="73"/>
                          <a:pt x="31" y="72"/>
                          <a:pt x="34" y="71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3" y="1"/>
                          <a:pt x="0" y="2"/>
                        </a:cubicBezTo>
                        <a:lnTo>
                          <a:pt x="26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5" name="Freeform 12">
                    <a:extLst>
                      <a:ext uri="{FF2B5EF4-FFF2-40B4-BE49-F238E27FC236}">
                        <a16:creationId xmlns:a16="http://schemas.microsoft.com/office/drawing/2014/main" id="{806A6166-31A6-A721-9186-5264505AA76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389188" y="2338388"/>
                    <a:ext cx="39688" cy="139700"/>
                  </a:xfrm>
                  <a:custGeom>
                    <a:avLst/>
                    <a:gdLst>
                      <a:gd name="T0" fmla="*/ 13 w 21"/>
                      <a:gd name="T1" fmla="*/ 76 h 76"/>
                      <a:gd name="T2" fmla="*/ 21 w 21"/>
                      <a:gd name="T3" fmla="*/ 75 h 76"/>
                      <a:gd name="T4" fmla="*/ 8 w 21"/>
                      <a:gd name="T5" fmla="*/ 0 h 76"/>
                      <a:gd name="T6" fmla="*/ 0 w 21"/>
                      <a:gd name="T7" fmla="*/ 1 h 76"/>
                      <a:gd name="T8" fmla="*/ 13 w 21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6">
                        <a:moveTo>
                          <a:pt x="13" y="76"/>
                        </a:moveTo>
                        <a:cubicBezTo>
                          <a:pt x="15" y="75"/>
                          <a:pt x="18" y="75"/>
                          <a:pt x="21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2" y="1"/>
                          <a:pt x="0" y="1"/>
                        </a:cubicBezTo>
                        <a:lnTo>
                          <a:pt x="13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6" name="Freeform 13">
                    <a:extLst>
                      <a:ext uri="{FF2B5EF4-FFF2-40B4-BE49-F238E27FC236}">
                        <a16:creationId xmlns:a16="http://schemas.microsoft.com/office/drawing/2014/main" id="{1097FA72-B487-9A7C-6446-55B15031CED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584450" y="2314576"/>
                    <a:ext cx="28575" cy="139700"/>
                  </a:xfrm>
                  <a:custGeom>
                    <a:avLst/>
                    <a:gdLst>
                      <a:gd name="T0" fmla="*/ 7 w 15"/>
                      <a:gd name="T1" fmla="*/ 76 h 76"/>
                      <a:gd name="T2" fmla="*/ 15 w 15"/>
                      <a:gd name="T3" fmla="*/ 75 h 76"/>
                      <a:gd name="T4" fmla="*/ 8 w 15"/>
                      <a:gd name="T5" fmla="*/ 0 h 76"/>
                      <a:gd name="T6" fmla="*/ 0 w 15"/>
                      <a:gd name="T7" fmla="*/ 1 h 76"/>
                      <a:gd name="T8" fmla="*/ 7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7" y="76"/>
                        </a:moveTo>
                        <a:cubicBezTo>
                          <a:pt x="9" y="76"/>
                          <a:pt x="12" y="75"/>
                          <a:pt x="15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6" y="0"/>
                          <a:pt x="3" y="0"/>
                          <a:pt x="0" y="1"/>
                        </a:cubicBezTo>
                        <a:lnTo>
                          <a:pt x="7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7" name="Freeform 14">
                    <a:extLst>
                      <a:ext uri="{FF2B5EF4-FFF2-40B4-BE49-F238E27FC236}">
                        <a16:creationId xmlns:a16="http://schemas.microsoft.com/office/drawing/2014/main" id="{8FB28781-A8C6-77C0-C80A-C8DA24971B9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197100" y="2378076"/>
                    <a:ext cx="49213" cy="141288"/>
                  </a:xfrm>
                  <a:custGeom>
                    <a:avLst/>
                    <a:gdLst>
                      <a:gd name="T0" fmla="*/ 19 w 27"/>
                      <a:gd name="T1" fmla="*/ 76 h 76"/>
                      <a:gd name="T2" fmla="*/ 27 w 27"/>
                      <a:gd name="T3" fmla="*/ 73 h 76"/>
                      <a:gd name="T4" fmla="*/ 7 w 27"/>
                      <a:gd name="T5" fmla="*/ 0 h 76"/>
                      <a:gd name="T6" fmla="*/ 0 w 27"/>
                      <a:gd name="T7" fmla="*/ 2 h 76"/>
                      <a:gd name="T8" fmla="*/ 19 w 27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6">
                        <a:moveTo>
                          <a:pt x="19" y="76"/>
                        </a:moveTo>
                        <a:cubicBezTo>
                          <a:pt x="22" y="75"/>
                          <a:pt x="24" y="74"/>
                          <a:pt x="27" y="73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2" y="2"/>
                          <a:pt x="0" y="2"/>
                        </a:cubicBezTo>
                        <a:lnTo>
                          <a:pt x="19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8" name="Freeform 15">
                    <a:extLst>
                      <a:ext uri="{FF2B5EF4-FFF2-40B4-BE49-F238E27FC236}">
                        <a16:creationId xmlns:a16="http://schemas.microsoft.com/office/drawing/2014/main" id="{6829FD63-5529-C787-972F-A5EB3C13921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322638" y="2381251"/>
                    <a:ext cx="49213" cy="138113"/>
                  </a:xfrm>
                  <a:custGeom>
                    <a:avLst/>
                    <a:gdLst>
                      <a:gd name="T0" fmla="*/ 0 w 27"/>
                      <a:gd name="T1" fmla="*/ 73 h 75"/>
                      <a:gd name="T2" fmla="*/ 8 w 27"/>
                      <a:gd name="T3" fmla="*/ 75 h 75"/>
                      <a:gd name="T4" fmla="*/ 27 w 27"/>
                      <a:gd name="T5" fmla="*/ 2 h 75"/>
                      <a:gd name="T6" fmla="*/ 20 w 27"/>
                      <a:gd name="T7" fmla="*/ 0 h 75"/>
                      <a:gd name="T8" fmla="*/ 0 w 27"/>
                      <a:gd name="T9" fmla="*/ 73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5">
                        <a:moveTo>
                          <a:pt x="0" y="73"/>
                        </a:moveTo>
                        <a:cubicBezTo>
                          <a:pt x="3" y="74"/>
                          <a:pt x="5" y="75"/>
                          <a:pt x="8" y="75"/>
                        </a:cubicBezTo>
                        <a:cubicBezTo>
                          <a:pt x="27" y="2"/>
                          <a:pt x="27" y="2"/>
                          <a:pt x="27" y="2"/>
                        </a:cubicBezTo>
                        <a:cubicBezTo>
                          <a:pt x="25" y="1"/>
                          <a:pt x="22" y="1"/>
                          <a:pt x="20" y="0"/>
                        </a:cubicBezTo>
                        <a:lnTo>
                          <a:pt x="0" y="7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9" name="Freeform 16">
                    <a:extLst>
                      <a:ext uri="{FF2B5EF4-FFF2-40B4-BE49-F238E27FC236}">
                        <a16:creationId xmlns:a16="http://schemas.microsoft.com/office/drawing/2014/main" id="{DC5EDD6F-4F83-9375-9860-2F5C9247460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763838" y="2306638"/>
                    <a:ext cx="38100" cy="174625"/>
                  </a:xfrm>
                  <a:custGeom>
                    <a:avLst/>
                    <a:gdLst>
                      <a:gd name="T0" fmla="*/ 0 w 20"/>
                      <a:gd name="T1" fmla="*/ 0 h 94"/>
                      <a:gd name="T2" fmla="*/ 0 w 20"/>
                      <a:gd name="T3" fmla="*/ 94 h 94"/>
                      <a:gd name="T4" fmla="*/ 10 w 20"/>
                      <a:gd name="T5" fmla="*/ 94 h 94"/>
                      <a:gd name="T6" fmla="*/ 20 w 20"/>
                      <a:gd name="T7" fmla="*/ 94 h 94"/>
                      <a:gd name="T8" fmla="*/ 20 w 20"/>
                      <a:gd name="T9" fmla="*/ 0 h 94"/>
                      <a:gd name="T10" fmla="*/ 10 w 20"/>
                      <a:gd name="T11" fmla="*/ 0 h 94"/>
                      <a:gd name="T12" fmla="*/ 0 w 20"/>
                      <a:gd name="T13" fmla="*/ 0 h 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" h="94">
                        <a:moveTo>
                          <a:pt x="0" y="0"/>
                        </a:moveTo>
                        <a:cubicBezTo>
                          <a:pt x="0" y="94"/>
                          <a:pt x="0" y="94"/>
                          <a:pt x="0" y="94"/>
                        </a:cubicBezTo>
                        <a:cubicBezTo>
                          <a:pt x="1" y="94"/>
                          <a:pt x="8" y="94"/>
                          <a:pt x="10" y="94"/>
                        </a:cubicBezTo>
                        <a:cubicBezTo>
                          <a:pt x="11" y="94"/>
                          <a:pt x="18" y="94"/>
                          <a:pt x="20" y="94"/>
                        </a:cubicBezTo>
                        <a:cubicBezTo>
                          <a:pt x="20" y="0"/>
                          <a:pt x="20" y="0"/>
                          <a:pt x="20" y="0"/>
                        </a:cubicBezTo>
                        <a:cubicBezTo>
                          <a:pt x="18" y="0"/>
                          <a:pt x="11" y="0"/>
                          <a:pt x="10" y="0"/>
                        </a:cubicBezTo>
                        <a:cubicBezTo>
                          <a:pt x="8" y="0"/>
                          <a:pt x="1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0" name="Freeform 17">
                    <a:extLst>
                      <a:ext uri="{FF2B5EF4-FFF2-40B4-BE49-F238E27FC236}">
                        <a16:creationId xmlns:a16="http://schemas.microsoft.com/office/drawing/2014/main" id="{AE806ECB-1415-3F45-B9DA-9CAFE63A4F1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143250" y="2339976"/>
                    <a:ext cx="38100" cy="138113"/>
                  </a:xfrm>
                  <a:custGeom>
                    <a:avLst/>
                    <a:gdLst>
                      <a:gd name="T0" fmla="*/ 0 w 21"/>
                      <a:gd name="T1" fmla="*/ 74 h 75"/>
                      <a:gd name="T2" fmla="*/ 8 w 21"/>
                      <a:gd name="T3" fmla="*/ 75 h 75"/>
                      <a:gd name="T4" fmla="*/ 21 w 21"/>
                      <a:gd name="T5" fmla="*/ 1 h 75"/>
                      <a:gd name="T6" fmla="*/ 13 w 21"/>
                      <a:gd name="T7" fmla="*/ 0 h 75"/>
                      <a:gd name="T8" fmla="*/ 0 w 21"/>
                      <a:gd name="T9" fmla="*/ 74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5">
                        <a:moveTo>
                          <a:pt x="0" y="74"/>
                        </a:moveTo>
                        <a:cubicBezTo>
                          <a:pt x="2" y="75"/>
                          <a:pt x="5" y="75"/>
                          <a:pt x="8" y="75"/>
                        </a:cubicBezTo>
                        <a:cubicBezTo>
                          <a:pt x="21" y="1"/>
                          <a:pt x="21" y="1"/>
                          <a:pt x="21" y="1"/>
                        </a:cubicBezTo>
                        <a:cubicBezTo>
                          <a:pt x="18" y="0"/>
                          <a:pt x="15" y="0"/>
                          <a:pt x="13" y="0"/>
                        </a:cubicBezTo>
                        <a:lnTo>
                          <a:pt x="0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1" name="Freeform 18">
                    <a:extLst>
                      <a:ext uri="{FF2B5EF4-FFF2-40B4-BE49-F238E27FC236}">
                        <a16:creationId xmlns:a16="http://schemas.microsoft.com/office/drawing/2014/main" id="{778BCEDC-40F7-B75C-0591-B63B68D0C4B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959100" y="2314576"/>
                    <a:ext cx="26988" cy="139700"/>
                  </a:xfrm>
                  <a:custGeom>
                    <a:avLst/>
                    <a:gdLst>
                      <a:gd name="T0" fmla="*/ 0 w 15"/>
                      <a:gd name="T1" fmla="*/ 76 h 76"/>
                      <a:gd name="T2" fmla="*/ 8 w 15"/>
                      <a:gd name="T3" fmla="*/ 76 h 76"/>
                      <a:gd name="T4" fmla="*/ 15 w 15"/>
                      <a:gd name="T5" fmla="*/ 1 h 76"/>
                      <a:gd name="T6" fmla="*/ 7 w 15"/>
                      <a:gd name="T7" fmla="*/ 0 h 76"/>
                      <a:gd name="T8" fmla="*/ 0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0" y="76"/>
                        </a:moveTo>
                        <a:cubicBezTo>
                          <a:pt x="3" y="76"/>
                          <a:pt x="5" y="76"/>
                          <a:pt x="8" y="76"/>
                        </a:cubicBezTo>
                        <a:cubicBezTo>
                          <a:pt x="15" y="1"/>
                          <a:pt x="15" y="1"/>
                          <a:pt x="15" y="1"/>
                        </a:cubicBezTo>
                        <a:cubicBezTo>
                          <a:pt x="12" y="1"/>
                          <a:pt x="9" y="0"/>
                          <a:pt x="7" y="0"/>
                        </a:cubicBezTo>
                        <a:lnTo>
                          <a:pt x="0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2" name="Freeform 19">
                    <a:extLst>
                      <a:ext uri="{FF2B5EF4-FFF2-40B4-BE49-F238E27FC236}">
                        <a16:creationId xmlns:a16="http://schemas.microsoft.com/office/drawing/2014/main" id="{CA887473-0520-024F-4028-1BE0A8D7B87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27100" y="3265488"/>
                    <a:ext cx="123825" cy="92075"/>
                  </a:xfrm>
                  <a:custGeom>
                    <a:avLst/>
                    <a:gdLst>
                      <a:gd name="T0" fmla="*/ 63 w 67"/>
                      <a:gd name="T1" fmla="*/ 50 h 50"/>
                      <a:gd name="T2" fmla="*/ 67 w 67"/>
                      <a:gd name="T3" fmla="*/ 43 h 50"/>
                      <a:gd name="T4" fmla="*/ 5 w 67"/>
                      <a:gd name="T5" fmla="*/ 0 h 50"/>
                      <a:gd name="T6" fmla="*/ 0 w 67"/>
                      <a:gd name="T7" fmla="*/ 6 h 50"/>
                      <a:gd name="T8" fmla="*/ 63 w 67"/>
                      <a:gd name="T9" fmla="*/ 5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7" h="50">
                        <a:moveTo>
                          <a:pt x="63" y="50"/>
                        </a:moveTo>
                        <a:cubicBezTo>
                          <a:pt x="64" y="48"/>
                          <a:pt x="66" y="46"/>
                          <a:pt x="67" y="43"/>
                        </a:cubicBezTo>
                        <a:cubicBezTo>
                          <a:pt x="5" y="0"/>
                          <a:pt x="5" y="0"/>
                          <a:pt x="5" y="0"/>
                        </a:cubicBezTo>
                        <a:cubicBezTo>
                          <a:pt x="3" y="2"/>
                          <a:pt x="2" y="4"/>
                          <a:pt x="0" y="6"/>
                        </a:cubicBezTo>
                        <a:lnTo>
                          <a:pt x="63" y="5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3" name="Freeform 20">
                    <a:extLst>
                      <a:ext uri="{FF2B5EF4-FFF2-40B4-BE49-F238E27FC236}">
                        <a16:creationId xmlns:a16="http://schemas.microsoft.com/office/drawing/2014/main" id="{E12679A4-2BB0-2A28-07F4-3E99607F98B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0738" y="3430588"/>
                    <a:ext cx="130175" cy="82550"/>
                  </a:xfrm>
                  <a:custGeom>
                    <a:avLst/>
                    <a:gdLst>
                      <a:gd name="T0" fmla="*/ 66 w 70"/>
                      <a:gd name="T1" fmla="*/ 45 h 45"/>
                      <a:gd name="T2" fmla="*/ 70 w 70"/>
                      <a:gd name="T3" fmla="*/ 38 h 45"/>
                      <a:gd name="T4" fmla="*/ 4 w 70"/>
                      <a:gd name="T5" fmla="*/ 0 h 45"/>
                      <a:gd name="T6" fmla="*/ 0 w 70"/>
                      <a:gd name="T7" fmla="*/ 7 h 45"/>
                      <a:gd name="T8" fmla="*/ 66 w 70"/>
                      <a:gd name="T9" fmla="*/ 45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66" y="45"/>
                        </a:moveTo>
                        <a:cubicBezTo>
                          <a:pt x="68" y="43"/>
                          <a:pt x="69" y="41"/>
                          <a:pt x="70" y="38"/>
                        </a:cubicBez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3" y="3"/>
                          <a:pt x="2" y="5"/>
                          <a:pt x="0" y="7"/>
                        </a:cubicBezTo>
                        <a:lnTo>
                          <a:pt x="66" y="4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4" name="Freeform 21">
                    <a:extLst>
                      <a:ext uri="{FF2B5EF4-FFF2-40B4-BE49-F238E27FC236}">
                        <a16:creationId xmlns:a16="http://schemas.microsoft.com/office/drawing/2014/main" id="{6B349FC4-ECEA-99B7-9C52-E8CB3DFF35C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1838" y="3606801"/>
                    <a:ext cx="133350" cy="71438"/>
                  </a:xfrm>
                  <a:custGeom>
                    <a:avLst/>
                    <a:gdLst>
                      <a:gd name="T0" fmla="*/ 69 w 72"/>
                      <a:gd name="T1" fmla="*/ 39 h 39"/>
                      <a:gd name="T2" fmla="*/ 72 w 72"/>
                      <a:gd name="T3" fmla="*/ 32 h 39"/>
                      <a:gd name="T4" fmla="*/ 3 w 72"/>
                      <a:gd name="T5" fmla="*/ 0 h 39"/>
                      <a:gd name="T6" fmla="*/ 0 w 72"/>
                      <a:gd name="T7" fmla="*/ 7 h 39"/>
                      <a:gd name="T8" fmla="*/ 69 w 72"/>
                      <a:gd name="T9" fmla="*/ 39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69" y="39"/>
                        </a:moveTo>
                        <a:cubicBezTo>
                          <a:pt x="70" y="37"/>
                          <a:pt x="71" y="34"/>
                          <a:pt x="72" y="32"/>
                        </a:cubicBezTo>
                        <a:cubicBezTo>
                          <a:pt x="3" y="0"/>
                          <a:pt x="3" y="0"/>
                          <a:pt x="3" y="0"/>
                        </a:cubicBezTo>
                        <a:cubicBezTo>
                          <a:pt x="2" y="2"/>
                          <a:pt x="1" y="4"/>
                          <a:pt x="0" y="7"/>
                        </a:cubicBezTo>
                        <a:lnTo>
                          <a:pt x="69" y="3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5" name="Freeform 22">
                    <a:extLst>
                      <a:ext uri="{FF2B5EF4-FFF2-40B4-BE49-F238E27FC236}">
                        <a16:creationId xmlns:a16="http://schemas.microsoft.com/office/drawing/2014/main" id="{FB684216-6C12-4C20-E011-60114736AD0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498850" y="2438401"/>
                    <a:ext cx="60325" cy="138113"/>
                  </a:xfrm>
                  <a:custGeom>
                    <a:avLst/>
                    <a:gdLst>
                      <a:gd name="T0" fmla="*/ 0 w 33"/>
                      <a:gd name="T1" fmla="*/ 72 h 75"/>
                      <a:gd name="T2" fmla="*/ 7 w 33"/>
                      <a:gd name="T3" fmla="*/ 75 h 75"/>
                      <a:gd name="T4" fmla="*/ 33 w 33"/>
                      <a:gd name="T5" fmla="*/ 3 h 75"/>
                      <a:gd name="T6" fmla="*/ 26 w 33"/>
                      <a:gd name="T7" fmla="*/ 0 h 75"/>
                      <a:gd name="T8" fmla="*/ 0 w 33"/>
                      <a:gd name="T9" fmla="*/ 72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3" h="75">
                        <a:moveTo>
                          <a:pt x="0" y="72"/>
                        </a:moveTo>
                        <a:cubicBezTo>
                          <a:pt x="2" y="73"/>
                          <a:pt x="5" y="74"/>
                          <a:pt x="7" y="75"/>
                        </a:cubicBezTo>
                        <a:cubicBezTo>
                          <a:pt x="33" y="3"/>
                          <a:pt x="33" y="3"/>
                          <a:pt x="33" y="3"/>
                        </a:cubicBezTo>
                        <a:cubicBezTo>
                          <a:pt x="31" y="2"/>
                          <a:pt x="28" y="1"/>
                          <a:pt x="26" y="0"/>
                        </a:cubicBezTo>
                        <a:lnTo>
                          <a:pt x="0" y="7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6" name="Freeform 23">
                    <a:extLst>
                      <a:ext uri="{FF2B5EF4-FFF2-40B4-BE49-F238E27FC236}">
                        <a16:creationId xmlns:a16="http://schemas.microsoft.com/office/drawing/2014/main" id="{1151623B-5C42-9BA6-C585-F3385A930DE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649413" y="2601913"/>
                    <a:ext cx="84138" cy="130175"/>
                  </a:xfrm>
                  <a:custGeom>
                    <a:avLst/>
                    <a:gdLst>
                      <a:gd name="T0" fmla="*/ 38 w 45"/>
                      <a:gd name="T1" fmla="*/ 70 h 70"/>
                      <a:gd name="T2" fmla="*/ 45 w 45"/>
                      <a:gd name="T3" fmla="*/ 66 h 70"/>
                      <a:gd name="T4" fmla="*/ 7 w 45"/>
                      <a:gd name="T5" fmla="*/ 0 h 70"/>
                      <a:gd name="T6" fmla="*/ 0 w 45"/>
                      <a:gd name="T7" fmla="*/ 4 h 70"/>
                      <a:gd name="T8" fmla="*/ 38 w 45"/>
                      <a:gd name="T9" fmla="*/ 70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38" y="70"/>
                        </a:moveTo>
                        <a:cubicBezTo>
                          <a:pt x="41" y="68"/>
                          <a:pt x="43" y="67"/>
                          <a:pt x="45" y="66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3" y="2"/>
                          <a:pt x="0" y="4"/>
                        </a:cubicBezTo>
                        <a:lnTo>
                          <a:pt x="38" y="7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7" name="Freeform 24">
                    <a:extLst>
                      <a:ext uri="{FF2B5EF4-FFF2-40B4-BE49-F238E27FC236}">
                        <a16:creationId xmlns:a16="http://schemas.microsoft.com/office/drawing/2014/main" id="{D293EFBB-D74F-FAF7-ED5C-6050E24E7B3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323975" y="2832101"/>
                    <a:ext cx="101600" cy="117475"/>
                  </a:xfrm>
                  <a:custGeom>
                    <a:avLst/>
                    <a:gdLst>
                      <a:gd name="T0" fmla="*/ 49 w 55"/>
                      <a:gd name="T1" fmla="*/ 63 h 63"/>
                      <a:gd name="T2" fmla="*/ 55 w 55"/>
                      <a:gd name="T3" fmla="*/ 58 h 63"/>
                      <a:gd name="T4" fmla="*/ 6 w 55"/>
                      <a:gd name="T5" fmla="*/ 0 h 63"/>
                      <a:gd name="T6" fmla="*/ 0 w 55"/>
                      <a:gd name="T7" fmla="*/ 5 h 63"/>
                      <a:gd name="T8" fmla="*/ 49 w 55"/>
                      <a:gd name="T9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49" y="63"/>
                        </a:moveTo>
                        <a:cubicBezTo>
                          <a:pt x="51" y="61"/>
                          <a:pt x="53" y="60"/>
                          <a:pt x="55" y="58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5"/>
                        </a:cubicBezTo>
                        <a:lnTo>
                          <a:pt x="49" y="6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8" name="Freeform 25">
                    <a:extLst>
                      <a:ext uri="{FF2B5EF4-FFF2-40B4-BE49-F238E27FC236}">
                        <a16:creationId xmlns:a16="http://schemas.microsoft.com/office/drawing/2014/main" id="{33B56385-F77F-9BD8-6E65-60440D20FEF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479550" y="2711451"/>
                    <a:ext cx="92075" cy="123825"/>
                  </a:xfrm>
                  <a:custGeom>
                    <a:avLst/>
                    <a:gdLst>
                      <a:gd name="T0" fmla="*/ 44 w 50"/>
                      <a:gd name="T1" fmla="*/ 67 h 67"/>
                      <a:gd name="T2" fmla="*/ 50 w 50"/>
                      <a:gd name="T3" fmla="*/ 62 h 67"/>
                      <a:gd name="T4" fmla="*/ 6 w 50"/>
                      <a:gd name="T5" fmla="*/ 0 h 67"/>
                      <a:gd name="T6" fmla="*/ 0 w 50"/>
                      <a:gd name="T7" fmla="*/ 4 h 67"/>
                      <a:gd name="T8" fmla="*/ 44 w 50"/>
                      <a:gd name="T9" fmla="*/ 67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0" h="67">
                        <a:moveTo>
                          <a:pt x="44" y="67"/>
                        </a:moveTo>
                        <a:cubicBezTo>
                          <a:pt x="46" y="65"/>
                          <a:pt x="48" y="64"/>
                          <a:pt x="50" y="62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4"/>
                        </a:cubicBezTo>
                        <a:lnTo>
                          <a:pt x="44" y="6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9" name="Freeform 26">
                    <a:extLst>
                      <a:ext uri="{FF2B5EF4-FFF2-40B4-BE49-F238E27FC236}">
                        <a16:creationId xmlns:a16="http://schemas.microsoft.com/office/drawing/2014/main" id="{28F9608E-622B-B814-F18B-B6F96A99899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271963" y="2960688"/>
                    <a:ext cx="109538" cy="111125"/>
                  </a:xfrm>
                  <a:custGeom>
                    <a:avLst/>
                    <a:gdLst>
                      <a:gd name="T0" fmla="*/ 5 w 59"/>
                      <a:gd name="T1" fmla="*/ 60 h 60"/>
                      <a:gd name="T2" fmla="*/ 59 w 59"/>
                      <a:gd name="T3" fmla="*/ 6 h 60"/>
                      <a:gd name="T4" fmla="*/ 56 w 59"/>
                      <a:gd name="T5" fmla="*/ 3 h 60"/>
                      <a:gd name="T6" fmla="*/ 54 w 59"/>
                      <a:gd name="T7" fmla="*/ 0 h 60"/>
                      <a:gd name="T8" fmla="*/ 0 w 59"/>
                      <a:gd name="T9" fmla="*/ 54 h 60"/>
                      <a:gd name="T10" fmla="*/ 5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" y="60"/>
                        </a:moveTo>
                        <a:cubicBezTo>
                          <a:pt x="59" y="6"/>
                          <a:pt x="59" y="6"/>
                          <a:pt x="59" y="6"/>
                        </a:cubicBezTo>
                        <a:cubicBezTo>
                          <a:pt x="58" y="5"/>
                          <a:pt x="57" y="4"/>
                          <a:pt x="56" y="3"/>
                        </a:cubicBezTo>
                        <a:cubicBezTo>
                          <a:pt x="55" y="2"/>
                          <a:pt x="55" y="1"/>
                          <a:pt x="54" y="0"/>
                        </a:cubicBezTo>
                        <a:cubicBezTo>
                          <a:pt x="0" y="54"/>
                          <a:pt x="0" y="54"/>
                          <a:pt x="0" y="54"/>
                        </a:cubicBezTo>
                        <a:cubicBezTo>
                          <a:pt x="2" y="56"/>
                          <a:pt x="4" y="58"/>
                          <a:pt x="5" y="6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0" name="Freeform 27">
                    <a:extLst>
                      <a:ext uri="{FF2B5EF4-FFF2-40B4-BE49-F238E27FC236}">
                        <a16:creationId xmlns:a16="http://schemas.microsoft.com/office/drawing/2014/main" id="{3676C9AB-32C0-EA8B-8A8B-BBBD905A173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79513" y="2963863"/>
                    <a:ext cx="109538" cy="111125"/>
                  </a:xfrm>
                  <a:custGeom>
                    <a:avLst/>
                    <a:gdLst>
                      <a:gd name="T0" fmla="*/ 54 w 59"/>
                      <a:gd name="T1" fmla="*/ 60 h 60"/>
                      <a:gd name="T2" fmla="*/ 59 w 59"/>
                      <a:gd name="T3" fmla="*/ 54 h 60"/>
                      <a:gd name="T4" fmla="*/ 6 w 59"/>
                      <a:gd name="T5" fmla="*/ 0 h 60"/>
                      <a:gd name="T6" fmla="*/ 5 w 59"/>
                      <a:gd name="T7" fmla="*/ 1 h 60"/>
                      <a:gd name="T8" fmla="*/ 0 w 59"/>
                      <a:gd name="T9" fmla="*/ 6 h 60"/>
                      <a:gd name="T10" fmla="*/ 54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4" y="60"/>
                        </a:moveTo>
                        <a:cubicBezTo>
                          <a:pt x="56" y="58"/>
                          <a:pt x="57" y="56"/>
                          <a:pt x="59" y="54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5" y="1"/>
                          <a:pt x="5" y="1"/>
                          <a:pt x="5" y="1"/>
                        </a:cubicBezTo>
                        <a:cubicBezTo>
                          <a:pt x="3" y="3"/>
                          <a:pt x="2" y="4"/>
                          <a:pt x="0" y="6"/>
                        </a:cubicBezTo>
                        <a:lnTo>
                          <a:pt x="54" y="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1" name="Freeform 28">
                    <a:extLst>
                      <a:ext uri="{FF2B5EF4-FFF2-40B4-BE49-F238E27FC236}">
                        <a16:creationId xmlns:a16="http://schemas.microsoft.com/office/drawing/2014/main" id="{5502EC6C-288C-69DD-1999-6E59FB92DA1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28638" y="4557713"/>
                    <a:ext cx="138113" cy="14288"/>
                  </a:xfrm>
                  <a:custGeom>
                    <a:avLst/>
                    <a:gdLst>
                      <a:gd name="T0" fmla="*/ 75 w 75"/>
                      <a:gd name="T1" fmla="*/ 0 h 8"/>
                      <a:gd name="T2" fmla="*/ 0 w 75"/>
                      <a:gd name="T3" fmla="*/ 0 h 8"/>
                      <a:gd name="T4" fmla="*/ 0 w 75"/>
                      <a:gd name="T5" fmla="*/ 8 h 8"/>
                      <a:gd name="T6" fmla="*/ 75 w 75"/>
                      <a:gd name="T7" fmla="*/ 8 h 8"/>
                      <a:gd name="T8" fmla="*/ 75 w 75"/>
                      <a:gd name="T9" fmla="*/ 0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8">
                        <a:moveTo>
                          <a:pt x="75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cubicBezTo>
                          <a:pt x="75" y="8"/>
                          <a:pt x="75" y="8"/>
                          <a:pt x="75" y="8"/>
                        </a:cubicBezTo>
                        <a:cubicBezTo>
                          <a:pt x="75" y="5"/>
                          <a:pt x="75" y="3"/>
                          <a:pt x="75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2" name="Freeform 29">
                    <a:extLst>
                      <a:ext uri="{FF2B5EF4-FFF2-40B4-BE49-F238E27FC236}">
                        <a16:creationId xmlns:a16="http://schemas.microsoft.com/office/drawing/2014/main" id="{84C8731E-F89B-73B6-4C5E-495BC8C1B31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133850" y="2828926"/>
                    <a:ext cx="103188" cy="115888"/>
                  </a:xfrm>
                  <a:custGeom>
                    <a:avLst/>
                    <a:gdLst>
                      <a:gd name="T0" fmla="*/ 0 w 55"/>
                      <a:gd name="T1" fmla="*/ 58 h 63"/>
                      <a:gd name="T2" fmla="*/ 6 w 55"/>
                      <a:gd name="T3" fmla="*/ 63 h 63"/>
                      <a:gd name="T4" fmla="*/ 55 w 55"/>
                      <a:gd name="T5" fmla="*/ 5 h 63"/>
                      <a:gd name="T6" fmla="*/ 49 w 55"/>
                      <a:gd name="T7" fmla="*/ 0 h 63"/>
                      <a:gd name="T8" fmla="*/ 0 w 55"/>
                      <a:gd name="T9" fmla="*/ 58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0" y="58"/>
                        </a:moveTo>
                        <a:cubicBezTo>
                          <a:pt x="2" y="60"/>
                          <a:pt x="4" y="62"/>
                          <a:pt x="6" y="63"/>
                        </a:cubicBezTo>
                        <a:cubicBezTo>
                          <a:pt x="55" y="5"/>
                          <a:pt x="55" y="5"/>
                          <a:pt x="55" y="5"/>
                        </a:cubicBezTo>
                        <a:cubicBezTo>
                          <a:pt x="53" y="3"/>
                          <a:pt x="51" y="2"/>
                          <a:pt x="49" y="0"/>
                        </a:cubicBezTo>
                        <a:lnTo>
                          <a:pt x="0" y="58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3" name="Freeform 30">
                    <a:extLst>
                      <a:ext uri="{FF2B5EF4-FFF2-40B4-BE49-F238E27FC236}">
                        <a16:creationId xmlns:a16="http://schemas.microsoft.com/office/drawing/2014/main" id="{3B6EE2F7-3CCA-9035-D518-88477E8D5F4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58813" y="3787776"/>
                    <a:ext cx="136525" cy="60325"/>
                  </a:xfrm>
                  <a:custGeom>
                    <a:avLst/>
                    <a:gdLst>
                      <a:gd name="T0" fmla="*/ 71 w 74"/>
                      <a:gd name="T1" fmla="*/ 33 h 33"/>
                      <a:gd name="T2" fmla="*/ 74 w 74"/>
                      <a:gd name="T3" fmla="*/ 26 h 33"/>
                      <a:gd name="T4" fmla="*/ 2 w 74"/>
                      <a:gd name="T5" fmla="*/ 0 h 33"/>
                      <a:gd name="T6" fmla="*/ 0 w 74"/>
                      <a:gd name="T7" fmla="*/ 7 h 33"/>
                      <a:gd name="T8" fmla="*/ 71 w 74"/>
                      <a:gd name="T9" fmla="*/ 33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4" h="33">
                        <a:moveTo>
                          <a:pt x="71" y="33"/>
                        </a:moveTo>
                        <a:cubicBezTo>
                          <a:pt x="72" y="31"/>
                          <a:pt x="73" y="28"/>
                          <a:pt x="74" y="26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2" y="2"/>
                          <a:pt x="1" y="5"/>
                          <a:pt x="0" y="7"/>
                        </a:cubicBezTo>
                        <a:lnTo>
                          <a:pt x="71" y="3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4" name="Freeform 31">
                    <a:extLst>
                      <a:ext uri="{FF2B5EF4-FFF2-40B4-BE49-F238E27FC236}">
                        <a16:creationId xmlns:a16="http://schemas.microsoft.com/office/drawing/2014/main" id="{C7AE8BCF-1335-AF53-C741-BF802086092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832225" y="2605088"/>
                    <a:ext cx="84138" cy="128588"/>
                  </a:xfrm>
                  <a:custGeom>
                    <a:avLst/>
                    <a:gdLst>
                      <a:gd name="T0" fmla="*/ 0 w 45"/>
                      <a:gd name="T1" fmla="*/ 65 h 70"/>
                      <a:gd name="T2" fmla="*/ 7 w 45"/>
                      <a:gd name="T3" fmla="*/ 70 h 70"/>
                      <a:gd name="T4" fmla="*/ 45 w 45"/>
                      <a:gd name="T5" fmla="*/ 4 h 70"/>
                      <a:gd name="T6" fmla="*/ 38 w 45"/>
                      <a:gd name="T7" fmla="*/ 0 h 70"/>
                      <a:gd name="T8" fmla="*/ 0 w 45"/>
                      <a:gd name="T9" fmla="*/ 65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0" y="65"/>
                        </a:moveTo>
                        <a:cubicBezTo>
                          <a:pt x="3" y="67"/>
                          <a:pt x="5" y="68"/>
                          <a:pt x="7" y="70"/>
                        </a:cubicBezTo>
                        <a:cubicBezTo>
                          <a:pt x="45" y="4"/>
                          <a:pt x="45" y="4"/>
                          <a:pt x="45" y="4"/>
                        </a:cubicBezTo>
                        <a:cubicBezTo>
                          <a:pt x="43" y="2"/>
                          <a:pt x="41" y="1"/>
                          <a:pt x="38" y="0"/>
                        </a:cubicBezTo>
                        <a:lnTo>
                          <a:pt x="0" y="65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5" name="Freeform 32">
                    <a:extLst>
                      <a:ext uri="{FF2B5EF4-FFF2-40B4-BE49-F238E27FC236}">
                        <a16:creationId xmlns:a16="http://schemas.microsoft.com/office/drawing/2014/main" id="{8B848F7C-560B-C482-FBB4-8D9754CA07F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987800" y="2708276"/>
                    <a:ext cx="95250" cy="123825"/>
                  </a:xfrm>
                  <a:custGeom>
                    <a:avLst/>
                    <a:gdLst>
                      <a:gd name="T0" fmla="*/ 0 w 51"/>
                      <a:gd name="T1" fmla="*/ 63 h 67"/>
                      <a:gd name="T2" fmla="*/ 7 w 51"/>
                      <a:gd name="T3" fmla="*/ 67 h 67"/>
                      <a:gd name="T4" fmla="*/ 51 w 51"/>
                      <a:gd name="T5" fmla="*/ 5 h 67"/>
                      <a:gd name="T6" fmla="*/ 44 w 51"/>
                      <a:gd name="T7" fmla="*/ 0 h 67"/>
                      <a:gd name="T8" fmla="*/ 0 w 51"/>
                      <a:gd name="T9" fmla="*/ 63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1" h="67">
                        <a:moveTo>
                          <a:pt x="0" y="63"/>
                        </a:moveTo>
                        <a:cubicBezTo>
                          <a:pt x="2" y="64"/>
                          <a:pt x="5" y="66"/>
                          <a:pt x="7" y="67"/>
                        </a:cubicBezTo>
                        <a:cubicBezTo>
                          <a:pt x="51" y="5"/>
                          <a:pt x="51" y="5"/>
                          <a:pt x="51" y="5"/>
                        </a:cubicBezTo>
                        <a:cubicBezTo>
                          <a:pt x="48" y="3"/>
                          <a:pt x="46" y="2"/>
                          <a:pt x="44" y="0"/>
                        </a:cubicBezTo>
                        <a:lnTo>
                          <a:pt x="0" y="63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6" name="Freeform 33">
                    <a:extLst>
                      <a:ext uri="{FF2B5EF4-FFF2-40B4-BE49-F238E27FC236}">
                        <a16:creationId xmlns:a16="http://schemas.microsoft.com/office/drawing/2014/main" id="{96ABB274-B989-0048-A7F6-658C295EFFD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61988" y="5280026"/>
                    <a:ext cx="139700" cy="60325"/>
                  </a:xfrm>
                  <a:custGeom>
                    <a:avLst/>
                    <a:gdLst>
                      <a:gd name="T0" fmla="*/ 75 w 75"/>
                      <a:gd name="T1" fmla="*/ 7 h 33"/>
                      <a:gd name="T2" fmla="*/ 72 w 75"/>
                      <a:gd name="T3" fmla="*/ 0 h 33"/>
                      <a:gd name="T4" fmla="*/ 0 w 75"/>
                      <a:gd name="T5" fmla="*/ 26 h 33"/>
                      <a:gd name="T6" fmla="*/ 3 w 75"/>
                      <a:gd name="T7" fmla="*/ 33 h 33"/>
                      <a:gd name="T8" fmla="*/ 75 w 75"/>
                      <a:gd name="T9" fmla="*/ 7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33">
                        <a:moveTo>
                          <a:pt x="75" y="7"/>
                        </a:moveTo>
                        <a:cubicBezTo>
                          <a:pt x="74" y="5"/>
                          <a:pt x="73" y="2"/>
                          <a:pt x="72" y="0"/>
                        </a:cubicBezTo>
                        <a:cubicBezTo>
                          <a:pt x="0" y="26"/>
                          <a:pt x="0" y="26"/>
                          <a:pt x="0" y="26"/>
                        </a:cubicBezTo>
                        <a:cubicBezTo>
                          <a:pt x="1" y="28"/>
                          <a:pt x="2" y="31"/>
                          <a:pt x="3" y="33"/>
                        </a:cubicBezTo>
                        <a:lnTo>
                          <a:pt x="75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7" name="Freeform 34">
                    <a:extLst>
                      <a:ext uri="{FF2B5EF4-FFF2-40B4-BE49-F238E27FC236}">
                        <a16:creationId xmlns:a16="http://schemas.microsoft.com/office/drawing/2014/main" id="{1431E99B-E31C-D8B1-3EF5-13B7BF3D120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04838" y="5103813"/>
                    <a:ext cx="138113" cy="50800"/>
                  </a:xfrm>
                  <a:custGeom>
                    <a:avLst/>
                    <a:gdLst>
                      <a:gd name="T0" fmla="*/ 75 w 75"/>
                      <a:gd name="T1" fmla="*/ 8 h 27"/>
                      <a:gd name="T2" fmla="*/ 73 w 75"/>
                      <a:gd name="T3" fmla="*/ 0 h 27"/>
                      <a:gd name="T4" fmla="*/ 0 w 75"/>
                      <a:gd name="T5" fmla="*/ 20 h 27"/>
                      <a:gd name="T6" fmla="*/ 2 w 75"/>
                      <a:gd name="T7" fmla="*/ 27 h 27"/>
                      <a:gd name="T8" fmla="*/ 75 w 75"/>
                      <a:gd name="T9" fmla="*/ 8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27">
                        <a:moveTo>
                          <a:pt x="75" y="8"/>
                        </a:moveTo>
                        <a:cubicBezTo>
                          <a:pt x="74" y="5"/>
                          <a:pt x="74" y="3"/>
                          <a:pt x="73" y="0"/>
                        </a:cubicBezTo>
                        <a:cubicBezTo>
                          <a:pt x="0" y="20"/>
                          <a:pt x="0" y="20"/>
                          <a:pt x="0" y="20"/>
                        </a:cubicBezTo>
                        <a:cubicBezTo>
                          <a:pt x="0" y="22"/>
                          <a:pt x="1" y="25"/>
                          <a:pt x="2" y="27"/>
                        </a:cubicBezTo>
                        <a:lnTo>
                          <a:pt x="75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8" name="Freeform 35">
                    <a:extLst>
                      <a:ext uri="{FF2B5EF4-FFF2-40B4-BE49-F238E27FC236}">
                        <a16:creationId xmlns:a16="http://schemas.microsoft.com/office/drawing/2014/main" id="{34B575F8-5185-C475-9005-D1097B4E3BE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8675" y="5613401"/>
                    <a:ext cx="130175" cy="82550"/>
                  </a:xfrm>
                  <a:custGeom>
                    <a:avLst/>
                    <a:gdLst>
                      <a:gd name="T0" fmla="*/ 70 w 70"/>
                      <a:gd name="T1" fmla="*/ 7 h 45"/>
                      <a:gd name="T2" fmla="*/ 66 w 70"/>
                      <a:gd name="T3" fmla="*/ 0 h 45"/>
                      <a:gd name="T4" fmla="*/ 0 w 70"/>
                      <a:gd name="T5" fmla="*/ 38 h 45"/>
                      <a:gd name="T6" fmla="*/ 4 w 70"/>
                      <a:gd name="T7" fmla="*/ 45 h 45"/>
                      <a:gd name="T8" fmla="*/ 70 w 70"/>
                      <a:gd name="T9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70" y="7"/>
                        </a:moveTo>
                        <a:cubicBezTo>
                          <a:pt x="69" y="4"/>
                          <a:pt x="67" y="2"/>
                          <a:pt x="66" y="0"/>
                        </a:cubicBezTo>
                        <a:cubicBezTo>
                          <a:pt x="0" y="38"/>
                          <a:pt x="0" y="38"/>
                          <a:pt x="0" y="38"/>
                        </a:cubicBezTo>
                        <a:cubicBezTo>
                          <a:pt x="1" y="40"/>
                          <a:pt x="3" y="42"/>
                          <a:pt x="4" y="45"/>
                        </a:cubicBezTo>
                        <a:lnTo>
                          <a:pt x="70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9" name="Freeform 36">
                    <a:extLst>
                      <a:ext uri="{FF2B5EF4-FFF2-40B4-BE49-F238E27FC236}">
                        <a16:creationId xmlns:a16="http://schemas.microsoft.com/office/drawing/2014/main" id="{B2B9BDAD-8575-4741-F625-991EBB380A7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61975" y="4924426"/>
                    <a:ext cx="141288" cy="38100"/>
                  </a:xfrm>
                  <a:custGeom>
                    <a:avLst/>
                    <a:gdLst>
                      <a:gd name="T0" fmla="*/ 76 w 76"/>
                      <a:gd name="T1" fmla="*/ 8 h 21"/>
                      <a:gd name="T2" fmla="*/ 74 w 76"/>
                      <a:gd name="T3" fmla="*/ 0 h 21"/>
                      <a:gd name="T4" fmla="*/ 0 w 76"/>
                      <a:gd name="T5" fmla="*/ 13 h 21"/>
                      <a:gd name="T6" fmla="*/ 1 w 76"/>
                      <a:gd name="T7" fmla="*/ 21 h 21"/>
                      <a:gd name="T8" fmla="*/ 76 w 76"/>
                      <a:gd name="T9" fmla="*/ 8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21">
                        <a:moveTo>
                          <a:pt x="76" y="8"/>
                        </a:moveTo>
                        <a:cubicBezTo>
                          <a:pt x="75" y="5"/>
                          <a:pt x="75" y="3"/>
                          <a:pt x="74" y="0"/>
                        </a:cubicBez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0" y="16"/>
                          <a:pt x="1" y="18"/>
                          <a:pt x="1" y="21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0" name="Freeform 37">
                    <a:extLst>
                      <a:ext uri="{FF2B5EF4-FFF2-40B4-BE49-F238E27FC236}">
                        <a16:creationId xmlns:a16="http://schemas.microsoft.com/office/drawing/2014/main" id="{F41D8B01-BA7E-8B0E-8EC2-73433BB74BC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8188" y="5449888"/>
                    <a:ext cx="133350" cy="73025"/>
                  </a:xfrm>
                  <a:custGeom>
                    <a:avLst/>
                    <a:gdLst>
                      <a:gd name="T0" fmla="*/ 72 w 72"/>
                      <a:gd name="T1" fmla="*/ 7 h 39"/>
                      <a:gd name="T2" fmla="*/ 69 w 72"/>
                      <a:gd name="T3" fmla="*/ 0 h 39"/>
                      <a:gd name="T4" fmla="*/ 0 w 72"/>
                      <a:gd name="T5" fmla="*/ 32 h 39"/>
                      <a:gd name="T6" fmla="*/ 3 w 72"/>
                      <a:gd name="T7" fmla="*/ 39 h 39"/>
                      <a:gd name="T8" fmla="*/ 72 w 72"/>
                      <a:gd name="T9" fmla="*/ 7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72" y="7"/>
                        </a:moveTo>
                        <a:cubicBezTo>
                          <a:pt x="71" y="4"/>
                          <a:pt x="70" y="2"/>
                          <a:pt x="69" y="0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1" y="34"/>
                          <a:pt x="2" y="37"/>
                          <a:pt x="3" y="39"/>
                        </a:cubicBezTo>
                        <a:lnTo>
                          <a:pt x="72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1" name="Freeform 39">
                    <a:extLst>
                      <a:ext uri="{FF2B5EF4-FFF2-40B4-BE49-F238E27FC236}">
                        <a16:creationId xmlns:a16="http://schemas.microsoft.com/office/drawing/2014/main" id="{B25DF168-BCCB-A0D3-2102-AF333009441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740276"/>
                    <a:ext cx="139700" cy="28575"/>
                  </a:xfrm>
                  <a:custGeom>
                    <a:avLst/>
                    <a:gdLst>
                      <a:gd name="T0" fmla="*/ 76 w 76"/>
                      <a:gd name="T1" fmla="*/ 8 h 15"/>
                      <a:gd name="T2" fmla="*/ 75 w 76"/>
                      <a:gd name="T3" fmla="*/ 0 h 15"/>
                      <a:gd name="T4" fmla="*/ 0 w 76"/>
                      <a:gd name="T5" fmla="*/ 7 h 15"/>
                      <a:gd name="T6" fmla="*/ 1 w 76"/>
                      <a:gd name="T7" fmla="*/ 15 h 15"/>
                      <a:gd name="T8" fmla="*/ 76 w 76"/>
                      <a:gd name="T9" fmla="*/ 8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15">
                        <a:moveTo>
                          <a:pt x="76" y="8"/>
                        </a:moveTo>
                        <a:cubicBezTo>
                          <a:pt x="76" y="6"/>
                          <a:pt x="76" y="3"/>
                          <a:pt x="75" y="0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10"/>
                          <a:pt x="1" y="12"/>
                          <a:pt x="1" y="15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2" name="Freeform 40">
                    <a:extLst>
                      <a:ext uri="{FF2B5EF4-FFF2-40B4-BE49-F238E27FC236}">
                        <a16:creationId xmlns:a16="http://schemas.microsoft.com/office/drawing/2014/main" id="{3E61AA96-187B-55DB-D8E4-5309CC894D8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360863"/>
                    <a:ext cx="138113" cy="28575"/>
                  </a:xfrm>
                  <a:custGeom>
                    <a:avLst/>
                    <a:gdLst>
                      <a:gd name="T0" fmla="*/ 75 w 75"/>
                      <a:gd name="T1" fmla="*/ 15 h 15"/>
                      <a:gd name="T2" fmla="*/ 75 w 75"/>
                      <a:gd name="T3" fmla="*/ 7 h 15"/>
                      <a:gd name="T4" fmla="*/ 0 w 75"/>
                      <a:gd name="T5" fmla="*/ 0 h 15"/>
                      <a:gd name="T6" fmla="*/ 0 w 75"/>
                      <a:gd name="T7" fmla="*/ 8 h 15"/>
                      <a:gd name="T8" fmla="*/ 75 w 75"/>
                      <a:gd name="T9" fmla="*/ 15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5">
                        <a:moveTo>
                          <a:pt x="75" y="15"/>
                        </a:moveTo>
                        <a:cubicBezTo>
                          <a:pt x="75" y="12"/>
                          <a:pt x="75" y="9"/>
                          <a:pt x="75" y="7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lnTo>
                          <a:pt x="75" y="1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3" name="Freeform 41">
                    <a:extLst>
                      <a:ext uri="{FF2B5EF4-FFF2-40B4-BE49-F238E27FC236}">
                        <a16:creationId xmlns:a16="http://schemas.microsoft.com/office/drawing/2014/main" id="{3D4AC1BD-C4EB-93B2-62EF-74CA8F7D91C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644900" y="2508251"/>
                    <a:ext cx="107950" cy="171450"/>
                  </a:xfrm>
                  <a:custGeom>
                    <a:avLst/>
                    <a:gdLst>
                      <a:gd name="T0" fmla="*/ 39 w 58"/>
                      <a:gd name="T1" fmla="*/ 0 h 93"/>
                      <a:gd name="T2" fmla="*/ 0 w 58"/>
                      <a:gd name="T3" fmla="*/ 85 h 93"/>
                      <a:gd name="T4" fmla="*/ 10 w 58"/>
                      <a:gd name="T5" fmla="*/ 89 h 93"/>
                      <a:gd name="T6" fmla="*/ 19 w 58"/>
                      <a:gd name="T7" fmla="*/ 93 h 93"/>
                      <a:gd name="T8" fmla="*/ 58 w 58"/>
                      <a:gd name="T9" fmla="*/ 8 h 93"/>
                      <a:gd name="T10" fmla="*/ 49 w 58"/>
                      <a:gd name="T11" fmla="*/ 4 h 93"/>
                      <a:gd name="T12" fmla="*/ 39 w 58"/>
                      <a:gd name="T13" fmla="*/ 0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39" y="0"/>
                        </a:moveTo>
                        <a:cubicBezTo>
                          <a:pt x="0" y="85"/>
                          <a:pt x="0" y="85"/>
                          <a:pt x="0" y="85"/>
                        </a:cubicBezTo>
                        <a:cubicBezTo>
                          <a:pt x="2" y="85"/>
                          <a:pt x="8" y="88"/>
                          <a:pt x="10" y="89"/>
                        </a:cubicBezTo>
                        <a:cubicBezTo>
                          <a:pt x="11" y="90"/>
                          <a:pt x="17" y="93"/>
                          <a:pt x="19" y="93"/>
                        </a:cubicBezTo>
                        <a:cubicBezTo>
                          <a:pt x="58" y="8"/>
                          <a:pt x="58" y="8"/>
                          <a:pt x="58" y="8"/>
                        </a:cubicBezTo>
                        <a:cubicBezTo>
                          <a:pt x="56" y="8"/>
                          <a:pt x="50" y="4"/>
                          <a:pt x="49" y="4"/>
                        </a:cubicBezTo>
                        <a:cubicBezTo>
                          <a:pt x="47" y="3"/>
                          <a:pt x="41" y="0"/>
                          <a:pt x="39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4" name="Freeform 42">
                    <a:extLst>
                      <a:ext uri="{FF2B5EF4-FFF2-40B4-BE49-F238E27FC236}">
                        <a16:creationId xmlns:a16="http://schemas.microsoft.com/office/drawing/2014/main" id="{75AA9564-2744-5FDB-FF33-FF38B52E65E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364038" y="3095626"/>
                    <a:ext cx="157163" cy="139700"/>
                  </a:xfrm>
                  <a:custGeom>
                    <a:avLst/>
                    <a:gdLst>
                      <a:gd name="T0" fmla="*/ 72 w 85"/>
                      <a:gd name="T1" fmla="*/ 0 h 76"/>
                      <a:gd name="T2" fmla="*/ 0 w 85"/>
                      <a:gd name="T3" fmla="*/ 60 h 76"/>
                      <a:gd name="T4" fmla="*/ 6 w 85"/>
                      <a:gd name="T5" fmla="*/ 68 h 76"/>
                      <a:gd name="T6" fmla="*/ 13 w 85"/>
                      <a:gd name="T7" fmla="*/ 76 h 76"/>
                      <a:gd name="T8" fmla="*/ 85 w 85"/>
                      <a:gd name="T9" fmla="*/ 16 h 76"/>
                      <a:gd name="T10" fmla="*/ 78 w 85"/>
                      <a:gd name="T11" fmla="*/ 8 h 76"/>
                      <a:gd name="T12" fmla="*/ 72 w 85"/>
                      <a:gd name="T13" fmla="*/ 0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6">
                        <a:moveTo>
                          <a:pt x="72" y="0"/>
                        </a:move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1" y="61"/>
                          <a:pt x="6" y="67"/>
                          <a:pt x="6" y="68"/>
                        </a:cubicBezTo>
                        <a:cubicBezTo>
                          <a:pt x="7" y="69"/>
                          <a:pt x="12" y="75"/>
                          <a:pt x="13" y="76"/>
                        </a:cubicBezTo>
                        <a:cubicBezTo>
                          <a:pt x="85" y="16"/>
                          <a:pt x="85" y="16"/>
                          <a:pt x="85" y="16"/>
                        </a:cubicBezTo>
                        <a:cubicBezTo>
                          <a:pt x="84" y="15"/>
                          <a:pt x="79" y="9"/>
                          <a:pt x="78" y="8"/>
                        </a:cubicBezTo>
                        <a:cubicBezTo>
                          <a:pt x="78" y="7"/>
                          <a:pt x="73" y="1"/>
                          <a:pt x="72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5" name="Freeform 43">
                    <a:extLst>
                      <a:ext uri="{FF2B5EF4-FFF2-40B4-BE49-F238E27FC236}">
                        <a16:creationId xmlns:a16="http://schemas.microsoft.com/office/drawing/2014/main" id="{694F4481-2E0F-D64B-F7F9-5A123B09093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814513" y="2506663"/>
                    <a:ext cx="107950" cy="171450"/>
                  </a:xfrm>
                  <a:custGeom>
                    <a:avLst/>
                    <a:gdLst>
                      <a:gd name="T0" fmla="*/ 0 w 58"/>
                      <a:gd name="T1" fmla="*/ 9 h 93"/>
                      <a:gd name="T2" fmla="*/ 40 w 58"/>
                      <a:gd name="T3" fmla="*/ 93 h 93"/>
                      <a:gd name="T4" fmla="*/ 49 w 58"/>
                      <a:gd name="T5" fmla="*/ 89 h 93"/>
                      <a:gd name="T6" fmla="*/ 58 w 58"/>
                      <a:gd name="T7" fmla="*/ 85 h 93"/>
                      <a:gd name="T8" fmla="*/ 18 w 58"/>
                      <a:gd name="T9" fmla="*/ 0 h 93"/>
                      <a:gd name="T10" fmla="*/ 9 w 58"/>
                      <a:gd name="T11" fmla="*/ 4 h 93"/>
                      <a:gd name="T12" fmla="*/ 0 w 58"/>
                      <a:gd name="T13" fmla="*/ 9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0" y="9"/>
                        </a:moveTo>
                        <a:cubicBezTo>
                          <a:pt x="40" y="93"/>
                          <a:pt x="40" y="93"/>
                          <a:pt x="40" y="93"/>
                        </a:cubicBezTo>
                        <a:cubicBezTo>
                          <a:pt x="41" y="93"/>
                          <a:pt x="47" y="90"/>
                          <a:pt x="49" y="89"/>
                        </a:cubicBezTo>
                        <a:cubicBezTo>
                          <a:pt x="50" y="88"/>
                          <a:pt x="57" y="85"/>
                          <a:pt x="58" y="85"/>
                        </a:cubicBezTo>
                        <a:cubicBezTo>
                          <a:pt x="18" y="0"/>
                          <a:pt x="18" y="0"/>
                          <a:pt x="18" y="0"/>
                        </a:cubicBezTo>
                        <a:cubicBezTo>
                          <a:pt x="17" y="1"/>
                          <a:pt x="10" y="4"/>
                          <a:pt x="9" y="4"/>
                        </a:cubicBezTo>
                        <a:cubicBezTo>
                          <a:pt x="7" y="5"/>
                          <a:pt x="1" y="8"/>
                          <a:pt x="0" y="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6" name="Freeform 44">
                    <a:extLst>
                      <a:ext uri="{FF2B5EF4-FFF2-40B4-BE49-F238E27FC236}">
                        <a16:creationId xmlns:a16="http://schemas.microsoft.com/office/drawing/2014/main" id="{53216C8C-5B77-5187-4D56-82326B1DA44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225" y="3100388"/>
                    <a:ext cx="157163" cy="139700"/>
                  </a:xfrm>
                  <a:custGeom>
                    <a:avLst/>
                    <a:gdLst>
                      <a:gd name="T0" fmla="*/ 0 w 85"/>
                      <a:gd name="T1" fmla="*/ 16 h 75"/>
                      <a:gd name="T2" fmla="*/ 72 w 85"/>
                      <a:gd name="T3" fmla="*/ 75 h 75"/>
                      <a:gd name="T4" fmla="*/ 78 w 85"/>
                      <a:gd name="T5" fmla="*/ 67 h 75"/>
                      <a:gd name="T6" fmla="*/ 85 w 85"/>
                      <a:gd name="T7" fmla="*/ 59 h 75"/>
                      <a:gd name="T8" fmla="*/ 12 w 85"/>
                      <a:gd name="T9" fmla="*/ 0 h 75"/>
                      <a:gd name="T10" fmla="*/ 6 w 85"/>
                      <a:gd name="T11" fmla="*/ 8 h 75"/>
                      <a:gd name="T12" fmla="*/ 0 w 85"/>
                      <a:gd name="T13" fmla="*/ 16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5">
                        <a:moveTo>
                          <a:pt x="0" y="16"/>
                        </a:moveTo>
                        <a:cubicBezTo>
                          <a:pt x="72" y="75"/>
                          <a:pt x="72" y="75"/>
                          <a:pt x="72" y="75"/>
                        </a:cubicBezTo>
                        <a:cubicBezTo>
                          <a:pt x="73" y="74"/>
                          <a:pt x="78" y="68"/>
                          <a:pt x="78" y="67"/>
                        </a:cubicBezTo>
                        <a:cubicBezTo>
                          <a:pt x="79" y="66"/>
                          <a:pt x="84" y="60"/>
                          <a:pt x="85" y="59"/>
                        </a:cubicBezTo>
                        <a:cubicBezTo>
                          <a:pt x="12" y="0"/>
                          <a:pt x="12" y="0"/>
                          <a:pt x="12" y="0"/>
                        </a:cubicBezTo>
                        <a:cubicBezTo>
                          <a:pt x="11" y="1"/>
                          <a:pt x="7" y="7"/>
                          <a:pt x="6" y="8"/>
                        </a:cubicBezTo>
                        <a:cubicBezTo>
                          <a:pt x="5" y="9"/>
                          <a:pt x="0" y="14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7" name="Freeform 46">
                    <a:extLst>
                      <a:ext uri="{FF2B5EF4-FFF2-40B4-BE49-F238E27FC236}">
                        <a16:creationId xmlns:a16="http://schemas.microsoft.com/office/drawing/2014/main" id="{698F20A5-C185-7703-C8D9-12BF01A9813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58800" y="4906963"/>
                    <a:ext cx="177800" cy="69850"/>
                  </a:xfrm>
                  <a:custGeom>
                    <a:avLst/>
                    <a:gdLst>
                      <a:gd name="T0" fmla="*/ 4 w 96"/>
                      <a:gd name="T1" fmla="*/ 37 h 37"/>
                      <a:gd name="T2" fmla="*/ 96 w 96"/>
                      <a:gd name="T3" fmla="*/ 20 h 37"/>
                      <a:gd name="T4" fmla="*/ 94 w 96"/>
                      <a:gd name="T5" fmla="*/ 10 h 37"/>
                      <a:gd name="T6" fmla="*/ 92 w 96"/>
                      <a:gd name="T7" fmla="*/ 0 h 37"/>
                      <a:gd name="T8" fmla="*/ 0 w 96"/>
                      <a:gd name="T9" fmla="*/ 17 h 37"/>
                      <a:gd name="T10" fmla="*/ 2 w 96"/>
                      <a:gd name="T11" fmla="*/ 27 h 37"/>
                      <a:gd name="T12" fmla="*/ 4 w 96"/>
                      <a:gd name="T13" fmla="*/ 37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6" h="37">
                        <a:moveTo>
                          <a:pt x="4" y="37"/>
                        </a:moveTo>
                        <a:cubicBezTo>
                          <a:pt x="96" y="20"/>
                          <a:pt x="96" y="20"/>
                          <a:pt x="96" y="20"/>
                        </a:cubicBezTo>
                        <a:cubicBezTo>
                          <a:pt x="96" y="19"/>
                          <a:pt x="94" y="12"/>
                          <a:pt x="94" y="10"/>
                        </a:cubicBezTo>
                        <a:cubicBezTo>
                          <a:pt x="94" y="9"/>
                          <a:pt x="93" y="2"/>
                          <a:pt x="92" y="0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1" y="18"/>
                          <a:pt x="2" y="25"/>
                          <a:pt x="2" y="27"/>
                        </a:cubicBezTo>
                        <a:cubicBezTo>
                          <a:pt x="2" y="28"/>
                          <a:pt x="4" y="35"/>
                          <a:pt x="4" y="3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31" name="Group 1019">
                <a:extLst>
                  <a:ext uri="{FF2B5EF4-FFF2-40B4-BE49-F238E27FC236}">
                    <a16:creationId xmlns:a16="http://schemas.microsoft.com/office/drawing/2014/main" id="{A7288A5C-9503-5C35-827F-6618A60B522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486427" y="2263024"/>
                <a:ext cx="1699667" cy="2477857"/>
                <a:chOff x="1866900" y="3224213"/>
                <a:chExt cx="2184400" cy="3184525"/>
              </a:xfrm>
            </p:grpSpPr>
            <p:sp>
              <p:nvSpPr>
                <p:cNvPr id="256" name="Freeform 47">
                  <a:extLst>
                    <a:ext uri="{FF2B5EF4-FFF2-40B4-BE49-F238E27FC236}">
                      <a16:creationId xmlns:a16="http://schemas.microsoft.com/office/drawing/2014/main" id="{721B6E31-F301-D8F9-6A09-A8514EF7592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933575" y="3373438"/>
                  <a:ext cx="2117725" cy="3035300"/>
                </a:xfrm>
                <a:custGeom>
                  <a:avLst/>
                  <a:gdLst>
                    <a:gd name="T0" fmla="*/ 1142 w 1142"/>
                    <a:gd name="T1" fmla="*/ 0 h 1640"/>
                    <a:gd name="T2" fmla="*/ 883 w 1142"/>
                    <a:gd name="T3" fmla="*/ 142 h 1640"/>
                    <a:gd name="T4" fmla="*/ 947 w 1142"/>
                    <a:gd name="T5" fmla="*/ 186 h 1640"/>
                    <a:gd name="T6" fmla="*/ 619 w 1142"/>
                    <a:gd name="T7" fmla="*/ 667 h 1640"/>
                    <a:gd name="T8" fmla="*/ 588 w 1142"/>
                    <a:gd name="T9" fmla="*/ 663 h 1640"/>
                    <a:gd name="T10" fmla="*/ 465 w 1142"/>
                    <a:gd name="T11" fmla="*/ 729 h 1640"/>
                    <a:gd name="T12" fmla="*/ 463 w 1142"/>
                    <a:gd name="T13" fmla="*/ 895 h 1640"/>
                    <a:gd name="T14" fmla="*/ 0 w 1142"/>
                    <a:gd name="T15" fmla="*/ 1576 h 1640"/>
                    <a:gd name="T16" fmla="*/ 93 w 1142"/>
                    <a:gd name="T17" fmla="*/ 1640 h 1640"/>
                    <a:gd name="T18" fmla="*/ 558 w 1142"/>
                    <a:gd name="T19" fmla="*/ 959 h 1640"/>
                    <a:gd name="T20" fmla="*/ 588 w 1142"/>
                    <a:gd name="T21" fmla="*/ 963 h 1640"/>
                    <a:gd name="T22" fmla="*/ 712 w 1142"/>
                    <a:gd name="T23" fmla="*/ 897 h 1640"/>
                    <a:gd name="T24" fmla="*/ 713 w 1142"/>
                    <a:gd name="T25" fmla="*/ 731 h 1640"/>
                    <a:gd name="T26" fmla="*/ 1041 w 1142"/>
                    <a:gd name="T27" fmla="*/ 250 h 1640"/>
                    <a:gd name="T28" fmla="*/ 1105 w 1142"/>
                    <a:gd name="T29" fmla="*/ 293 h 1640"/>
                    <a:gd name="T30" fmla="*/ 1142 w 1142"/>
                    <a:gd name="T31" fmla="*/ 0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142" h="1640">
                      <a:moveTo>
                        <a:pt x="1142" y="0"/>
                      </a:move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619" y="667"/>
                        <a:pt x="619" y="667"/>
                        <a:pt x="619" y="667"/>
                      </a:cubicBezTo>
                      <a:cubicBezTo>
                        <a:pt x="609" y="665"/>
                        <a:pt x="599" y="663"/>
                        <a:pt x="588" y="663"/>
                      </a:cubicBezTo>
                      <a:cubicBezTo>
                        <a:pt x="541" y="663"/>
                        <a:pt x="494" y="686"/>
                        <a:pt x="465" y="729"/>
                      </a:cubicBezTo>
                      <a:cubicBezTo>
                        <a:pt x="430" y="780"/>
                        <a:pt x="431" y="846"/>
                        <a:pt x="463" y="895"/>
                      </a:cubicBezTo>
                      <a:cubicBezTo>
                        <a:pt x="463" y="895"/>
                        <a:pt x="56" y="1493"/>
                        <a:pt x="0" y="1576"/>
                      </a:cubicBezTo>
                      <a:cubicBezTo>
                        <a:pt x="93" y="1640"/>
                        <a:pt x="93" y="1640"/>
                        <a:pt x="93" y="1640"/>
                      </a:cubicBezTo>
                      <a:cubicBezTo>
                        <a:pt x="153" y="1551"/>
                        <a:pt x="558" y="959"/>
                        <a:pt x="558" y="959"/>
                      </a:cubicBezTo>
                      <a:cubicBezTo>
                        <a:pt x="568" y="961"/>
                        <a:pt x="578" y="963"/>
                        <a:pt x="588" y="963"/>
                      </a:cubicBezTo>
                      <a:cubicBezTo>
                        <a:pt x="636" y="963"/>
                        <a:pt x="683" y="940"/>
                        <a:pt x="712" y="897"/>
                      </a:cubicBezTo>
                      <a:cubicBezTo>
                        <a:pt x="747" y="846"/>
                        <a:pt x="745" y="780"/>
                        <a:pt x="713" y="731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142" y="0"/>
                        <a:pt x="1142" y="0"/>
                        <a:pt x="1142" y="0"/>
                      </a:cubicBezTo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7" name="Freeform 48">
                  <a:extLst>
                    <a:ext uri="{FF2B5EF4-FFF2-40B4-BE49-F238E27FC236}">
                      <a16:creationId xmlns:a16="http://schemas.microsoft.com/office/drawing/2014/main" id="{13AE2454-89E7-9D0D-38FE-0119695D86D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866900" y="3224213"/>
                  <a:ext cx="2117725" cy="3036888"/>
                </a:xfrm>
                <a:custGeom>
                  <a:avLst/>
                  <a:gdLst>
                    <a:gd name="T0" fmla="*/ 0 w 1142"/>
                    <a:gd name="T1" fmla="*/ 1576 h 1640"/>
                    <a:gd name="T2" fmla="*/ 463 w 1142"/>
                    <a:gd name="T3" fmla="*/ 895 h 1640"/>
                    <a:gd name="T4" fmla="*/ 465 w 1142"/>
                    <a:gd name="T5" fmla="*/ 729 h 1640"/>
                    <a:gd name="T6" fmla="*/ 619 w 1142"/>
                    <a:gd name="T7" fmla="*/ 667 h 1640"/>
                    <a:gd name="T8" fmla="*/ 947 w 1142"/>
                    <a:gd name="T9" fmla="*/ 186 h 1640"/>
                    <a:gd name="T10" fmla="*/ 883 w 1142"/>
                    <a:gd name="T11" fmla="*/ 142 h 1640"/>
                    <a:gd name="T12" fmla="*/ 1142 w 1142"/>
                    <a:gd name="T13" fmla="*/ 0 h 1640"/>
                    <a:gd name="T14" fmla="*/ 1105 w 1142"/>
                    <a:gd name="T15" fmla="*/ 293 h 1640"/>
                    <a:gd name="T16" fmla="*/ 1041 w 1142"/>
                    <a:gd name="T17" fmla="*/ 250 h 1640"/>
                    <a:gd name="T18" fmla="*/ 713 w 1142"/>
                    <a:gd name="T19" fmla="*/ 731 h 1640"/>
                    <a:gd name="T20" fmla="*/ 712 w 1142"/>
                    <a:gd name="T21" fmla="*/ 897 h 1640"/>
                    <a:gd name="T22" fmla="*/ 558 w 1142"/>
                    <a:gd name="T23" fmla="*/ 959 h 1640"/>
                    <a:gd name="T24" fmla="*/ 93 w 1142"/>
                    <a:gd name="T25" fmla="*/ 1640 h 1640"/>
                    <a:gd name="T26" fmla="*/ 0 w 1142"/>
                    <a:gd name="T27" fmla="*/ 1576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42" h="1640">
                      <a:moveTo>
                        <a:pt x="0" y="1576"/>
                      </a:moveTo>
                      <a:cubicBezTo>
                        <a:pt x="56" y="1493"/>
                        <a:pt x="463" y="895"/>
                        <a:pt x="463" y="895"/>
                      </a:cubicBezTo>
                      <a:cubicBezTo>
                        <a:pt x="431" y="846"/>
                        <a:pt x="430" y="780"/>
                        <a:pt x="465" y="729"/>
                      </a:cubicBezTo>
                      <a:cubicBezTo>
                        <a:pt x="500" y="677"/>
                        <a:pt x="562" y="655"/>
                        <a:pt x="619" y="667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1142" y="0"/>
                        <a:pt x="1142" y="0"/>
                        <a:pt x="1142" y="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713" y="731"/>
                        <a:pt x="713" y="731"/>
                        <a:pt x="713" y="731"/>
                      </a:cubicBezTo>
                      <a:cubicBezTo>
                        <a:pt x="745" y="780"/>
                        <a:pt x="747" y="846"/>
                        <a:pt x="712" y="897"/>
                      </a:cubicBezTo>
                      <a:cubicBezTo>
                        <a:pt x="677" y="949"/>
                        <a:pt x="615" y="971"/>
                        <a:pt x="558" y="959"/>
                      </a:cubicBezTo>
                      <a:cubicBezTo>
                        <a:pt x="558" y="959"/>
                        <a:pt x="153" y="1551"/>
                        <a:pt x="93" y="1640"/>
                      </a:cubicBezTo>
                      <a:lnTo>
                        <a:pt x="0" y="157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8" name="Freeform 49">
                  <a:extLst>
                    <a:ext uri="{FF2B5EF4-FFF2-40B4-BE49-F238E27FC236}">
                      <a16:creationId xmlns:a16="http://schemas.microsoft.com/office/drawing/2014/main" id="{30DF1E06-5068-71DB-B67D-B70954D6B3B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849563" y="4622801"/>
                  <a:ext cx="215900" cy="214313"/>
                </a:xfrm>
                <a:custGeom>
                  <a:avLst/>
                  <a:gdLst>
                    <a:gd name="T0" fmla="*/ 100 w 116"/>
                    <a:gd name="T1" fmla="*/ 87 h 116"/>
                    <a:gd name="T2" fmla="*/ 30 w 116"/>
                    <a:gd name="T3" fmla="*/ 100 h 116"/>
                    <a:gd name="T4" fmla="*/ 16 w 116"/>
                    <a:gd name="T5" fmla="*/ 29 h 116"/>
                    <a:gd name="T6" fmla="*/ 87 w 116"/>
                    <a:gd name="T7" fmla="*/ 16 h 116"/>
                    <a:gd name="T8" fmla="*/ 100 w 116"/>
                    <a:gd name="T9" fmla="*/ 87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" h="116">
                      <a:moveTo>
                        <a:pt x="100" y="87"/>
                      </a:moveTo>
                      <a:cubicBezTo>
                        <a:pt x="85" y="110"/>
                        <a:pt x="53" y="116"/>
                        <a:pt x="30" y="100"/>
                      </a:cubicBezTo>
                      <a:cubicBezTo>
                        <a:pt x="6" y="84"/>
                        <a:pt x="0" y="53"/>
                        <a:pt x="16" y="29"/>
                      </a:cubicBezTo>
                      <a:cubicBezTo>
                        <a:pt x="32" y="6"/>
                        <a:pt x="64" y="0"/>
                        <a:pt x="87" y="16"/>
                      </a:cubicBezTo>
                      <a:cubicBezTo>
                        <a:pt x="110" y="32"/>
                        <a:pt x="116" y="63"/>
                        <a:pt x="100" y="87"/>
                      </a:cubicBezTo>
                      <a:close/>
                    </a:path>
                  </a:pathLst>
                </a:custGeom>
                <a:solidFill>
                  <a:srgbClr val="002B6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9" name="Oval 50">
                  <a:extLst>
                    <a:ext uri="{FF2B5EF4-FFF2-40B4-BE49-F238E27FC236}">
                      <a16:creationId xmlns:a16="http://schemas.microsoft.com/office/drawing/2014/main" id="{60F94DE8-B6A5-E884-9F01-C45231373B0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2919413" y="4694238"/>
                  <a:ext cx="73025" cy="73025"/>
                </a:xfrm>
                <a:prstGeom prst="ellipse">
                  <a:avLst/>
                </a:prstGeom>
                <a:solidFill>
                  <a:srgbClr val="56B9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2" name="Group 1020">
                <a:extLst>
                  <a:ext uri="{FF2B5EF4-FFF2-40B4-BE49-F238E27FC236}">
                    <a16:creationId xmlns:a16="http://schemas.microsoft.com/office/drawing/2014/main" id="{C6A62993-DBA3-9831-87F3-8AB49EF2C1B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163860" y="3516775"/>
                <a:ext cx="839952" cy="104994"/>
                <a:chOff x="4022725" y="4835526"/>
                <a:chExt cx="1079500" cy="134938"/>
              </a:xfrm>
            </p:grpSpPr>
            <p:sp>
              <p:nvSpPr>
                <p:cNvPr id="133" name="Rectangle 53">
                  <a:extLst>
                    <a:ext uri="{FF2B5EF4-FFF2-40B4-BE49-F238E27FC236}">
                      <a16:creationId xmlns:a16="http://schemas.microsoft.com/office/drawing/2014/main" id="{D5342665-A000-7A87-D801-D4C244C313E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Rectangle 54">
                  <a:extLst>
                    <a:ext uri="{FF2B5EF4-FFF2-40B4-BE49-F238E27FC236}">
                      <a16:creationId xmlns:a16="http://schemas.microsoft.com/office/drawing/2014/main" id="{7FA52D92-60CA-FE15-F625-CA280047E85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Rectangle 55">
                  <a:extLst>
                    <a:ext uri="{FF2B5EF4-FFF2-40B4-BE49-F238E27FC236}">
                      <a16:creationId xmlns:a16="http://schemas.microsoft.com/office/drawing/2014/main" id="{99FD845B-6EA3-7106-E1BF-F8ECAF744FF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Rectangle 56">
                  <a:extLst>
                    <a:ext uri="{FF2B5EF4-FFF2-40B4-BE49-F238E27FC236}">
                      <a16:creationId xmlns:a16="http://schemas.microsoft.com/office/drawing/2014/main" id="{C38C7A49-F581-5B7D-F93C-A849F85FD08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Rectangle 57">
                  <a:extLst>
                    <a:ext uri="{FF2B5EF4-FFF2-40B4-BE49-F238E27FC236}">
                      <a16:creationId xmlns:a16="http://schemas.microsoft.com/office/drawing/2014/main" id="{3F9A4938-35F9-5672-828A-B8D33F8DCDB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Rectangle 58">
                  <a:extLst>
                    <a:ext uri="{FF2B5EF4-FFF2-40B4-BE49-F238E27FC236}">
                      <a16:creationId xmlns:a16="http://schemas.microsoft.com/office/drawing/2014/main" id="{5847D3C7-09C5-99BE-F701-3E435AFEAE9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Freeform 59">
                  <a:extLst>
                    <a:ext uri="{FF2B5EF4-FFF2-40B4-BE49-F238E27FC236}">
                      <a16:creationId xmlns:a16="http://schemas.microsoft.com/office/drawing/2014/main" id="{F582C9A4-9158-E2D8-1001-EC5C8EBB45B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Freeform 60">
                  <a:extLst>
                    <a:ext uri="{FF2B5EF4-FFF2-40B4-BE49-F238E27FC236}">
                      <a16:creationId xmlns:a16="http://schemas.microsoft.com/office/drawing/2014/main" id="{1837EAF9-B1B3-C813-296E-23DCB26910E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Freeform 61">
                  <a:extLst>
                    <a:ext uri="{FF2B5EF4-FFF2-40B4-BE49-F238E27FC236}">
                      <a16:creationId xmlns:a16="http://schemas.microsoft.com/office/drawing/2014/main" id="{1EE89208-9A3E-CD6A-344C-2EF62CAFB7D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Freeform 62">
                  <a:extLst>
                    <a:ext uri="{FF2B5EF4-FFF2-40B4-BE49-F238E27FC236}">
                      <a16:creationId xmlns:a16="http://schemas.microsoft.com/office/drawing/2014/main" id="{D0BE948F-D4F0-ECC1-B7E2-77F5F57B24D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3" name="Rectangle 63">
                  <a:extLst>
                    <a:ext uri="{FF2B5EF4-FFF2-40B4-BE49-F238E27FC236}">
                      <a16:creationId xmlns:a16="http://schemas.microsoft.com/office/drawing/2014/main" id="{F0DF3D49-E7A0-7A7C-1191-D3D8277B5F9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Rectangle 64">
                  <a:extLst>
                    <a:ext uri="{FF2B5EF4-FFF2-40B4-BE49-F238E27FC236}">
                      <a16:creationId xmlns:a16="http://schemas.microsoft.com/office/drawing/2014/main" id="{BD67F294-D317-AF52-4A95-83725B3306B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Rectangle 65">
                  <a:extLst>
                    <a:ext uri="{FF2B5EF4-FFF2-40B4-BE49-F238E27FC236}">
                      <a16:creationId xmlns:a16="http://schemas.microsoft.com/office/drawing/2014/main" id="{38E42C10-B1EA-77FD-0FC9-9D544BF2979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Rectangle 66">
                  <a:extLst>
                    <a:ext uri="{FF2B5EF4-FFF2-40B4-BE49-F238E27FC236}">
                      <a16:creationId xmlns:a16="http://schemas.microsoft.com/office/drawing/2014/main" id="{24A050BB-6FD5-0D7D-EB94-01C883EF422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Rectangle 67">
                  <a:extLst>
                    <a:ext uri="{FF2B5EF4-FFF2-40B4-BE49-F238E27FC236}">
                      <a16:creationId xmlns:a16="http://schemas.microsoft.com/office/drawing/2014/main" id="{89F8BD64-8397-561B-5ABB-7A79A78E4DA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Rectangle 68">
                  <a:extLst>
                    <a:ext uri="{FF2B5EF4-FFF2-40B4-BE49-F238E27FC236}">
                      <a16:creationId xmlns:a16="http://schemas.microsoft.com/office/drawing/2014/main" id="{F1793FEA-18CB-D76C-8F04-7E50AF1EA25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Rectangle 69">
                  <a:extLst>
                    <a:ext uri="{FF2B5EF4-FFF2-40B4-BE49-F238E27FC236}">
                      <a16:creationId xmlns:a16="http://schemas.microsoft.com/office/drawing/2014/main" id="{B9EB212D-7ADA-EF60-C799-AE71D94CA68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Rectangle 70">
                  <a:extLst>
                    <a:ext uri="{FF2B5EF4-FFF2-40B4-BE49-F238E27FC236}">
                      <a16:creationId xmlns:a16="http://schemas.microsoft.com/office/drawing/2014/main" id="{E0515A8B-965E-D4C8-7D25-ACB673FC3D4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Rectangle 71">
                  <a:extLst>
                    <a:ext uri="{FF2B5EF4-FFF2-40B4-BE49-F238E27FC236}">
                      <a16:creationId xmlns:a16="http://schemas.microsoft.com/office/drawing/2014/main" id="{66DED9B7-9E01-96C0-614A-CDC0F36E8D4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Rectangle 72">
                  <a:extLst>
                    <a:ext uri="{FF2B5EF4-FFF2-40B4-BE49-F238E27FC236}">
                      <a16:creationId xmlns:a16="http://schemas.microsoft.com/office/drawing/2014/main" id="{B6DEDF54-72B2-6837-3476-8A532A98523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Rectangle 73">
                  <a:extLst>
                    <a:ext uri="{FF2B5EF4-FFF2-40B4-BE49-F238E27FC236}">
                      <a16:creationId xmlns:a16="http://schemas.microsoft.com/office/drawing/2014/main" id="{181DD926-618B-2730-328F-DBC923A6BB6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Rectangle 74">
                  <a:extLst>
                    <a:ext uri="{FF2B5EF4-FFF2-40B4-BE49-F238E27FC236}">
                      <a16:creationId xmlns:a16="http://schemas.microsoft.com/office/drawing/2014/main" id="{3D27B2B9-6662-8500-0A4C-23F8551E797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Rectangle 75">
                  <a:extLst>
                    <a:ext uri="{FF2B5EF4-FFF2-40B4-BE49-F238E27FC236}">
                      <a16:creationId xmlns:a16="http://schemas.microsoft.com/office/drawing/2014/main" id="{0724CA3A-BDE7-F068-9F97-7128FC4C200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Rectangle 76">
                  <a:extLst>
                    <a:ext uri="{FF2B5EF4-FFF2-40B4-BE49-F238E27FC236}">
                      <a16:creationId xmlns:a16="http://schemas.microsoft.com/office/drawing/2014/main" id="{48A92062-DC7F-2D17-B139-652EE9DA824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Rectangle 77">
                  <a:extLst>
                    <a:ext uri="{FF2B5EF4-FFF2-40B4-BE49-F238E27FC236}">
                      <a16:creationId xmlns:a16="http://schemas.microsoft.com/office/drawing/2014/main" id="{5A8B0C1E-76AC-CDDC-5967-CFB390E34E3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Rectangle 78">
                  <a:extLst>
                    <a:ext uri="{FF2B5EF4-FFF2-40B4-BE49-F238E27FC236}">
                      <a16:creationId xmlns:a16="http://schemas.microsoft.com/office/drawing/2014/main" id="{0C0AFE57-BF26-E431-BB59-50FCEEE1150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Rectangle 79">
                  <a:extLst>
                    <a:ext uri="{FF2B5EF4-FFF2-40B4-BE49-F238E27FC236}">
                      <a16:creationId xmlns:a16="http://schemas.microsoft.com/office/drawing/2014/main" id="{FD3B7782-AE7D-23CB-C543-E0FE57865B3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Rectangle 80">
                  <a:extLst>
                    <a:ext uri="{FF2B5EF4-FFF2-40B4-BE49-F238E27FC236}">
                      <a16:creationId xmlns:a16="http://schemas.microsoft.com/office/drawing/2014/main" id="{3918537C-AB3C-A9D8-894E-39979F8CA29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Rectangle 81">
                  <a:extLst>
                    <a:ext uri="{FF2B5EF4-FFF2-40B4-BE49-F238E27FC236}">
                      <a16:creationId xmlns:a16="http://schemas.microsoft.com/office/drawing/2014/main" id="{3EA2D089-E345-63AA-7138-03A3DAE8472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Rectangle 82">
                  <a:extLst>
                    <a:ext uri="{FF2B5EF4-FFF2-40B4-BE49-F238E27FC236}">
                      <a16:creationId xmlns:a16="http://schemas.microsoft.com/office/drawing/2014/main" id="{51EED20E-CC05-7178-0A75-EC5F75B8E63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Rectangle 83">
                  <a:extLst>
                    <a:ext uri="{FF2B5EF4-FFF2-40B4-BE49-F238E27FC236}">
                      <a16:creationId xmlns:a16="http://schemas.microsoft.com/office/drawing/2014/main" id="{D5C4E867-D385-43C1-6EFF-C1B71E67C58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Rectangle 84">
                  <a:extLst>
                    <a:ext uri="{FF2B5EF4-FFF2-40B4-BE49-F238E27FC236}">
                      <a16:creationId xmlns:a16="http://schemas.microsoft.com/office/drawing/2014/main" id="{297595BB-D7BF-CCCF-82BC-F8E5AD6DB44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Rectangle 85">
                  <a:extLst>
                    <a:ext uri="{FF2B5EF4-FFF2-40B4-BE49-F238E27FC236}">
                      <a16:creationId xmlns:a16="http://schemas.microsoft.com/office/drawing/2014/main" id="{6289AF9C-D3D1-F0D8-A37B-AB771296850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Rectangle 86">
                  <a:extLst>
                    <a:ext uri="{FF2B5EF4-FFF2-40B4-BE49-F238E27FC236}">
                      <a16:creationId xmlns:a16="http://schemas.microsoft.com/office/drawing/2014/main" id="{4DE951E8-18B1-7DC3-4120-7382FF47F15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Rectangle 87">
                  <a:extLst>
                    <a:ext uri="{FF2B5EF4-FFF2-40B4-BE49-F238E27FC236}">
                      <a16:creationId xmlns:a16="http://schemas.microsoft.com/office/drawing/2014/main" id="{5FFC1406-5DC6-A838-DB38-53F66DCF94E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Rectangle 88">
                  <a:extLst>
                    <a:ext uri="{FF2B5EF4-FFF2-40B4-BE49-F238E27FC236}">
                      <a16:creationId xmlns:a16="http://schemas.microsoft.com/office/drawing/2014/main" id="{775C0134-1032-DBAB-538E-BFCDCB04462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eform 89">
                  <a:extLst>
                    <a:ext uri="{FF2B5EF4-FFF2-40B4-BE49-F238E27FC236}">
                      <a16:creationId xmlns:a16="http://schemas.microsoft.com/office/drawing/2014/main" id="{A05CEBA9-D15B-D377-CB9C-5FA8F9210A3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Freeform 90">
                  <a:extLst>
                    <a:ext uri="{FF2B5EF4-FFF2-40B4-BE49-F238E27FC236}">
                      <a16:creationId xmlns:a16="http://schemas.microsoft.com/office/drawing/2014/main" id="{D0CD7769-A92D-F9F7-F74F-7956E3EC984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 91">
                  <a:extLst>
                    <a:ext uri="{FF2B5EF4-FFF2-40B4-BE49-F238E27FC236}">
                      <a16:creationId xmlns:a16="http://schemas.microsoft.com/office/drawing/2014/main" id="{370D98D8-7DEE-7BE8-27FA-502E2CF95E9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951413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Rectangle 92">
                  <a:extLst>
                    <a:ext uri="{FF2B5EF4-FFF2-40B4-BE49-F238E27FC236}">
                      <a16:creationId xmlns:a16="http://schemas.microsoft.com/office/drawing/2014/main" id="{8D149455-061D-1AA8-1BD5-4C2A7146CBD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Rectangle 93">
                  <a:extLst>
                    <a:ext uri="{FF2B5EF4-FFF2-40B4-BE49-F238E27FC236}">
                      <a16:creationId xmlns:a16="http://schemas.microsoft.com/office/drawing/2014/main" id="{7F4B87C5-5EC0-07B5-3479-A96D4111B64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Rectangle 94">
                  <a:extLst>
                    <a:ext uri="{FF2B5EF4-FFF2-40B4-BE49-F238E27FC236}">
                      <a16:creationId xmlns:a16="http://schemas.microsoft.com/office/drawing/2014/main" id="{6799E950-F94A-DA20-077A-0464DF8C274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Rectangle 95">
                  <a:extLst>
                    <a:ext uri="{FF2B5EF4-FFF2-40B4-BE49-F238E27FC236}">
                      <a16:creationId xmlns:a16="http://schemas.microsoft.com/office/drawing/2014/main" id="{3EE5E722-E86B-50FF-E56D-405D353AF8D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Freeform 96">
                  <a:extLst>
                    <a:ext uri="{FF2B5EF4-FFF2-40B4-BE49-F238E27FC236}">
                      <a16:creationId xmlns:a16="http://schemas.microsoft.com/office/drawing/2014/main" id="{D4BBBFF4-E578-48F1-F4A4-4DC9B66D617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 97">
                  <a:extLst>
                    <a:ext uri="{FF2B5EF4-FFF2-40B4-BE49-F238E27FC236}">
                      <a16:creationId xmlns:a16="http://schemas.microsoft.com/office/drawing/2014/main" id="{96FA4240-4BD0-18B5-492F-DEBA0903529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Rectangle 98">
                  <a:extLst>
                    <a:ext uri="{FF2B5EF4-FFF2-40B4-BE49-F238E27FC236}">
                      <a16:creationId xmlns:a16="http://schemas.microsoft.com/office/drawing/2014/main" id="{2D07DAF7-D2F5-27D1-0C51-9817247C5DB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Rectangle 99">
                  <a:extLst>
                    <a:ext uri="{FF2B5EF4-FFF2-40B4-BE49-F238E27FC236}">
                      <a16:creationId xmlns:a16="http://schemas.microsoft.com/office/drawing/2014/main" id="{AAD5E243-4F6F-D786-6C16-AB4FB67F2AA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Freeform 100">
                  <a:extLst>
                    <a:ext uri="{FF2B5EF4-FFF2-40B4-BE49-F238E27FC236}">
                      <a16:creationId xmlns:a16="http://schemas.microsoft.com/office/drawing/2014/main" id="{09A0493C-3FBA-5FF5-DD9B-DA8940F43D3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Freeform 101">
                  <a:extLst>
                    <a:ext uri="{FF2B5EF4-FFF2-40B4-BE49-F238E27FC236}">
                      <a16:creationId xmlns:a16="http://schemas.microsoft.com/office/drawing/2014/main" id="{CEC5022E-8925-644C-ADCC-A8808A0AF3A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Freeform 102">
                  <a:extLst>
                    <a:ext uri="{FF2B5EF4-FFF2-40B4-BE49-F238E27FC236}">
                      <a16:creationId xmlns:a16="http://schemas.microsoft.com/office/drawing/2014/main" id="{FA10D980-E1C0-9D94-87F1-B5A5A0F91A0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Freeform 103">
                  <a:extLst>
                    <a:ext uri="{FF2B5EF4-FFF2-40B4-BE49-F238E27FC236}">
                      <a16:creationId xmlns:a16="http://schemas.microsoft.com/office/drawing/2014/main" id="{C419B3A8-6866-9D73-F64D-27CDD38B94F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Rectangle 104">
                  <a:extLst>
                    <a:ext uri="{FF2B5EF4-FFF2-40B4-BE49-F238E27FC236}">
                      <a16:creationId xmlns:a16="http://schemas.microsoft.com/office/drawing/2014/main" id="{C73B71DF-18D6-0E2B-32B1-E6C86C9F260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Rectangle 105">
                  <a:extLst>
                    <a:ext uri="{FF2B5EF4-FFF2-40B4-BE49-F238E27FC236}">
                      <a16:creationId xmlns:a16="http://schemas.microsoft.com/office/drawing/2014/main" id="{73457214-7794-57AB-24A3-DFA76470FC5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Rectangle 106">
                  <a:extLst>
                    <a:ext uri="{FF2B5EF4-FFF2-40B4-BE49-F238E27FC236}">
                      <a16:creationId xmlns:a16="http://schemas.microsoft.com/office/drawing/2014/main" id="{FC95A32C-779A-6EE8-55A5-792A5997CF3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Rectangle 107">
                  <a:extLst>
                    <a:ext uri="{FF2B5EF4-FFF2-40B4-BE49-F238E27FC236}">
                      <a16:creationId xmlns:a16="http://schemas.microsoft.com/office/drawing/2014/main" id="{3E3C86B1-C7F0-2863-67DD-6782A3E7314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Rectangle 108">
                  <a:extLst>
                    <a:ext uri="{FF2B5EF4-FFF2-40B4-BE49-F238E27FC236}">
                      <a16:creationId xmlns:a16="http://schemas.microsoft.com/office/drawing/2014/main" id="{8EE64C0B-2653-C57F-6688-4E3D000E265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Rectangle 109">
                  <a:extLst>
                    <a:ext uri="{FF2B5EF4-FFF2-40B4-BE49-F238E27FC236}">
                      <a16:creationId xmlns:a16="http://schemas.microsoft.com/office/drawing/2014/main" id="{002A0B5A-E450-CC9F-D784-5BB250A32DD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Freeform 110">
                  <a:extLst>
                    <a:ext uri="{FF2B5EF4-FFF2-40B4-BE49-F238E27FC236}">
                      <a16:creationId xmlns:a16="http://schemas.microsoft.com/office/drawing/2014/main" id="{9E49847E-17CE-5EFB-2B65-F074C74F487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Freeform 111">
                  <a:extLst>
                    <a:ext uri="{FF2B5EF4-FFF2-40B4-BE49-F238E27FC236}">
                      <a16:creationId xmlns:a16="http://schemas.microsoft.com/office/drawing/2014/main" id="{F2C8CEFF-270A-3A21-1736-7C07D235025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Rectangle 112">
                  <a:extLst>
                    <a:ext uri="{FF2B5EF4-FFF2-40B4-BE49-F238E27FC236}">
                      <a16:creationId xmlns:a16="http://schemas.microsoft.com/office/drawing/2014/main" id="{AFAB0E8B-8278-0242-DAA3-17212B007A4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Rectangle 113">
                  <a:extLst>
                    <a:ext uri="{FF2B5EF4-FFF2-40B4-BE49-F238E27FC236}">
                      <a16:creationId xmlns:a16="http://schemas.microsoft.com/office/drawing/2014/main" id="{DF6393D1-CF86-57C0-D010-A6072155989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4" name="Rectangle 114">
                  <a:extLst>
                    <a:ext uri="{FF2B5EF4-FFF2-40B4-BE49-F238E27FC236}">
                      <a16:creationId xmlns:a16="http://schemas.microsoft.com/office/drawing/2014/main" id="{8C091AA3-1A47-3158-576E-EBEFF8BB7BC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Rectangle 115">
                  <a:extLst>
                    <a:ext uri="{FF2B5EF4-FFF2-40B4-BE49-F238E27FC236}">
                      <a16:creationId xmlns:a16="http://schemas.microsoft.com/office/drawing/2014/main" id="{CC34F899-9D2A-CAFD-5CF0-B37DB2147AD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Freeform 116">
                  <a:extLst>
                    <a:ext uri="{FF2B5EF4-FFF2-40B4-BE49-F238E27FC236}">
                      <a16:creationId xmlns:a16="http://schemas.microsoft.com/office/drawing/2014/main" id="{51A705AF-A2DC-2230-8C6D-AA40EB31DCF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Freeform 117">
                  <a:extLst>
                    <a:ext uri="{FF2B5EF4-FFF2-40B4-BE49-F238E27FC236}">
                      <a16:creationId xmlns:a16="http://schemas.microsoft.com/office/drawing/2014/main" id="{DA13967F-A6C1-D188-40E2-7A078A44EFD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Rectangle 118">
                  <a:extLst>
                    <a:ext uri="{FF2B5EF4-FFF2-40B4-BE49-F238E27FC236}">
                      <a16:creationId xmlns:a16="http://schemas.microsoft.com/office/drawing/2014/main" id="{9D38B93A-408F-1014-EFB2-B7873DF6FED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Rectangle 119">
                  <a:extLst>
                    <a:ext uri="{FF2B5EF4-FFF2-40B4-BE49-F238E27FC236}">
                      <a16:creationId xmlns:a16="http://schemas.microsoft.com/office/drawing/2014/main" id="{EA039F18-33B6-FC4C-3531-4D77082E543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Rectangle 120">
                  <a:extLst>
                    <a:ext uri="{FF2B5EF4-FFF2-40B4-BE49-F238E27FC236}">
                      <a16:creationId xmlns:a16="http://schemas.microsoft.com/office/drawing/2014/main" id="{7C0E002E-BDD3-350B-33A9-E7B6565A4CD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Rectangle 121">
                  <a:extLst>
                    <a:ext uri="{FF2B5EF4-FFF2-40B4-BE49-F238E27FC236}">
                      <a16:creationId xmlns:a16="http://schemas.microsoft.com/office/drawing/2014/main" id="{D965251D-289A-C8E8-52E7-710DF5E3661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Rectangle 122">
                  <a:extLst>
                    <a:ext uri="{FF2B5EF4-FFF2-40B4-BE49-F238E27FC236}">
                      <a16:creationId xmlns:a16="http://schemas.microsoft.com/office/drawing/2014/main" id="{57BD1F77-1DAA-90FD-6C35-93672E917DB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Rectangle 123">
                  <a:extLst>
                    <a:ext uri="{FF2B5EF4-FFF2-40B4-BE49-F238E27FC236}">
                      <a16:creationId xmlns:a16="http://schemas.microsoft.com/office/drawing/2014/main" id="{4EDCFEA0-2731-954A-9657-E43B24BCCB3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Freeform 124">
                  <a:extLst>
                    <a:ext uri="{FF2B5EF4-FFF2-40B4-BE49-F238E27FC236}">
                      <a16:creationId xmlns:a16="http://schemas.microsoft.com/office/drawing/2014/main" id="{79507C94-67CB-59B1-5660-16D271703B8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Freeform 125">
                  <a:extLst>
                    <a:ext uri="{FF2B5EF4-FFF2-40B4-BE49-F238E27FC236}">
                      <a16:creationId xmlns:a16="http://schemas.microsoft.com/office/drawing/2014/main" id="{D24AFC31-ABAC-D167-9406-9F79F3847B3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6" name="Rectangle 126">
                  <a:extLst>
                    <a:ext uri="{FF2B5EF4-FFF2-40B4-BE49-F238E27FC236}">
                      <a16:creationId xmlns:a16="http://schemas.microsoft.com/office/drawing/2014/main" id="{8FAE36B9-92A3-848D-8BDF-8D268BF5E5E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7" name="Rectangle 127">
                  <a:extLst>
                    <a:ext uri="{FF2B5EF4-FFF2-40B4-BE49-F238E27FC236}">
                      <a16:creationId xmlns:a16="http://schemas.microsoft.com/office/drawing/2014/main" id="{8DF5D60F-3C08-024C-C2A7-4274A3AF154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Rectangle 128">
                  <a:extLst>
                    <a:ext uri="{FF2B5EF4-FFF2-40B4-BE49-F238E27FC236}">
                      <a16:creationId xmlns:a16="http://schemas.microsoft.com/office/drawing/2014/main" id="{7762F783-CBE2-A231-5DAB-A9D52BAE0A7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Rectangle 129">
                  <a:extLst>
                    <a:ext uri="{FF2B5EF4-FFF2-40B4-BE49-F238E27FC236}">
                      <a16:creationId xmlns:a16="http://schemas.microsoft.com/office/drawing/2014/main" id="{071AC5ED-55EB-5613-9AEF-96D120799C4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Freeform 130">
                  <a:extLst>
                    <a:ext uri="{FF2B5EF4-FFF2-40B4-BE49-F238E27FC236}">
                      <a16:creationId xmlns:a16="http://schemas.microsoft.com/office/drawing/2014/main" id="{FBE5A5F2-D385-2E22-D519-176ADF28156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Freeform 131">
                  <a:extLst>
                    <a:ext uri="{FF2B5EF4-FFF2-40B4-BE49-F238E27FC236}">
                      <a16:creationId xmlns:a16="http://schemas.microsoft.com/office/drawing/2014/main" id="{168B2CFD-CFCC-7645-D948-B5700E40D00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Freeform 132">
                  <a:extLst>
                    <a:ext uri="{FF2B5EF4-FFF2-40B4-BE49-F238E27FC236}">
                      <a16:creationId xmlns:a16="http://schemas.microsoft.com/office/drawing/2014/main" id="{A4395C25-8AA2-5471-DD9B-9BDFACAB509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40288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Rectangle 133">
                  <a:extLst>
                    <a:ext uri="{FF2B5EF4-FFF2-40B4-BE49-F238E27FC236}">
                      <a16:creationId xmlns:a16="http://schemas.microsoft.com/office/drawing/2014/main" id="{B5F48DA2-71B8-1B8A-5403-05803E57796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Rectangle 134">
                  <a:extLst>
                    <a:ext uri="{FF2B5EF4-FFF2-40B4-BE49-F238E27FC236}">
                      <a16:creationId xmlns:a16="http://schemas.microsoft.com/office/drawing/2014/main" id="{A9575A8A-01B1-2968-2807-08C631B801D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Rectangle 135">
                  <a:extLst>
                    <a:ext uri="{FF2B5EF4-FFF2-40B4-BE49-F238E27FC236}">
                      <a16:creationId xmlns:a16="http://schemas.microsoft.com/office/drawing/2014/main" id="{F7DFF6EC-49E2-263F-A664-7EFE011A7D2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Rectangle 136">
                  <a:extLst>
                    <a:ext uri="{FF2B5EF4-FFF2-40B4-BE49-F238E27FC236}">
                      <a16:creationId xmlns:a16="http://schemas.microsoft.com/office/drawing/2014/main" id="{F5E327C2-CC7E-343C-5A6A-09830007961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7" name="Rectangle 137">
                  <a:extLst>
                    <a:ext uri="{FF2B5EF4-FFF2-40B4-BE49-F238E27FC236}">
                      <a16:creationId xmlns:a16="http://schemas.microsoft.com/office/drawing/2014/main" id="{697694FE-47EC-2A16-0CBA-7DBA6A2B2EB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8" name="Rectangle 138">
                  <a:extLst>
                    <a:ext uri="{FF2B5EF4-FFF2-40B4-BE49-F238E27FC236}">
                      <a16:creationId xmlns:a16="http://schemas.microsoft.com/office/drawing/2014/main" id="{32A8EC33-BA36-2FBC-451D-3C05E348568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9" name="Rectangle 139">
                  <a:extLst>
                    <a:ext uri="{FF2B5EF4-FFF2-40B4-BE49-F238E27FC236}">
                      <a16:creationId xmlns:a16="http://schemas.microsoft.com/office/drawing/2014/main" id="{46F6638A-0F0D-B491-BAC7-73952FE2253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Rectangle 140">
                  <a:extLst>
                    <a:ext uri="{FF2B5EF4-FFF2-40B4-BE49-F238E27FC236}">
                      <a16:creationId xmlns:a16="http://schemas.microsoft.com/office/drawing/2014/main" id="{9A51956A-AE05-F83E-7C7F-63385182471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Rectangle 141">
                  <a:extLst>
                    <a:ext uri="{FF2B5EF4-FFF2-40B4-BE49-F238E27FC236}">
                      <a16:creationId xmlns:a16="http://schemas.microsoft.com/office/drawing/2014/main" id="{E0A02566-2296-5038-53CB-7B0C0AB0478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Rectangle 142">
                  <a:extLst>
                    <a:ext uri="{FF2B5EF4-FFF2-40B4-BE49-F238E27FC236}">
                      <a16:creationId xmlns:a16="http://schemas.microsoft.com/office/drawing/2014/main" id="{B603E5C5-6BD5-58E7-D9E5-CCE3F11D985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 143">
                  <a:extLst>
                    <a:ext uri="{FF2B5EF4-FFF2-40B4-BE49-F238E27FC236}">
                      <a16:creationId xmlns:a16="http://schemas.microsoft.com/office/drawing/2014/main" id="{1ADCE20C-25F6-A4CC-09F6-F4B9F89E1CC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 144">
                  <a:extLst>
                    <a:ext uri="{FF2B5EF4-FFF2-40B4-BE49-F238E27FC236}">
                      <a16:creationId xmlns:a16="http://schemas.microsoft.com/office/drawing/2014/main" id="{77ADF9E5-9E74-1BFA-007E-24B7BA29362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Rectangle 145">
                  <a:extLst>
                    <a:ext uri="{FF2B5EF4-FFF2-40B4-BE49-F238E27FC236}">
                      <a16:creationId xmlns:a16="http://schemas.microsoft.com/office/drawing/2014/main" id="{CA6FF5AB-05E5-4588-DCBC-A1A03F33F08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Rectangle 146">
                  <a:extLst>
                    <a:ext uri="{FF2B5EF4-FFF2-40B4-BE49-F238E27FC236}">
                      <a16:creationId xmlns:a16="http://schemas.microsoft.com/office/drawing/2014/main" id="{6D4807F8-32A9-09A5-2868-EB6CE3DE38D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Freeform 147">
                  <a:extLst>
                    <a:ext uri="{FF2B5EF4-FFF2-40B4-BE49-F238E27FC236}">
                      <a16:creationId xmlns:a16="http://schemas.microsoft.com/office/drawing/2014/main" id="{D245316F-BBD3-5E53-7400-589A4EE940E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 148">
                  <a:extLst>
                    <a:ext uri="{FF2B5EF4-FFF2-40B4-BE49-F238E27FC236}">
                      <a16:creationId xmlns:a16="http://schemas.microsoft.com/office/drawing/2014/main" id="{E591A04F-2320-6C27-B996-8A3F86B9638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 149">
                  <a:extLst>
                    <a:ext uri="{FF2B5EF4-FFF2-40B4-BE49-F238E27FC236}">
                      <a16:creationId xmlns:a16="http://schemas.microsoft.com/office/drawing/2014/main" id="{F538671E-ECC4-E254-6E1C-9BBE0CD12EA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 150">
                  <a:extLst>
                    <a:ext uri="{FF2B5EF4-FFF2-40B4-BE49-F238E27FC236}">
                      <a16:creationId xmlns:a16="http://schemas.microsoft.com/office/drawing/2014/main" id="{3B44F1ED-F4BE-84AF-D18F-F6A1FFE0852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1" name="Rectangle 151">
                  <a:extLst>
                    <a:ext uri="{FF2B5EF4-FFF2-40B4-BE49-F238E27FC236}">
                      <a16:creationId xmlns:a16="http://schemas.microsoft.com/office/drawing/2014/main" id="{53BC3D23-1EAD-40BB-F6A2-F6D737AA2AE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2" name="Rectangle 152">
                  <a:extLst>
                    <a:ext uri="{FF2B5EF4-FFF2-40B4-BE49-F238E27FC236}">
                      <a16:creationId xmlns:a16="http://schemas.microsoft.com/office/drawing/2014/main" id="{65AE8A47-EE4C-E1C2-5CC2-D2F4D9BBE93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3" name="Rectangle 153">
                  <a:extLst>
                    <a:ext uri="{FF2B5EF4-FFF2-40B4-BE49-F238E27FC236}">
                      <a16:creationId xmlns:a16="http://schemas.microsoft.com/office/drawing/2014/main" id="{2C0B708D-DD05-338B-A724-82915B3F3B1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4" name="Rectangle 154">
                  <a:extLst>
                    <a:ext uri="{FF2B5EF4-FFF2-40B4-BE49-F238E27FC236}">
                      <a16:creationId xmlns:a16="http://schemas.microsoft.com/office/drawing/2014/main" id="{806593C7-4A03-82B9-C61B-685CD16FEC1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5" name="Rectangle 155">
                  <a:extLst>
                    <a:ext uri="{FF2B5EF4-FFF2-40B4-BE49-F238E27FC236}">
                      <a16:creationId xmlns:a16="http://schemas.microsoft.com/office/drawing/2014/main" id="{CE486F7A-8D4F-B6F1-FED3-385F3366C7F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6" name="Rectangle 156">
                  <a:extLst>
                    <a:ext uri="{FF2B5EF4-FFF2-40B4-BE49-F238E27FC236}">
                      <a16:creationId xmlns:a16="http://schemas.microsoft.com/office/drawing/2014/main" id="{5F7A9711-386E-FD31-CFE8-39B1FBB1545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7" name="Freeform 157">
                  <a:extLst>
                    <a:ext uri="{FF2B5EF4-FFF2-40B4-BE49-F238E27FC236}">
                      <a16:creationId xmlns:a16="http://schemas.microsoft.com/office/drawing/2014/main" id="{FA4C0EE6-F9C2-3DB1-2438-E1093D6E199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8" name="Freeform 158">
                  <a:extLst>
                    <a:ext uri="{FF2B5EF4-FFF2-40B4-BE49-F238E27FC236}">
                      <a16:creationId xmlns:a16="http://schemas.microsoft.com/office/drawing/2014/main" id="{94861F13-261E-883D-A2F5-4153ACE7A2B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9" name="Rectangle 159">
                  <a:extLst>
                    <a:ext uri="{FF2B5EF4-FFF2-40B4-BE49-F238E27FC236}">
                      <a16:creationId xmlns:a16="http://schemas.microsoft.com/office/drawing/2014/main" id="{3B39FE3B-98D6-3D0D-66AE-EADCAE014C2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0" name="Rectangle 160">
                  <a:extLst>
                    <a:ext uri="{FF2B5EF4-FFF2-40B4-BE49-F238E27FC236}">
                      <a16:creationId xmlns:a16="http://schemas.microsoft.com/office/drawing/2014/main" id="{4E825911-3AEB-20B0-05D5-C13BDEE0BC8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1" name="Rectangle 161">
                  <a:extLst>
                    <a:ext uri="{FF2B5EF4-FFF2-40B4-BE49-F238E27FC236}">
                      <a16:creationId xmlns:a16="http://schemas.microsoft.com/office/drawing/2014/main" id="{C73A54C4-C50D-99C9-C818-EDB3EFF83C0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2" name="Rectangle 162">
                  <a:extLst>
                    <a:ext uri="{FF2B5EF4-FFF2-40B4-BE49-F238E27FC236}">
                      <a16:creationId xmlns:a16="http://schemas.microsoft.com/office/drawing/2014/main" id="{575BAC79-3B4F-4827-0446-705170C43F6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3" name="Rectangle 163">
                  <a:extLst>
                    <a:ext uri="{FF2B5EF4-FFF2-40B4-BE49-F238E27FC236}">
                      <a16:creationId xmlns:a16="http://schemas.microsoft.com/office/drawing/2014/main" id="{71217C1B-5CEE-D004-7AE5-90C2A6CDE54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4" name="Rectangle 164">
                  <a:extLst>
                    <a:ext uri="{FF2B5EF4-FFF2-40B4-BE49-F238E27FC236}">
                      <a16:creationId xmlns:a16="http://schemas.microsoft.com/office/drawing/2014/main" id="{13702C78-3AB3-1878-CAA5-B274A3597D5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5" name="Rectangle 165">
                  <a:extLst>
                    <a:ext uri="{FF2B5EF4-FFF2-40B4-BE49-F238E27FC236}">
                      <a16:creationId xmlns:a16="http://schemas.microsoft.com/office/drawing/2014/main" id="{7E204E44-B1E3-A43D-58C2-9E3D0B69800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6" name="Rectangle 166">
                  <a:extLst>
                    <a:ext uri="{FF2B5EF4-FFF2-40B4-BE49-F238E27FC236}">
                      <a16:creationId xmlns:a16="http://schemas.microsoft.com/office/drawing/2014/main" id="{F683592E-7532-ECB9-5E62-16B2C392128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7" name="Rectangle 167">
                  <a:extLst>
                    <a:ext uri="{FF2B5EF4-FFF2-40B4-BE49-F238E27FC236}">
                      <a16:creationId xmlns:a16="http://schemas.microsoft.com/office/drawing/2014/main" id="{7F488026-ABB6-D21E-DAF5-9E203B380E7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8" name="Rectangle 168">
                  <a:extLst>
                    <a:ext uri="{FF2B5EF4-FFF2-40B4-BE49-F238E27FC236}">
                      <a16:creationId xmlns:a16="http://schemas.microsoft.com/office/drawing/2014/main" id="{60197059-6A05-3FFA-24EA-BE81100736E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9" name="Rectangle 169">
                  <a:extLst>
                    <a:ext uri="{FF2B5EF4-FFF2-40B4-BE49-F238E27FC236}">
                      <a16:creationId xmlns:a16="http://schemas.microsoft.com/office/drawing/2014/main" id="{6B4F28E3-90FA-277C-B396-9C2F3C15968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0" name="Rectangle 170">
                  <a:extLst>
                    <a:ext uri="{FF2B5EF4-FFF2-40B4-BE49-F238E27FC236}">
                      <a16:creationId xmlns:a16="http://schemas.microsoft.com/office/drawing/2014/main" id="{7215B380-2F36-566B-0082-1EA0ED20FFB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1" name="Freeform 171">
                  <a:extLst>
                    <a:ext uri="{FF2B5EF4-FFF2-40B4-BE49-F238E27FC236}">
                      <a16:creationId xmlns:a16="http://schemas.microsoft.com/office/drawing/2014/main" id="{299F11B4-5D33-BABF-49EE-1BEEBC48370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2" name="Freeform 172">
                  <a:extLst>
                    <a:ext uri="{FF2B5EF4-FFF2-40B4-BE49-F238E27FC236}">
                      <a16:creationId xmlns:a16="http://schemas.microsoft.com/office/drawing/2014/main" id="{A57FEFB2-3CFD-B6EF-E700-57B054447B1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3" name="Rectangle 173">
                  <a:extLst>
                    <a:ext uri="{FF2B5EF4-FFF2-40B4-BE49-F238E27FC236}">
                      <a16:creationId xmlns:a16="http://schemas.microsoft.com/office/drawing/2014/main" id="{F4B95B07-31D2-C506-46EC-E0D9CC90D19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19563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4" name="Rectangle 174">
                  <a:extLst>
                    <a:ext uri="{FF2B5EF4-FFF2-40B4-BE49-F238E27FC236}">
                      <a16:creationId xmlns:a16="http://schemas.microsoft.com/office/drawing/2014/main" id="{226E8ED9-A124-7305-D9C1-37D284678DA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1938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5" name="Freeform 175">
                  <a:extLst>
                    <a:ext uri="{FF2B5EF4-FFF2-40B4-BE49-F238E27FC236}">
                      <a16:creationId xmlns:a16="http://schemas.microsoft.com/office/drawing/2014/main" id="{A590905A-4401-F617-3E88-DD1EACCE593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022725" y="4899026"/>
                  <a:ext cx="20638" cy="17463"/>
                </a:xfrm>
                <a:custGeom>
                  <a:avLst/>
                  <a:gdLst>
                    <a:gd name="T0" fmla="*/ 1 w 13"/>
                    <a:gd name="T1" fmla="*/ 11 h 11"/>
                    <a:gd name="T2" fmla="*/ 13 w 13"/>
                    <a:gd name="T3" fmla="*/ 11 h 11"/>
                    <a:gd name="T4" fmla="*/ 13 w 13"/>
                    <a:gd name="T5" fmla="*/ 0 h 11"/>
                    <a:gd name="T6" fmla="*/ 0 w 13"/>
                    <a:gd name="T7" fmla="*/ 0 h 11"/>
                    <a:gd name="T8" fmla="*/ 1 w 13"/>
                    <a:gd name="T9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1">
                      <a:moveTo>
                        <a:pt x="1" y="11"/>
                      </a:moveTo>
                      <a:lnTo>
                        <a:pt x="13" y="11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1" y="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40" name="Group 6">
              <a:extLst>
                <a:ext uri="{FF2B5EF4-FFF2-40B4-BE49-F238E27FC236}">
                  <a16:creationId xmlns:a16="http://schemas.microsoft.com/office/drawing/2014/main" id="{D9AE2511-CDFF-FCEA-BF78-5555DED56F32}"/>
                </a:ext>
              </a:extLst>
            </p:cNvPr>
            <p:cNvGrpSpPr/>
            <p:nvPr/>
          </p:nvGrpSpPr>
          <p:grpSpPr>
            <a:xfrm>
              <a:off x="1868421" y="3874372"/>
              <a:ext cx="2908640" cy="1223224"/>
              <a:chOff x="1868421" y="3874372"/>
              <a:chExt cx="2908640" cy="1223224"/>
            </a:xfrm>
          </p:grpSpPr>
          <p:grpSp>
            <p:nvGrpSpPr>
              <p:cNvPr id="41" name="Group 2">
                <a:extLst>
                  <a:ext uri="{FF2B5EF4-FFF2-40B4-BE49-F238E27FC236}">
                    <a16:creationId xmlns:a16="http://schemas.microsoft.com/office/drawing/2014/main" id="{04728F54-AF0F-EA1A-D586-8D7A4596C650}"/>
                  </a:ext>
                </a:extLst>
              </p:cNvPr>
              <p:cNvGrpSpPr/>
              <p:nvPr/>
            </p:nvGrpSpPr>
            <p:grpSpPr>
              <a:xfrm>
                <a:off x="1868421" y="3874372"/>
                <a:ext cx="1112318" cy="1215895"/>
                <a:chOff x="1868421" y="3874372"/>
                <a:chExt cx="1112318" cy="1215895"/>
              </a:xfrm>
            </p:grpSpPr>
            <p:sp>
              <p:nvSpPr>
                <p:cNvPr id="105" name="Freeform 177">
                  <a:extLst>
                    <a:ext uri="{FF2B5EF4-FFF2-40B4-BE49-F238E27FC236}">
                      <a16:creationId xmlns:a16="http://schemas.microsoft.com/office/drawing/2014/main" id="{329BCCCF-E304-5E62-F9E8-150E5225AAC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163948" y="4817283"/>
                  <a:ext cx="124002" cy="272984"/>
                </a:xfrm>
                <a:custGeom>
                  <a:avLst/>
                  <a:gdLst>
                    <a:gd name="T0" fmla="*/ 20 w 119"/>
                    <a:gd name="T1" fmla="*/ 0 h 262"/>
                    <a:gd name="T2" fmla="*/ 3 w 119"/>
                    <a:gd name="T3" fmla="*/ 0 h 262"/>
                    <a:gd name="T4" fmla="*/ 4 w 119"/>
                    <a:gd name="T5" fmla="*/ 6 h 262"/>
                    <a:gd name="T6" fmla="*/ 22 w 119"/>
                    <a:gd name="T7" fmla="*/ 13 h 262"/>
                    <a:gd name="T8" fmla="*/ 42 w 119"/>
                    <a:gd name="T9" fmla="*/ 23 h 262"/>
                    <a:gd name="T10" fmla="*/ 46 w 119"/>
                    <a:gd name="T11" fmla="*/ 26 h 262"/>
                    <a:gd name="T12" fmla="*/ 35 w 119"/>
                    <a:gd name="T13" fmla="*/ 28 h 262"/>
                    <a:gd name="T14" fmla="*/ 37 w 119"/>
                    <a:gd name="T15" fmla="*/ 262 h 262"/>
                    <a:gd name="T16" fmla="*/ 119 w 119"/>
                    <a:gd name="T17" fmla="*/ 262 h 262"/>
                    <a:gd name="T18" fmla="*/ 69 w 119"/>
                    <a:gd name="T19" fmla="*/ 23 h 262"/>
                    <a:gd name="T20" fmla="*/ 68 w 119"/>
                    <a:gd name="T21" fmla="*/ 23 h 262"/>
                    <a:gd name="T22" fmla="*/ 69 w 119"/>
                    <a:gd name="T23" fmla="*/ 1 h 262"/>
                    <a:gd name="T24" fmla="*/ 49 w 119"/>
                    <a:gd name="T25" fmla="*/ 1 h 262"/>
                    <a:gd name="T26" fmla="*/ 48 w 119"/>
                    <a:gd name="T27" fmla="*/ 9 h 262"/>
                    <a:gd name="T28" fmla="*/ 20 w 119"/>
                    <a:gd name="T29" fmla="*/ 0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9" h="262">
                      <a:moveTo>
                        <a:pt x="20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0" y="5"/>
                        <a:pt x="4" y="6"/>
                      </a:cubicBezTo>
                      <a:cubicBezTo>
                        <a:pt x="6" y="7"/>
                        <a:pt x="22" y="13"/>
                        <a:pt x="22" y="13"/>
                      </a:cubicBezTo>
                      <a:cubicBezTo>
                        <a:pt x="42" y="23"/>
                        <a:pt x="42" y="23"/>
                        <a:pt x="42" y="23"/>
                      </a:cubicBezTo>
                      <a:cubicBezTo>
                        <a:pt x="46" y="26"/>
                        <a:pt x="46" y="26"/>
                        <a:pt x="46" y="26"/>
                      </a:cubicBezTo>
                      <a:cubicBezTo>
                        <a:pt x="35" y="28"/>
                        <a:pt x="35" y="28"/>
                        <a:pt x="35" y="28"/>
                      </a:cubicBezTo>
                      <a:cubicBezTo>
                        <a:pt x="37" y="262"/>
                        <a:pt x="37" y="262"/>
                        <a:pt x="37" y="262"/>
                      </a:cubicBezTo>
                      <a:cubicBezTo>
                        <a:pt x="119" y="262"/>
                        <a:pt x="119" y="262"/>
                        <a:pt x="119" y="262"/>
                      </a:cubicBezTo>
                      <a:cubicBezTo>
                        <a:pt x="105" y="159"/>
                        <a:pt x="69" y="23"/>
                        <a:pt x="69" y="23"/>
                      </a:cubicBezTo>
                      <a:cubicBezTo>
                        <a:pt x="68" y="23"/>
                        <a:pt x="68" y="23"/>
                        <a:pt x="68" y="23"/>
                      </a:cubicBezTo>
                      <a:cubicBezTo>
                        <a:pt x="69" y="1"/>
                        <a:pt x="69" y="1"/>
                        <a:pt x="69" y="1"/>
                      </a:cubicBezTo>
                      <a:cubicBezTo>
                        <a:pt x="49" y="1"/>
                        <a:pt x="49" y="1"/>
                        <a:pt x="49" y="1"/>
                      </a:cubicBezTo>
                      <a:cubicBezTo>
                        <a:pt x="48" y="9"/>
                        <a:pt x="48" y="9"/>
                        <a:pt x="48" y="9"/>
                      </a:cubicBezTo>
                      <a:cubicBezTo>
                        <a:pt x="20" y="0"/>
                        <a:pt x="20" y="0"/>
                        <a:pt x="20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grpSp>
              <p:nvGrpSpPr>
                <p:cNvPr id="106" name="Group 1087">
                  <a:extLst>
                    <a:ext uri="{FF2B5EF4-FFF2-40B4-BE49-F238E27FC236}">
                      <a16:creationId xmlns:a16="http://schemas.microsoft.com/office/drawing/2014/main" id="{88A9CE28-852A-948F-3D3F-9A80B2780D0D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1868421" y="3874372"/>
                  <a:ext cx="1112318" cy="907889"/>
                  <a:chOff x="10205244" y="514350"/>
                  <a:chExt cx="1429544" cy="1166813"/>
                </a:xfrm>
              </p:grpSpPr>
              <p:sp>
                <p:nvSpPr>
                  <p:cNvPr id="107" name="Freeform 254">
                    <a:extLst>
                      <a:ext uri="{FF2B5EF4-FFF2-40B4-BE49-F238E27FC236}">
                        <a16:creationId xmlns:a16="http://schemas.microsoft.com/office/drawing/2014/main" id="{5F3CAC1B-BA7B-4186-01D5-7E186BE7E71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05244" y="950913"/>
                    <a:ext cx="88900" cy="63500"/>
                  </a:xfrm>
                  <a:custGeom>
                    <a:avLst/>
                    <a:gdLst>
                      <a:gd name="T0" fmla="*/ 47 w 48"/>
                      <a:gd name="T1" fmla="*/ 8 h 35"/>
                      <a:gd name="T2" fmla="*/ 47 w 48"/>
                      <a:gd name="T3" fmla="*/ 0 h 35"/>
                      <a:gd name="T4" fmla="*/ 16 w 48"/>
                      <a:gd name="T5" fmla="*/ 3 h 35"/>
                      <a:gd name="T6" fmla="*/ 21 w 48"/>
                      <a:gd name="T7" fmla="*/ 6 h 35"/>
                      <a:gd name="T8" fmla="*/ 29 w 48"/>
                      <a:gd name="T9" fmla="*/ 7 h 35"/>
                      <a:gd name="T10" fmla="*/ 14 w 48"/>
                      <a:gd name="T11" fmla="*/ 24 h 35"/>
                      <a:gd name="T12" fmla="*/ 2 w 48"/>
                      <a:gd name="T13" fmla="*/ 24 h 35"/>
                      <a:gd name="T14" fmla="*/ 0 w 48"/>
                      <a:gd name="T15" fmla="*/ 28 h 35"/>
                      <a:gd name="T16" fmla="*/ 15 w 48"/>
                      <a:gd name="T17" fmla="*/ 29 h 35"/>
                      <a:gd name="T18" fmla="*/ 5 w 48"/>
                      <a:gd name="T19" fmla="*/ 33 h 35"/>
                      <a:gd name="T20" fmla="*/ 6 w 48"/>
                      <a:gd name="T21" fmla="*/ 35 h 35"/>
                      <a:gd name="T22" fmla="*/ 27 w 48"/>
                      <a:gd name="T23" fmla="*/ 31 h 35"/>
                      <a:gd name="T24" fmla="*/ 31 w 48"/>
                      <a:gd name="T25" fmla="*/ 27 h 35"/>
                      <a:gd name="T26" fmla="*/ 39 w 48"/>
                      <a:gd name="T27" fmla="*/ 19 h 35"/>
                      <a:gd name="T28" fmla="*/ 44 w 48"/>
                      <a:gd name="T29" fmla="*/ 14 h 35"/>
                      <a:gd name="T30" fmla="*/ 48 w 48"/>
                      <a:gd name="T31" fmla="*/ 14 h 35"/>
                      <a:gd name="T32" fmla="*/ 47 w 48"/>
                      <a:gd name="T33" fmla="*/ 8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48" h="35">
                        <a:moveTo>
                          <a:pt x="47" y="8"/>
                        </a:moveTo>
                        <a:cubicBezTo>
                          <a:pt x="47" y="4"/>
                          <a:pt x="47" y="2"/>
                          <a:pt x="47" y="0"/>
                        </a:cubicBezTo>
                        <a:cubicBezTo>
                          <a:pt x="36" y="0"/>
                          <a:pt x="16" y="3"/>
                          <a:pt x="16" y="3"/>
                        </a:cubicBezTo>
                        <a:cubicBezTo>
                          <a:pt x="16" y="3"/>
                          <a:pt x="16" y="6"/>
                          <a:pt x="21" y="6"/>
                        </a:cubicBezTo>
                        <a:cubicBezTo>
                          <a:pt x="26" y="6"/>
                          <a:pt x="29" y="7"/>
                          <a:pt x="29" y="7"/>
                        </a:cubicBezTo>
                        <a:cubicBezTo>
                          <a:pt x="14" y="24"/>
                          <a:pt x="14" y="24"/>
                          <a:pt x="14" y="24"/>
                        </a:cubicBezTo>
                        <a:cubicBezTo>
                          <a:pt x="14" y="24"/>
                          <a:pt x="4" y="24"/>
                          <a:pt x="2" y="24"/>
                        </a:cubicBezTo>
                        <a:cubicBezTo>
                          <a:pt x="1" y="25"/>
                          <a:pt x="0" y="27"/>
                          <a:pt x="0" y="28"/>
                        </a:cubicBezTo>
                        <a:cubicBezTo>
                          <a:pt x="4" y="28"/>
                          <a:pt x="15" y="29"/>
                          <a:pt x="15" y="29"/>
                        </a:cubicBezTo>
                        <a:cubicBezTo>
                          <a:pt x="15" y="29"/>
                          <a:pt x="7" y="31"/>
                          <a:pt x="5" y="33"/>
                        </a:cubicBezTo>
                        <a:cubicBezTo>
                          <a:pt x="5" y="33"/>
                          <a:pt x="4" y="35"/>
                          <a:pt x="6" y="35"/>
                        </a:cubicBezTo>
                        <a:cubicBezTo>
                          <a:pt x="15" y="34"/>
                          <a:pt x="26" y="32"/>
                          <a:pt x="27" y="31"/>
                        </a:cubicBezTo>
                        <a:cubicBezTo>
                          <a:pt x="29" y="29"/>
                          <a:pt x="31" y="27"/>
                          <a:pt x="31" y="27"/>
                        </a:cubicBezTo>
                        <a:cubicBezTo>
                          <a:pt x="31" y="27"/>
                          <a:pt x="35" y="23"/>
                          <a:pt x="39" y="19"/>
                        </a:cubicBezTo>
                        <a:cubicBezTo>
                          <a:pt x="43" y="16"/>
                          <a:pt x="44" y="14"/>
                          <a:pt x="44" y="14"/>
                        </a:cubicBezTo>
                        <a:cubicBezTo>
                          <a:pt x="48" y="14"/>
                          <a:pt x="48" y="14"/>
                          <a:pt x="48" y="14"/>
                        </a:cubicBezTo>
                        <a:cubicBezTo>
                          <a:pt x="48" y="14"/>
                          <a:pt x="47" y="11"/>
                          <a:pt x="47" y="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8" name="Freeform 235">
                    <a:extLst>
                      <a:ext uri="{FF2B5EF4-FFF2-40B4-BE49-F238E27FC236}">
                        <a16:creationId xmlns:a16="http://schemas.microsoft.com/office/drawing/2014/main" id="{95A7173E-2397-E233-3C64-75036DF19A9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20438" y="976313"/>
                    <a:ext cx="206375" cy="155575"/>
                  </a:xfrm>
                  <a:custGeom>
                    <a:avLst/>
                    <a:gdLst>
                      <a:gd name="T0" fmla="*/ 112 w 112"/>
                      <a:gd name="T1" fmla="*/ 84 h 84"/>
                      <a:gd name="T2" fmla="*/ 30 w 112"/>
                      <a:gd name="T3" fmla="*/ 73 h 84"/>
                      <a:gd name="T4" fmla="*/ 0 w 112"/>
                      <a:gd name="T5" fmla="*/ 0 h 84"/>
                      <a:gd name="T6" fmla="*/ 68 w 112"/>
                      <a:gd name="T7" fmla="*/ 23 h 84"/>
                      <a:gd name="T8" fmla="*/ 112 w 112"/>
                      <a:gd name="T9" fmla="*/ 84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2" h="84">
                        <a:moveTo>
                          <a:pt x="112" y="84"/>
                        </a:moveTo>
                        <a:cubicBezTo>
                          <a:pt x="112" y="84"/>
                          <a:pt x="80" y="48"/>
                          <a:pt x="30" y="73"/>
                        </a:cubicBezTo>
                        <a:cubicBezTo>
                          <a:pt x="9" y="83"/>
                          <a:pt x="0" y="0"/>
                          <a:pt x="0" y="0"/>
                        </a:cubicBezTo>
                        <a:cubicBezTo>
                          <a:pt x="0" y="0"/>
                          <a:pt x="11" y="5"/>
                          <a:pt x="68" y="23"/>
                        </a:cubicBezTo>
                        <a:cubicBezTo>
                          <a:pt x="83" y="28"/>
                          <a:pt x="112" y="84"/>
                          <a:pt x="112" y="84"/>
                        </a:cubicBezTo>
                        <a:close/>
                      </a:path>
                    </a:pathLst>
                  </a:custGeom>
                  <a:solidFill>
                    <a:srgbClr val="5D819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9" name="Freeform 236">
                    <a:extLst>
                      <a:ext uri="{FF2B5EF4-FFF2-40B4-BE49-F238E27FC236}">
                        <a16:creationId xmlns:a16="http://schemas.microsoft.com/office/drawing/2014/main" id="{2C0B8759-38A1-1EF8-89A6-7DB0B52A434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555413" y="1190625"/>
                    <a:ext cx="79375" cy="52388"/>
                  </a:xfrm>
                  <a:custGeom>
                    <a:avLst/>
                    <a:gdLst>
                      <a:gd name="T0" fmla="*/ 0 w 43"/>
                      <a:gd name="T1" fmla="*/ 12 h 28"/>
                      <a:gd name="T2" fmla="*/ 7 w 43"/>
                      <a:gd name="T3" fmla="*/ 0 h 28"/>
                      <a:gd name="T4" fmla="*/ 19 w 43"/>
                      <a:gd name="T5" fmla="*/ 7 h 28"/>
                      <a:gd name="T6" fmla="*/ 16 w 43"/>
                      <a:gd name="T7" fmla="*/ 12 h 28"/>
                      <a:gd name="T8" fmla="*/ 35 w 43"/>
                      <a:gd name="T9" fmla="*/ 18 h 28"/>
                      <a:gd name="T10" fmla="*/ 43 w 43"/>
                      <a:gd name="T11" fmla="*/ 24 h 28"/>
                      <a:gd name="T12" fmla="*/ 40 w 43"/>
                      <a:gd name="T13" fmla="*/ 27 h 28"/>
                      <a:gd name="T14" fmla="*/ 29 w 43"/>
                      <a:gd name="T15" fmla="*/ 25 h 28"/>
                      <a:gd name="T16" fmla="*/ 12 w 43"/>
                      <a:gd name="T17" fmla="*/ 24 h 28"/>
                      <a:gd name="T18" fmla="*/ 0 w 43"/>
                      <a:gd name="T19" fmla="*/ 12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3" h="28">
                        <a:moveTo>
                          <a:pt x="0" y="12"/>
                        </a:move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19" y="7"/>
                          <a:pt x="19" y="7"/>
                          <a:pt x="19" y="7"/>
                        </a:cubicBezTo>
                        <a:cubicBezTo>
                          <a:pt x="16" y="12"/>
                          <a:pt x="16" y="12"/>
                          <a:pt x="16" y="12"/>
                        </a:cubicBezTo>
                        <a:cubicBezTo>
                          <a:pt x="35" y="18"/>
                          <a:pt x="35" y="18"/>
                          <a:pt x="35" y="18"/>
                        </a:cubicBezTo>
                        <a:cubicBezTo>
                          <a:pt x="43" y="24"/>
                          <a:pt x="43" y="24"/>
                          <a:pt x="43" y="24"/>
                        </a:cubicBezTo>
                        <a:cubicBezTo>
                          <a:pt x="43" y="24"/>
                          <a:pt x="43" y="28"/>
                          <a:pt x="40" y="27"/>
                        </a:cubicBezTo>
                        <a:cubicBezTo>
                          <a:pt x="39" y="27"/>
                          <a:pt x="29" y="25"/>
                          <a:pt x="29" y="25"/>
                        </a:cubicBezTo>
                        <a:cubicBezTo>
                          <a:pt x="12" y="24"/>
                          <a:pt x="12" y="24"/>
                          <a:pt x="12" y="24"/>
                        </a:cubicBez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0" name="Freeform 237">
                    <a:extLst>
                      <a:ext uri="{FF2B5EF4-FFF2-40B4-BE49-F238E27FC236}">
                        <a16:creationId xmlns:a16="http://schemas.microsoft.com/office/drawing/2014/main" id="{AC650511-C5D8-9502-FB05-72204ABB97D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049000" y="1157288"/>
                    <a:ext cx="534988" cy="444500"/>
                  </a:xfrm>
                  <a:custGeom>
                    <a:avLst/>
                    <a:gdLst>
                      <a:gd name="T0" fmla="*/ 13 w 288"/>
                      <a:gd name="T1" fmla="*/ 30 h 240"/>
                      <a:gd name="T2" fmla="*/ 97 w 288"/>
                      <a:gd name="T3" fmla="*/ 29 h 240"/>
                      <a:gd name="T4" fmla="*/ 121 w 288"/>
                      <a:gd name="T5" fmla="*/ 154 h 240"/>
                      <a:gd name="T6" fmla="*/ 269 w 288"/>
                      <a:gd name="T7" fmla="*/ 26 h 240"/>
                      <a:gd name="T8" fmla="*/ 288 w 288"/>
                      <a:gd name="T9" fmla="*/ 44 h 240"/>
                      <a:gd name="T10" fmla="*/ 145 w 288"/>
                      <a:gd name="T11" fmla="*/ 206 h 240"/>
                      <a:gd name="T12" fmla="*/ 78 w 288"/>
                      <a:gd name="T13" fmla="*/ 202 h 240"/>
                      <a:gd name="T14" fmla="*/ 0 w 288"/>
                      <a:gd name="T15" fmla="*/ 68 h 240"/>
                      <a:gd name="T16" fmla="*/ 13 w 288"/>
                      <a:gd name="T17" fmla="*/ 30 h 2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88" h="240">
                        <a:moveTo>
                          <a:pt x="13" y="30"/>
                        </a:moveTo>
                        <a:cubicBezTo>
                          <a:pt x="13" y="30"/>
                          <a:pt x="86" y="0"/>
                          <a:pt x="97" y="29"/>
                        </a:cubicBezTo>
                        <a:cubicBezTo>
                          <a:pt x="114" y="69"/>
                          <a:pt x="119" y="127"/>
                          <a:pt x="121" y="154"/>
                        </a:cubicBezTo>
                        <a:cubicBezTo>
                          <a:pt x="269" y="26"/>
                          <a:pt x="269" y="26"/>
                          <a:pt x="269" y="26"/>
                        </a:cubicBezTo>
                        <a:cubicBezTo>
                          <a:pt x="288" y="44"/>
                          <a:pt x="288" y="44"/>
                          <a:pt x="288" y="44"/>
                        </a:cubicBezTo>
                        <a:cubicBezTo>
                          <a:pt x="288" y="44"/>
                          <a:pt x="154" y="192"/>
                          <a:pt x="145" y="206"/>
                        </a:cubicBezTo>
                        <a:cubicBezTo>
                          <a:pt x="135" y="220"/>
                          <a:pt x="102" y="240"/>
                          <a:pt x="78" y="202"/>
                        </a:cubicBezTo>
                        <a:cubicBezTo>
                          <a:pt x="55" y="163"/>
                          <a:pt x="14" y="93"/>
                          <a:pt x="0" y="68"/>
                        </a:cubicBezTo>
                        <a:cubicBezTo>
                          <a:pt x="107" y="63"/>
                          <a:pt x="13" y="30"/>
                          <a:pt x="13" y="3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1" name="Freeform 238">
                    <a:extLst>
                      <a:ext uri="{FF2B5EF4-FFF2-40B4-BE49-F238E27FC236}">
                        <a16:creationId xmlns:a16="http://schemas.microsoft.com/office/drawing/2014/main" id="{7116B661-D8BA-5AA6-73BC-4FB0B1BBC57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50513" y="677863"/>
                    <a:ext cx="373063" cy="328613"/>
                  </a:xfrm>
                  <a:custGeom>
                    <a:avLst/>
                    <a:gdLst>
                      <a:gd name="T0" fmla="*/ 179 w 201"/>
                      <a:gd name="T1" fmla="*/ 0 h 177"/>
                      <a:gd name="T2" fmla="*/ 134 w 201"/>
                      <a:gd name="T3" fmla="*/ 67 h 177"/>
                      <a:gd name="T4" fmla="*/ 99 w 201"/>
                      <a:gd name="T5" fmla="*/ 122 h 177"/>
                      <a:gd name="T6" fmla="*/ 9 w 201"/>
                      <a:gd name="T7" fmla="*/ 39 h 177"/>
                      <a:gd name="T8" fmla="*/ 0 w 201"/>
                      <a:gd name="T9" fmla="*/ 48 h 177"/>
                      <a:gd name="T10" fmla="*/ 65 w 201"/>
                      <a:gd name="T11" fmla="*/ 141 h 177"/>
                      <a:gd name="T12" fmla="*/ 116 w 201"/>
                      <a:gd name="T13" fmla="*/ 177 h 177"/>
                      <a:gd name="T14" fmla="*/ 201 w 201"/>
                      <a:gd name="T15" fmla="*/ 87 h 177"/>
                      <a:gd name="T16" fmla="*/ 179 w 201"/>
                      <a:gd name="T17" fmla="*/ 0 h 1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1" h="177">
                        <a:moveTo>
                          <a:pt x="179" y="0"/>
                        </a:moveTo>
                        <a:cubicBezTo>
                          <a:pt x="179" y="0"/>
                          <a:pt x="155" y="11"/>
                          <a:pt x="134" y="67"/>
                        </a:cubicBezTo>
                        <a:cubicBezTo>
                          <a:pt x="121" y="98"/>
                          <a:pt x="99" y="122"/>
                          <a:pt x="99" y="122"/>
                        </a:cubicBezTo>
                        <a:cubicBezTo>
                          <a:pt x="9" y="39"/>
                          <a:pt x="9" y="39"/>
                          <a:pt x="9" y="39"/>
                        </a:cubicBezTo>
                        <a:cubicBezTo>
                          <a:pt x="0" y="48"/>
                          <a:pt x="0" y="48"/>
                          <a:pt x="0" y="48"/>
                        </a:cubicBezTo>
                        <a:cubicBezTo>
                          <a:pt x="0" y="48"/>
                          <a:pt x="41" y="108"/>
                          <a:pt x="65" y="141"/>
                        </a:cubicBezTo>
                        <a:cubicBezTo>
                          <a:pt x="86" y="172"/>
                          <a:pt x="116" y="177"/>
                          <a:pt x="116" y="177"/>
                        </a:cubicBezTo>
                        <a:cubicBezTo>
                          <a:pt x="201" y="87"/>
                          <a:pt x="201" y="87"/>
                          <a:pt x="201" y="87"/>
                        </a:cubicBezTo>
                        <a:lnTo>
                          <a:pt x="179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2" name="Freeform 239">
                    <a:extLst>
                      <a:ext uri="{FF2B5EF4-FFF2-40B4-BE49-F238E27FC236}">
                        <a16:creationId xmlns:a16="http://schemas.microsoft.com/office/drawing/2014/main" id="{A5B3BF3D-3B42-6A62-B353-181F2F7BBC3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7525" y="700088"/>
                    <a:ext cx="284163" cy="404813"/>
                  </a:xfrm>
                  <a:custGeom>
                    <a:avLst/>
                    <a:gdLst>
                      <a:gd name="T0" fmla="*/ 154 w 154"/>
                      <a:gd name="T1" fmla="*/ 219 h 219"/>
                      <a:gd name="T2" fmla="*/ 32 w 154"/>
                      <a:gd name="T3" fmla="*/ 117 h 219"/>
                      <a:gd name="T4" fmla="*/ 43 w 154"/>
                      <a:gd name="T5" fmla="*/ 0 h 219"/>
                      <a:gd name="T6" fmla="*/ 154 w 154"/>
                      <a:gd name="T7" fmla="*/ 219 h 2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54" h="219">
                        <a:moveTo>
                          <a:pt x="154" y="219"/>
                        </a:moveTo>
                        <a:cubicBezTo>
                          <a:pt x="154" y="219"/>
                          <a:pt x="59" y="173"/>
                          <a:pt x="32" y="117"/>
                        </a:cubicBezTo>
                        <a:cubicBezTo>
                          <a:pt x="0" y="47"/>
                          <a:pt x="43" y="0"/>
                          <a:pt x="43" y="0"/>
                        </a:cubicBezTo>
                        <a:cubicBezTo>
                          <a:pt x="154" y="219"/>
                          <a:pt x="154" y="219"/>
                          <a:pt x="154" y="219"/>
                        </a:cubicBezTo>
                      </a:path>
                    </a:pathLst>
                  </a:custGeom>
                  <a:solidFill>
                    <a:srgbClr val="9FCDD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3" name="Freeform 240">
                    <a:extLst>
                      <a:ext uri="{FF2B5EF4-FFF2-40B4-BE49-F238E27FC236}">
                        <a16:creationId xmlns:a16="http://schemas.microsoft.com/office/drawing/2014/main" id="{012F739F-7902-51C5-5A5E-2F8A7A5531F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18800" y="666750"/>
                    <a:ext cx="525463" cy="481013"/>
                  </a:xfrm>
                  <a:custGeom>
                    <a:avLst/>
                    <a:gdLst>
                      <a:gd name="T0" fmla="*/ 135 w 283"/>
                      <a:gd name="T1" fmla="*/ 260 h 260"/>
                      <a:gd name="T2" fmla="*/ 32 w 283"/>
                      <a:gd name="T3" fmla="*/ 116 h 260"/>
                      <a:gd name="T4" fmla="*/ 13 w 283"/>
                      <a:gd name="T5" fmla="*/ 25 h 260"/>
                      <a:gd name="T6" fmla="*/ 45 w 283"/>
                      <a:gd name="T7" fmla="*/ 0 h 260"/>
                      <a:gd name="T8" fmla="*/ 174 w 283"/>
                      <a:gd name="T9" fmla="*/ 74 h 260"/>
                      <a:gd name="T10" fmla="*/ 283 w 283"/>
                      <a:gd name="T11" fmla="*/ 245 h 260"/>
                      <a:gd name="T12" fmla="*/ 135 w 283"/>
                      <a:gd name="T13" fmla="*/ 26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3" h="260">
                        <a:moveTo>
                          <a:pt x="135" y="260"/>
                        </a:moveTo>
                        <a:cubicBezTo>
                          <a:pt x="135" y="260"/>
                          <a:pt x="85" y="180"/>
                          <a:pt x="32" y="116"/>
                        </a:cubicBezTo>
                        <a:cubicBezTo>
                          <a:pt x="0" y="76"/>
                          <a:pt x="13" y="25"/>
                          <a:pt x="13" y="25"/>
                        </a:cubicBezTo>
                        <a:cubicBezTo>
                          <a:pt x="13" y="25"/>
                          <a:pt x="30" y="1"/>
                          <a:pt x="45" y="0"/>
                        </a:cubicBezTo>
                        <a:cubicBezTo>
                          <a:pt x="71" y="7"/>
                          <a:pt x="133" y="22"/>
                          <a:pt x="174" y="74"/>
                        </a:cubicBezTo>
                        <a:cubicBezTo>
                          <a:pt x="232" y="148"/>
                          <a:pt x="283" y="245"/>
                          <a:pt x="283" y="245"/>
                        </a:cubicBezTo>
                        <a:cubicBezTo>
                          <a:pt x="135" y="260"/>
                          <a:pt x="135" y="260"/>
                          <a:pt x="135" y="260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4" name="Freeform 241">
                    <a:extLst>
                      <a:ext uri="{FF2B5EF4-FFF2-40B4-BE49-F238E27FC236}">
                        <a16:creationId xmlns:a16="http://schemas.microsoft.com/office/drawing/2014/main" id="{C2B531FD-B3CD-8246-2DCB-46B80A023DA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01350" y="911225"/>
                    <a:ext cx="23813" cy="30163"/>
                  </a:xfrm>
                  <a:custGeom>
                    <a:avLst/>
                    <a:gdLst>
                      <a:gd name="T0" fmla="*/ 0 w 13"/>
                      <a:gd name="T1" fmla="*/ 0 h 16"/>
                      <a:gd name="T2" fmla="*/ 13 w 13"/>
                      <a:gd name="T3" fmla="*/ 16 h 16"/>
                      <a:gd name="T4" fmla="*/ 6 w 13"/>
                      <a:gd name="T5" fmla="*/ 5 h 16"/>
                      <a:gd name="T6" fmla="*/ 0 w 13"/>
                      <a:gd name="T7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3" h="16">
                        <a:moveTo>
                          <a:pt x="0" y="0"/>
                        </a:moveTo>
                        <a:cubicBezTo>
                          <a:pt x="0" y="0"/>
                          <a:pt x="5" y="7"/>
                          <a:pt x="13" y="16"/>
                        </a:cubicBezTo>
                        <a:cubicBezTo>
                          <a:pt x="11" y="12"/>
                          <a:pt x="8" y="9"/>
                          <a:pt x="6" y="5"/>
                        </a:cubicBezTo>
                        <a:cubicBezTo>
                          <a:pt x="2" y="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5" name="Freeform 242">
                    <a:extLst>
                      <a:ext uri="{FF2B5EF4-FFF2-40B4-BE49-F238E27FC236}">
                        <a16:creationId xmlns:a16="http://schemas.microsoft.com/office/drawing/2014/main" id="{49BD41A3-41F8-716F-94D8-9C0C20BC817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2463" y="920750"/>
                    <a:ext cx="252413" cy="200025"/>
                  </a:xfrm>
                  <a:custGeom>
                    <a:avLst/>
                    <a:gdLst>
                      <a:gd name="T0" fmla="*/ 0 w 136"/>
                      <a:gd name="T1" fmla="*/ 0 h 108"/>
                      <a:gd name="T2" fmla="*/ 7 w 136"/>
                      <a:gd name="T3" fmla="*/ 11 h 108"/>
                      <a:gd name="T4" fmla="*/ 63 w 136"/>
                      <a:gd name="T5" fmla="*/ 48 h 108"/>
                      <a:gd name="T6" fmla="*/ 124 w 136"/>
                      <a:gd name="T7" fmla="*/ 107 h 108"/>
                      <a:gd name="T8" fmla="*/ 136 w 136"/>
                      <a:gd name="T9" fmla="*/ 108 h 108"/>
                      <a:gd name="T10" fmla="*/ 62 w 136"/>
                      <a:gd name="T11" fmla="*/ 43 h 108"/>
                      <a:gd name="T12" fmla="*/ 0 w 136"/>
                      <a:gd name="T13" fmla="*/ 0 h 1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36" h="108">
                        <a:moveTo>
                          <a:pt x="0" y="0"/>
                        </a:moveTo>
                        <a:cubicBezTo>
                          <a:pt x="2" y="4"/>
                          <a:pt x="5" y="7"/>
                          <a:pt x="7" y="11"/>
                        </a:cubicBezTo>
                        <a:cubicBezTo>
                          <a:pt x="20" y="24"/>
                          <a:pt x="40" y="41"/>
                          <a:pt x="63" y="48"/>
                        </a:cubicBezTo>
                        <a:cubicBezTo>
                          <a:pt x="97" y="58"/>
                          <a:pt x="124" y="107"/>
                          <a:pt x="124" y="107"/>
                        </a:cubicBezTo>
                        <a:cubicBezTo>
                          <a:pt x="136" y="108"/>
                          <a:pt x="136" y="108"/>
                          <a:pt x="136" y="108"/>
                        </a:cubicBezTo>
                        <a:cubicBezTo>
                          <a:pt x="136" y="108"/>
                          <a:pt x="100" y="63"/>
                          <a:pt x="62" y="43"/>
                        </a:cubicBezTo>
                        <a:cubicBezTo>
                          <a:pt x="33" y="29"/>
                          <a:pt x="10" y="1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6" name="Freeform 243">
                    <a:extLst>
                      <a:ext uri="{FF2B5EF4-FFF2-40B4-BE49-F238E27FC236}">
                        <a16:creationId xmlns:a16="http://schemas.microsoft.com/office/drawing/2014/main" id="{C4968C08-00EE-7747-350D-B98B646C482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9438" y="730250"/>
                    <a:ext cx="211138" cy="368300"/>
                  </a:xfrm>
                  <a:custGeom>
                    <a:avLst/>
                    <a:gdLst>
                      <a:gd name="T0" fmla="*/ 5 w 114"/>
                      <a:gd name="T1" fmla="*/ 0 h 199"/>
                      <a:gd name="T2" fmla="*/ 2 w 114"/>
                      <a:gd name="T3" fmla="*/ 9 h 199"/>
                      <a:gd name="T4" fmla="*/ 8 w 114"/>
                      <a:gd name="T5" fmla="*/ 18 h 199"/>
                      <a:gd name="T6" fmla="*/ 17 w 114"/>
                      <a:gd name="T7" fmla="*/ 94 h 199"/>
                      <a:gd name="T8" fmla="*/ 83 w 114"/>
                      <a:gd name="T9" fmla="*/ 194 h 199"/>
                      <a:gd name="T10" fmla="*/ 114 w 114"/>
                      <a:gd name="T11" fmla="*/ 199 h 199"/>
                      <a:gd name="T12" fmla="*/ 111 w 114"/>
                      <a:gd name="T13" fmla="*/ 166 h 199"/>
                      <a:gd name="T14" fmla="*/ 33 w 114"/>
                      <a:gd name="T15" fmla="*/ 84 h 199"/>
                      <a:gd name="T16" fmla="*/ 14 w 114"/>
                      <a:gd name="T17" fmla="*/ 17 h 199"/>
                      <a:gd name="T18" fmla="*/ 17 w 114"/>
                      <a:gd name="T19" fmla="*/ 7 h 199"/>
                      <a:gd name="T20" fmla="*/ 5 w 114"/>
                      <a:gd name="T21" fmla="*/ 0 h 1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14" h="199">
                        <a:moveTo>
                          <a:pt x="5" y="0"/>
                        </a:moveTo>
                        <a:cubicBezTo>
                          <a:pt x="5" y="0"/>
                          <a:pt x="2" y="4"/>
                          <a:pt x="2" y="9"/>
                        </a:cubicBezTo>
                        <a:cubicBezTo>
                          <a:pt x="3" y="14"/>
                          <a:pt x="8" y="18"/>
                          <a:pt x="8" y="18"/>
                        </a:cubicBezTo>
                        <a:cubicBezTo>
                          <a:pt x="8" y="18"/>
                          <a:pt x="0" y="55"/>
                          <a:pt x="17" y="94"/>
                        </a:cubicBezTo>
                        <a:cubicBezTo>
                          <a:pt x="43" y="154"/>
                          <a:pt x="83" y="194"/>
                          <a:pt x="83" y="194"/>
                        </a:cubicBezTo>
                        <a:cubicBezTo>
                          <a:pt x="114" y="199"/>
                          <a:pt x="114" y="199"/>
                          <a:pt x="114" y="199"/>
                        </a:cubicBezTo>
                        <a:cubicBezTo>
                          <a:pt x="111" y="166"/>
                          <a:pt x="111" y="166"/>
                          <a:pt x="111" y="166"/>
                        </a:cubicBezTo>
                        <a:cubicBezTo>
                          <a:pt x="111" y="166"/>
                          <a:pt x="65" y="139"/>
                          <a:pt x="33" y="84"/>
                        </a:cubicBezTo>
                        <a:cubicBezTo>
                          <a:pt x="11" y="46"/>
                          <a:pt x="14" y="17"/>
                          <a:pt x="14" y="17"/>
                        </a:cubicBezTo>
                        <a:cubicBezTo>
                          <a:pt x="14" y="17"/>
                          <a:pt x="15" y="12"/>
                          <a:pt x="17" y="7"/>
                        </a:cubicBezTo>
                        <a:cubicBezTo>
                          <a:pt x="9" y="4"/>
                          <a:pt x="5" y="0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7" name="Freeform 244">
                    <a:extLst>
                      <a:ext uri="{FF2B5EF4-FFF2-40B4-BE49-F238E27FC236}">
                        <a16:creationId xmlns:a16="http://schemas.microsoft.com/office/drawing/2014/main" id="{039BDC1B-42CF-F289-453B-D36110B579B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80700" y="617538"/>
                    <a:ext cx="131763" cy="107950"/>
                  </a:xfrm>
                  <a:custGeom>
                    <a:avLst/>
                    <a:gdLst>
                      <a:gd name="T0" fmla="*/ 70 w 71"/>
                      <a:gd name="T1" fmla="*/ 28 h 59"/>
                      <a:gd name="T2" fmla="*/ 71 w 71"/>
                      <a:gd name="T3" fmla="*/ 24 h 59"/>
                      <a:gd name="T4" fmla="*/ 62 w 71"/>
                      <a:gd name="T5" fmla="*/ 0 h 59"/>
                      <a:gd name="T6" fmla="*/ 42 w 71"/>
                      <a:gd name="T7" fmla="*/ 17 h 59"/>
                      <a:gd name="T8" fmla="*/ 21 w 71"/>
                      <a:gd name="T9" fmla="*/ 23 h 59"/>
                      <a:gd name="T10" fmla="*/ 0 w 71"/>
                      <a:gd name="T11" fmla="*/ 11 h 59"/>
                      <a:gd name="T12" fmla="*/ 36 w 71"/>
                      <a:gd name="T13" fmla="*/ 59 h 59"/>
                      <a:gd name="T14" fmla="*/ 70 w 71"/>
                      <a:gd name="T15" fmla="*/ 28 h 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1" h="59">
                        <a:moveTo>
                          <a:pt x="70" y="28"/>
                        </a:moveTo>
                        <a:cubicBezTo>
                          <a:pt x="69" y="26"/>
                          <a:pt x="71" y="24"/>
                          <a:pt x="71" y="24"/>
                        </a:cubicBezTo>
                        <a:cubicBezTo>
                          <a:pt x="62" y="0"/>
                          <a:pt x="62" y="0"/>
                          <a:pt x="62" y="0"/>
                        </a:cubicBezTo>
                        <a:cubicBezTo>
                          <a:pt x="62" y="0"/>
                          <a:pt x="48" y="10"/>
                          <a:pt x="42" y="17"/>
                        </a:cubicBezTo>
                        <a:cubicBezTo>
                          <a:pt x="36" y="24"/>
                          <a:pt x="25" y="24"/>
                          <a:pt x="21" y="23"/>
                        </a:cubicBezTo>
                        <a:cubicBezTo>
                          <a:pt x="13" y="19"/>
                          <a:pt x="0" y="11"/>
                          <a:pt x="0" y="11"/>
                        </a:cubicBezTo>
                        <a:cubicBezTo>
                          <a:pt x="0" y="11"/>
                          <a:pt x="24" y="28"/>
                          <a:pt x="36" y="59"/>
                        </a:cubicBezTo>
                        <a:cubicBezTo>
                          <a:pt x="60" y="44"/>
                          <a:pt x="67" y="33"/>
                          <a:pt x="70" y="2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8" name="Freeform 245">
                    <a:extLst>
                      <a:ext uri="{FF2B5EF4-FFF2-40B4-BE49-F238E27FC236}">
                        <a16:creationId xmlns:a16="http://schemas.microsoft.com/office/drawing/2014/main" id="{A9BFFF25-0BEE-E2C2-63BE-F22BD959002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9113" y="541338"/>
                    <a:ext cx="138113" cy="127000"/>
                  </a:xfrm>
                  <a:custGeom>
                    <a:avLst/>
                    <a:gdLst>
                      <a:gd name="T0" fmla="*/ 1 w 75"/>
                      <a:gd name="T1" fmla="*/ 52 h 69"/>
                      <a:gd name="T2" fmla="*/ 25 w 75"/>
                      <a:gd name="T3" fmla="*/ 65 h 69"/>
                      <a:gd name="T4" fmla="*/ 39 w 75"/>
                      <a:gd name="T5" fmla="*/ 62 h 69"/>
                      <a:gd name="T6" fmla="*/ 52 w 75"/>
                      <a:gd name="T7" fmla="*/ 51 h 69"/>
                      <a:gd name="T8" fmla="*/ 60 w 75"/>
                      <a:gd name="T9" fmla="*/ 50 h 69"/>
                      <a:gd name="T10" fmla="*/ 62 w 75"/>
                      <a:gd name="T11" fmla="*/ 39 h 69"/>
                      <a:gd name="T12" fmla="*/ 75 w 75"/>
                      <a:gd name="T13" fmla="*/ 12 h 69"/>
                      <a:gd name="T14" fmla="*/ 65 w 75"/>
                      <a:gd name="T15" fmla="*/ 1 h 69"/>
                      <a:gd name="T16" fmla="*/ 50 w 75"/>
                      <a:gd name="T17" fmla="*/ 0 h 69"/>
                      <a:gd name="T18" fmla="*/ 12 w 75"/>
                      <a:gd name="T19" fmla="*/ 20 h 69"/>
                      <a:gd name="T20" fmla="*/ 13 w 75"/>
                      <a:gd name="T21" fmla="*/ 23 h 69"/>
                      <a:gd name="T22" fmla="*/ 18 w 75"/>
                      <a:gd name="T23" fmla="*/ 27 h 69"/>
                      <a:gd name="T24" fmla="*/ 1 w 75"/>
                      <a:gd name="T25" fmla="*/ 51 h 69"/>
                      <a:gd name="T26" fmla="*/ 1 w 75"/>
                      <a:gd name="T27" fmla="*/ 52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75" h="69">
                        <a:moveTo>
                          <a:pt x="1" y="52"/>
                        </a:moveTo>
                        <a:cubicBezTo>
                          <a:pt x="7" y="56"/>
                          <a:pt x="19" y="63"/>
                          <a:pt x="25" y="65"/>
                        </a:cubicBezTo>
                        <a:cubicBezTo>
                          <a:pt x="33" y="69"/>
                          <a:pt x="39" y="62"/>
                          <a:pt x="39" y="62"/>
                        </a:cubicBezTo>
                        <a:cubicBezTo>
                          <a:pt x="52" y="51"/>
                          <a:pt x="52" y="51"/>
                          <a:pt x="52" y="51"/>
                        </a:cubicBezTo>
                        <a:cubicBezTo>
                          <a:pt x="52" y="51"/>
                          <a:pt x="56" y="51"/>
                          <a:pt x="60" y="50"/>
                        </a:cubicBezTo>
                        <a:cubicBezTo>
                          <a:pt x="62" y="49"/>
                          <a:pt x="66" y="45"/>
                          <a:pt x="62" y="39"/>
                        </a:cubicBezTo>
                        <a:cubicBezTo>
                          <a:pt x="54" y="30"/>
                          <a:pt x="75" y="12"/>
                          <a:pt x="75" y="12"/>
                        </a:cubicBezTo>
                        <a:cubicBezTo>
                          <a:pt x="65" y="1"/>
                          <a:pt x="65" y="1"/>
                          <a:pt x="65" y="1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12" y="20"/>
                          <a:pt x="12" y="20"/>
                          <a:pt x="12" y="20"/>
                        </a:cubicBezTo>
                        <a:cubicBezTo>
                          <a:pt x="12" y="20"/>
                          <a:pt x="11" y="22"/>
                          <a:pt x="13" y="23"/>
                        </a:cubicBezTo>
                        <a:cubicBezTo>
                          <a:pt x="15" y="25"/>
                          <a:pt x="18" y="27"/>
                          <a:pt x="18" y="27"/>
                        </a:cubicBezTo>
                        <a:cubicBezTo>
                          <a:pt x="18" y="27"/>
                          <a:pt x="2" y="50"/>
                          <a:pt x="1" y="51"/>
                        </a:cubicBezTo>
                        <a:cubicBezTo>
                          <a:pt x="0" y="52"/>
                          <a:pt x="1" y="52"/>
                          <a:pt x="1" y="52"/>
                        </a:cubicBezTo>
                        <a:close/>
                      </a:path>
                    </a:pathLst>
                  </a:custGeom>
                  <a:solidFill>
                    <a:srgbClr val="E9F6F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9" name="Freeform 246">
                    <a:extLst>
                      <a:ext uri="{FF2B5EF4-FFF2-40B4-BE49-F238E27FC236}">
                        <a16:creationId xmlns:a16="http://schemas.microsoft.com/office/drawing/2014/main" id="{C1AFC7FE-B2B3-4847-A7F2-B09A7DFAEA2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6263" y="563563"/>
                    <a:ext cx="19050" cy="22225"/>
                  </a:xfrm>
                  <a:custGeom>
                    <a:avLst/>
                    <a:gdLst>
                      <a:gd name="T0" fmla="*/ 1 w 10"/>
                      <a:gd name="T1" fmla="*/ 4 h 12"/>
                      <a:gd name="T2" fmla="*/ 2 w 10"/>
                      <a:gd name="T3" fmla="*/ 7 h 12"/>
                      <a:gd name="T4" fmla="*/ 9 w 10"/>
                      <a:gd name="T5" fmla="*/ 11 h 12"/>
                      <a:gd name="T6" fmla="*/ 4 w 10"/>
                      <a:gd name="T7" fmla="*/ 2 h 12"/>
                      <a:gd name="T8" fmla="*/ 1 w 10"/>
                      <a:gd name="T9" fmla="*/ 4 h 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" h="12">
                        <a:moveTo>
                          <a:pt x="1" y="4"/>
                        </a:moveTo>
                        <a:cubicBezTo>
                          <a:pt x="0" y="6"/>
                          <a:pt x="1" y="6"/>
                          <a:pt x="2" y="7"/>
                        </a:cubicBezTo>
                        <a:cubicBezTo>
                          <a:pt x="4" y="8"/>
                          <a:pt x="10" y="12"/>
                          <a:pt x="9" y="11"/>
                        </a:cubicBezTo>
                        <a:cubicBezTo>
                          <a:pt x="9" y="10"/>
                          <a:pt x="7" y="7"/>
                          <a:pt x="4" y="2"/>
                        </a:cubicBezTo>
                        <a:cubicBezTo>
                          <a:pt x="3" y="0"/>
                          <a:pt x="2" y="2"/>
                          <a:pt x="1" y="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0" name="Freeform 247">
                    <a:extLst>
                      <a:ext uri="{FF2B5EF4-FFF2-40B4-BE49-F238E27FC236}">
                        <a16:creationId xmlns:a16="http://schemas.microsoft.com/office/drawing/2014/main" id="{093373DB-D77C-23E8-D1CF-50624927066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514350"/>
                    <a:ext cx="103188" cy="147638"/>
                  </a:xfrm>
                  <a:custGeom>
                    <a:avLst/>
                    <a:gdLst>
                      <a:gd name="T0" fmla="*/ 56 w 56"/>
                      <a:gd name="T1" fmla="*/ 44 h 79"/>
                      <a:gd name="T2" fmla="*/ 15 w 56"/>
                      <a:gd name="T3" fmla="*/ 6 h 79"/>
                      <a:gd name="T4" fmla="*/ 12 w 56"/>
                      <a:gd name="T5" fmla="*/ 14 h 79"/>
                      <a:gd name="T6" fmla="*/ 26 w 56"/>
                      <a:gd name="T7" fmla="*/ 30 h 79"/>
                      <a:gd name="T8" fmla="*/ 8 w 56"/>
                      <a:gd name="T9" fmla="*/ 55 h 79"/>
                      <a:gd name="T10" fmla="*/ 25 w 56"/>
                      <a:gd name="T11" fmla="*/ 55 h 79"/>
                      <a:gd name="T12" fmla="*/ 34 w 56"/>
                      <a:gd name="T13" fmla="*/ 79 h 79"/>
                      <a:gd name="T14" fmla="*/ 56 w 56"/>
                      <a:gd name="T15" fmla="*/ 44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6" h="79">
                        <a:moveTo>
                          <a:pt x="56" y="44"/>
                        </a:moveTo>
                        <a:cubicBezTo>
                          <a:pt x="35" y="8"/>
                          <a:pt x="23" y="0"/>
                          <a:pt x="15" y="6"/>
                        </a:cubicBezTo>
                        <a:cubicBezTo>
                          <a:pt x="13" y="7"/>
                          <a:pt x="11" y="11"/>
                          <a:pt x="12" y="14"/>
                        </a:cubicBezTo>
                        <a:cubicBezTo>
                          <a:pt x="23" y="19"/>
                          <a:pt x="33" y="25"/>
                          <a:pt x="26" y="30"/>
                        </a:cubicBezTo>
                        <a:cubicBezTo>
                          <a:pt x="24" y="32"/>
                          <a:pt x="0" y="50"/>
                          <a:pt x="8" y="55"/>
                        </a:cubicBezTo>
                        <a:cubicBezTo>
                          <a:pt x="12" y="53"/>
                          <a:pt x="21" y="48"/>
                          <a:pt x="25" y="55"/>
                        </a:cubicBezTo>
                        <a:cubicBezTo>
                          <a:pt x="28" y="60"/>
                          <a:pt x="19" y="66"/>
                          <a:pt x="34" y="79"/>
                        </a:cubicBezTo>
                        <a:cubicBezTo>
                          <a:pt x="43" y="66"/>
                          <a:pt x="55" y="51"/>
                          <a:pt x="56" y="4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1" name="Freeform 248">
                    <a:extLst>
                      <a:ext uri="{FF2B5EF4-FFF2-40B4-BE49-F238E27FC236}">
                        <a16:creationId xmlns:a16="http://schemas.microsoft.com/office/drawing/2014/main" id="{22FDF80E-809C-20EA-3209-0F8DB787BE0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87038" y="1652588"/>
                    <a:ext cx="85725" cy="28575"/>
                  </a:xfrm>
                  <a:custGeom>
                    <a:avLst/>
                    <a:gdLst>
                      <a:gd name="T0" fmla="*/ 46 w 46"/>
                      <a:gd name="T1" fmla="*/ 0 h 16"/>
                      <a:gd name="T2" fmla="*/ 46 w 46"/>
                      <a:gd name="T3" fmla="*/ 15 h 16"/>
                      <a:gd name="T4" fmla="*/ 33 w 46"/>
                      <a:gd name="T5" fmla="*/ 15 h 16"/>
                      <a:gd name="T6" fmla="*/ 32 w 46"/>
                      <a:gd name="T7" fmla="*/ 10 h 16"/>
                      <a:gd name="T8" fmla="*/ 14 w 46"/>
                      <a:gd name="T9" fmla="*/ 16 h 16"/>
                      <a:gd name="T10" fmla="*/ 2 w 46"/>
                      <a:gd name="T11" fmla="*/ 15 h 16"/>
                      <a:gd name="T12" fmla="*/ 3 w 46"/>
                      <a:gd name="T13" fmla="*/ 11 h 16"/>
                      <a:gd name="T14" fmla="*/ 15 w 46"/>
                      <a:gd name="T15" fmla="*/ 7 h 16"/>
                      <a:gd name="T16" fmla="*/ 28 w 46"/>
                      <a:gd name="T17" fmla="*/ 0 h 16"/>
                      <a:gd name="T18" fmla="*/ 46 w 46"/>
                      <a:gd name="T19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6" h="16">
                        <a:moveTo>
                          <a:pt x="46" y="0"/>
                        </a:moveTo>
                        <a:cubicBezTo>
                          <a:pt x="46" y="15"/>
                          <a:pt x="46" y="15"/>
                          <a:pt x="46" y="15"/>
                        </a:cubicBezTo>
                        <a:cubicBezTo>
                          <a:pt x="33" y="15"/>
                          <a:pt x="33" y="15"/>
                          <a:pt x="33" y="15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14" y="16"/>
                          <a:pt x="14" y="16"/>
                          <a:pt x="14" y="16"/>
                        </a:cubicBezTo>
                        <a:cubicBezTo>
                          <a:pt x="2" y="15"/>
                          <a:pt x="2" y="15"/>
                          <a:pt x="2" y="15"/>
                        </a:cubicBezTo>
                        <a:cubicBezTo>
                          <a:pt x="2" y="15"/>
                          <a:pt x="0" y="12"/>
                          <a:pt x="3" y="11"/>
                        </a:cubicBezTo>
                        <a:cubicBezTo>
                          <a:pt x="4" y="11"/>
                          <a:pt x="15" y="7"/>
                          <a:pt x="15" y="7"/>
                        </a:cubicBezTo>
                        <a:cubicBezTo>
                          <a:pt x="28" y="0"/>
                          <a:pt x="28" y="0"/>
                          <a:pt x="28" y="0"/>
                        </a:cubicBez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2" name="Freeform 249">
                    <a:extLst>
                      <a:ext uri="{FF2B5EF4-FFF2-40B4-BE49-F238E27FC236}">
                        <a16:creationId xmlns:a16="http://schemas.microsoft.com/office/drawing/2014/main" id="{46E51B16-C5F7-0EC5-531E-84C012E9DE9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31488" y="1119188"/>
                    <a:ext cx="693738" cy="533400"/>
                  </a:xfrm>
                  <a:custGeom>
                    <a:avLst/>
                    <a:gdLst>
                      <a:gd name="T0" fmla="*/ 0 w 374"/>
                      <a:gd name="T1" fmla="*/ 285 h 288"/>
                      <a:gd name="T2" fmla="*/ 1 w 374"/>
                      <a:gd name="T3" fmla="*/ 52 h 288"/>
                      <a:gd name="T4" fmla="*/ 50 w 374"/>
                      <a:gd name="T5" fmla="*/ 0 h 288"/>
                      <a:gd name="T6" fmla="*/ 330 w 374"/>
                      <a:gd name="T7" fmla="*/ 1 h 288"/>
                      <a:gd name="T8" fmla="*/ 207 w 374"/>
                      <a:gd name="T9" fmla="*/ 81 h 288"/>
                      <a:gd name="T10" fmla="*/ 56 w 374"/>
                      <a:gd name="T11" fmla="*/ 59 h 288"/>
                      <a:gd name="T12" fmla="*/ 22 w 374"/>
                      <a:gd name="T13" fmla="*/ 288 h 288"/>
                      <a:gd name="T14" fmla="*/ 0 w 374"/>
                      <a:gd name="T15" fmla="*/ 285 h 2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74" h="288">
                        <a:moveTo>
                          <a:pt x="0" y="285"/>
                        </a:moveTo>
                        <a:cubicBezTo>
                          <a:pt x="1" y="52"/>
                          <a:pt x="1" y="52"/>
                          <a:pt x="1" y="52"/>
                        </a:cubicBezTo>
                        <a:cubicBezTo>
                          <a:pt x="0" y="11"/>
                          <a:pt x="39" y="0"/>
                          <a:pt x="50" y="0"/>
                        </a:cubicBezTo>
                        <a:cubicBezTo>
                          <a:pt x="61" y="0"/>
                          <a:pt x="330" y="1"/>
                          <a:pt x="330" y="1"/>
                        </a:cubicBezTo>
                        <a:cubicBezTo>
                          <a:pt x="330" y="1"/>
                          <a:pt x="374" y="98"/>
                          <a:pt x="207" y="81"/>
                        </a:cubicBezTo>
                        <a:cubicBezTo>
                          <a:pt x="166" y="77"/>
                          <a:pt x="165" y="71"/>
                          <a:pt x="56" y="59"/>
                        </a:cubicBezTo>
                        <a:cubicBezTo>
                          <a:pt x="72" y="103"/>
                          <a:pt x="22" y="288"/>
                          <a:pt x="22" y="288"/>
                        </a:cubicBezTo>
                        <a:lnTo>
                          <a:pt x="0" y="28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3" name="Freeform 250">
                    <a:extLst>
                      <a:ext uri="{FF2B5EF4-FFF2-40B4-BE49-F238E27FC236}">
                        <a16:creationId xmlns:a16="http://schemas.microsoft.com/office/drawing/2014/main" id="{3DF25162-FEF8-BB5B-2A5D-9AEF21F7F19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668338"/>
                    <a:ext cx="65088" cy="76200"/>
                  </a:xfrm>
                  <a:custGeom>
                    <a:avLst/>
                    <a:gdLst>
                      <a:gd name="T0" fmla="*/ 33 w 35"/>
                      <a:gd name="T1" fmla="*/ 0 h 41"/>
                      <a:gd name="T2" fmla="*/ 35 w 35"/>
                      <a:gd name="T3" fmla="*/ 1 h 41"/>
                      <a:gd name="T4" fmla="*/ 21 w 35"/>
                      <a:gd name="T5" fmla="*/ 41 h 41"/>
                      <a:gd name="T6" fmla="*/ 0 w 35"/>
                      <a:gd name="T7" fmla="*/ 31 h 41"/>
                      <a:gd name="T8" fmla="*/ 33 w 35"/>
                      <a:gd name="T9" fmla="*/ 0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5" h="41">
                        <a:moveTo>
                          <a:pt x="33" y="0"/>
                        </a:moveTo>
                        <a:cubicBezTo>
                          <a:pt x="35" y="1"/>
                          <a:pt x="35" y="1"/>
                          <a:pt x="35" y="1"/>
                        </a:cubicBezTo>
                        <a:cubicBezTo>
                          <a:pt x="21" y="41"/>
                          <a:pt x="21" y="41"/>
                          <a:pt x="21" y="41"/>
                        </a:cubicBezTo>
                        <a:cubicBezTo>
                          <a:pt x="21" y="41"/>
                          <a:pt x="11" y="41"/>
                          <a:pt x="0" y="31"/>
                        </a:cubicBezTo>
                        <a:cubicBezTo>
                          <a:pt x="28" y="12"/>
                          <a:pt x="33" y="0"/>
                          <a:pt x="33" y="0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4" name="Freeform 251">
                    <a:extLst>
                      <a:ext uri="{FF2B5EF4-FFF2-40B4-BE49-F238E27FC236}">
                        <a16:creationId xmlns:a16="http://schemas.microsoft.com/office/drawing/2014/main" id="{1104FE15-CD62-6629-97A7-B6F398E3079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8813" y="673100"/>
                    <a:ext cx="574675" cy="481013"/>
                  </a:xfrm>
                  <a:custGeom>
                    <a:avLst/>
                    <a:gdLst>
                      <a:gd name="T0" fmla="*/ 0 w 310"/>
                      <a:gd name="T1" fmla="*/ 0 h 260"/>
                      <a:gd name="T2" fmla="*/ 134 w 310"/>
                      <a:gd name="T3" fmla="*/ 182 h 260"/>
                      <a:gd name="T4" fmla="*/ 274 w 310"/>
                      <a:gd name="T5" fmla="*/ 260 h 260"/>
                      <a:gd name="T6" fmla="*/ 194 w 310"/>
                      <a:gd name="T7" fmla="*/ 161 h 260"/>
                      <a:gd name="T8" fmla="*/ 0 w 310"/>
                      <a:gd name="T9" fmla="*/ 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10" h="260">
                        <a:moveTo>
                          <a:pt x="0" y="0"/>
                        </a:moveTo>
                        <a:cubicBezTo>
                          <a:pt x="0" y="0"/>
                          <a:pt x="14" y="153"/>
                          <a:pt x="134" y="182"/>
                        </a:cubicBezTo>
                        <a:cubicBezTo>
                          <a:pt x="250" y="210"/>
                          <a:pt x="274" y="260"/>
                          <a:pt x="274" y="260"/>
                        </a:cubicBezTo>
                        <a:cubicBezTo>
                          <a:pt x="274" y="260"/>
                          <a:pt x="310" y="203"/>
                          <a:pt x="194" y="161"/>
                        </a:cubicBezTo>
                        <a:cubicBezTo>
                          <a:pt x="77" y="118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5" name="Freeform 252">
                    <a:extLst>
                      <a:ext uri="{FF2B5EF4-FFF2-40B4-BE49-F238E27FC236}">
                        <a16:creationId xmlns:a16="http://schemas.microsoft.com/office/drawing/2014/main" id="{A8C0FDDC-DF51-D806-A93D-F1FB3576944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93413" y="666750"/>
                    <a:ext cx="369888" cy="306388"/>
                  </a:xfrm>
                  <a:custGeom>
                    <a:avLst/>
                    <a:gdLst>
                      <a:gd name="T0" fmla="*/ 199 w 199"/>
                      <a:gd name="T1" fmla="*/ 165 h 165"/>
                      <a:gd name="T2" fmla="*/ 108 w 199"/>
                      <a:gd name="T3" fmla="*/ 43 h 165"/>
                      <a:gd name="T4" fmla="*/ 9 w 199"/>
                      <a:gd name="T5" fmla="*/ 0 h 165"/>
                      <a:gd name="T6" fmla="*/ 75 w 199"/>
                      <a:gd name="T7" fmla="*/ 119 h 165"/>
                      <a:gd name="T8" fmla="*/ 199 w 199"/>
                      <a:gd name="T9" fmla="*/ 165 h 1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99" h="165">
                        <a:moveTo>
                          <a:pt x="199" y="165"/>
                        </a:moveTo>
                        <a:cubicBezTo>
                          <a:pt x="199" y="165"/>
                          <a:pt x="134" y="65"/>
                          <a:pt x="108" y="43"/>
                        </a:cubicBezTo>
                        <a:cubicBezTo>
                          <a:pt x="82" y="21"/>
                          <a:pt x="9" y="0"/>
                          <a:pt x="9" y="0"/>
                        </a:cubicBezTo>
                        <a:cubicBezTo>
                          <a:pt x="9" y="0"/>
                          <a:pt x="0" y="87"/>
                          <a:pt x="75" y="119"/>
                        </a:cubicBezTo>
                        <a:cubicBezTo>
                          <a:pt x="150" y="151"/>
                          <a:pt x="199" y="165"/>
                          <a:pt x="199" y="165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6" name="Freeform 253">
                    <a:extLst>
                      <a:ext uri="{FF2B5EF4-FFF2-40B4-BE49-F238E27FC236}">
                        <a16:creationId xmlns:a16="http://schemas.microsoft.com/office/drawing/2014/main" id="{641843C8-8540-956F-9A9D-BC28E022A41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91763" y="669925"/>
                    <a:ext cx="630238" cy="344488"/>
                  </a:xfrm>
                  <a:custGeom>
                    <a:avLst/>
                    <a:gdLst>
                      <a:gd name="T0" fmla="*/ 337 w 340"/>
                      <a:gd name="T1" fmla="*/ 78 h 186"/>
                      <a:gd name="T2" fmla="*/ 196 w 340"/>
                      <a:gd name="T3" fmla="*/ 184 h 186"/>
                      <a:gd name="T4" fmla="*/ 2 w 340"/>
                      <a:gd name="T5" fmla="*/ 166 h 186"/>
                      <a:gd name="T6" fmla="*/ 0 w 340"/>
                      <a:gd name="T7" fmla="*/ 151 h 186"/>
                      <a:gd name="T8" fmla="*/ 189 w 340"/>
                      <a:gd name="T9" fmla="*/ 144 h 186"/>
                      <a:gd name="T10" fmla="*/ 266 w 340"/>
                      <a:gd name="T11" fmla="*/ 49 h 186"/>
                      <a:gd name="T12" fmla="*/ 337 w 340"/>
                      <a:gd name="T13" fmla="*/ 78 h 1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0" h="186">
                        <a:moveTo>
                          <a:pt x="337" y="78"/>
                        </a:moveTo>
                        <a:cubicBezTo>
                          <a:pt x="301" y="123"/>
                          <a:pt x="230" y="173"/>
                          <a:pt x="196" y="184"/>
                        </a:cubicBezTo>
                        <a:cubicBezTo>
                          <a:pt x="125" y="186"/>
                          <a:pt x="2" y="166"/>
                          <a:pt x="2" y="166"/>
                        </a:cubicBezTo>
                        <a:cubicBezTo>
                          <a:pt x="2" y="166"/>
                          <a:pt x="0" y="159"/>
                          <a:pt x="0" y="151"/>
                        </a:cubicBezTo>
                        <a:cubicBezTo>
                          <a:pt x="52" y="147"/>
                          <a:pt x="159" y="142"/>
                          <a:pt x="189" y="144"/>
                        </a:cubicBezTo>
                        <a:cubicBezTo>
                          <a:pt x="223" y="116"/>
                          <a:pt x="255" y="98"/>
                          <a:pt x="266" y="49"/>
                        </a:cubicBezTo>
                        <a:cubicBezTo>
                          <a:pt x="278" y="0"/>
                          <a:pt x="340" y="16"/>
                          <a:pt x="337" y="78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7" name="Freeform 255">
                    <a:extLst>
                      <a:ext uri="{FF2B5EF4-FFF2-40B4-BE49-F238E27FC236}">
                        <a16:creationId xmlns:a16="http://schemas.microsoft.com/office/drawing/2014/main" id="{9C71F805-D2B8-2FE6-BC0D-B367305FA0A9}"/>
                      </a:ext>
                    </a:extLst>
                  </p:cNvPr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10396538" y="666750"/>
                    <a:ext cx="66675" cy="95250"/>
                  </a:xfrm>
                  <a:custGeom>
                    <a:avLst/>
                    <a:gdLst>
                      <a:gd name="T0" fmla="*/ 34 w 36"/>
                      <a:gd name="T1" fmla="*/ 42 h 51"/>
                      <a:gd name="T2" fmla="*/ 30 w 36"/>
                      <a:gd name="T3" fmla="*/ 30 h 51"/>
                      <a:gd name="T4" fmla="*/ 29 w 36"/>
                      <a:gd name="T5" fmla="*/ 20 h 51"/>
                      <a:gd name="T6" fmla="*/ 34 w 36"/>
                      <a:gd name="T7" fmla="*/ 11 h 51"/>
                      <a:gd name="T8" fmla="*/ 30 w 36"/>
                      <a:gd name="T9" fmla="*/ 6 h 51"/>
                      <a:gd name="T10" fmla="*/ 32 w 36"/>
                      <a:gd name="T11" fmla="*/ 1 h 51"/>
                      <a:gd name="T12" fmla="*/ 27 w 36"/>
                      <a:gd name="T13" fmla="*/ 3 h 51"/>
                      <a:gd name="T14" fmla="*/ 19 w 36"/>
                      <a:gd name="T15" fmla="*/ 16 h 51"/>
                      <a:gd name="T16" fmla="*/ 16 w 36"/>
                      <a:gd name="T17" fmla="*/ 31 h 51"/>
                      <a:gd name="T18" fmla="*/ 8 w 36"/>
                      <a:gd name="T19" fmla="*/ 30 h 51"/>
                      <a:gd name="T20" fmla="*/ 0 w 36"/>
                      <a:gd name="T21" fmla="*/ 31 h 51"/>
                      <a:gd name="T22" fmla="*/ 21 w 36"/>
                      <a:gd name="T23" fmla="*/ 46 h 51"/>
                      <a:gd name="T24" fmla="*/ 28 w 36"/>
                      <a:gd name="T25" fmla="*/ 51 h 51"/>
                      <a:gd name="T26" fmla="*/ 36 w 36"/>
                      <a:gd name="T27" fmla="*/ 44 h 51"/>
                      <a:gd name="T28" fmla="*/ 34 w 36"/>
                      <a:gd name="T29" fmla="*/ 42 h 51"/>
                      <a:gd name="T30" fmla="*/ 29 w 36"/>
                      <a:gd name="T31" fmla="*/ 9 h 51"/>
                      <a:gd name="T32" fmla="*/ 31 w 36"/>
                      <a:gd name="T33" fmla="*/ 12 h 51"/>
                      <a:gd name="T34" fmla="*/ 29 w 36"/>
                      <a:gd name="T35" fmla="*/ 14 h 51"/>
                      <a:gd name="T36" fmla="*/ 29 w 36"/>
                      <a:gd name="T37" fmla="*/ 9 h 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36" h="51">
                        <a:moveTo>
                          <a:pt x="34" y="42"/>
                        </a:moveTo>
                        <a:cubicBezTo>
                          <a:pt x="34" y="42"/>
                          <a:pt x="31" y="36"/>
                          <a:pt x="30" y="30"/>
                        </a:cubicBezTo>
                        <a:cubicBezTo>
                          <a:pt x="29" y="25"/>
                          <a:pt x="29" y="20"/>
                          <a:pt x="29" y="20"/>
                        </a:cubicBezTo>
                        <a:cubicBezTo>
                          <a:pt x="29" y="20"/>
                          <a:pt x="36" y="13"/>
                          <a:pt x="34" y="11"/>
                        </a:cubicBezTo>
                        <a:cubicBezTo>
                          <a:pt x="33" y="9"/>
                          <a:pt x="30" y="6"/>
                          <a:pt x="30" y="6"/>
                        </a:cubicBezTo>
                        <a:cubicBezTo>
                          <a:pt x="30" y="6"/>
                          <a:pt x="33" y="1"/>
                          <a:pt x="32" y="1"/>
                        </a:cubicBezTo>
                        <a:cubicBezTo>
                          <a:pt x="32" y="1"/>
                          <a:pt x="29" y="0"/>
                          <a:pt x="27" y="3"/>
                        </a:cubicBezTo>
                        <a:cubicBezTo>
                          <a:pt x="26" y="4"/>
                          <a:pt x="21" y="12"/>
                          <a:pt x="19" y="16"/>
                        </a:cubicBezTo>
                        <a:cubicBezTo>
                          <a:pt x="17" y="20"/>
                          <a:pt x="16" y="31"/>
                          <a:pt x="16" y="31"/>
                        </a:cubicBezTo>
                        <a:cubicBezTo>
                          <a:pt x="16" y="31"/>
                          <a:pt x="11" y="32"/>
                          <a:pt x="8" y="30"/>
                        </a:cubicBezTo>
                        <a:cubicBezTo>
                          <a:pt x="5" y="28"/>
                          <a:pt x="0" y="31"/>
                          <a:pt x="0" y="31"/>
                        </a:cubicBezTo>
                        <a:cubicBezTo>
                          <a:pt x="0" y="31"/>
                          <a:pt x="8" y="35"/>
                          <a:pt x="21" y="46"/>
                        </a:cubicBezTo>
                        <a:cubicBezTo>
                          <a:pt x="23" y="48"/>
                          <a:pt x="28" y="51"/>
                          <a:pt x="28" y="51"/>
                        </a:cubicBezTo>
                        <a:cubicBezTo>
                          <a:pt x="36" y="44"/>
                          <a:pt x="36" y="44"/>
                          <a:pt x="36" y="44"/>
                        </a:cubicBezTo>
                        <a:lnTo>
                          <a:pt x="34" y="42"/>
                        </a:lnTo>
                        <a:close/>
                        <a:moveTo>
                          <a:pt x="29" y="9"/>
                        </a:moveTo>
                        <a:cubicBezTo>
                          <a:pt x="31" y="12"/>
                          <a:pt x="31" y="12"/>
                          <a:pt x="31" y="12"/>
                        </a:cubicBezTo>
                        <a:cubicBezTo>
                          <a:pt x="29" y="14"/>
                          <a:pt x="29" y="14"/>
                          <a:pt x="29" y="14"/>
                        </a:cubicBezTo>
                        <a:lnTo>
                          <a:pt x="29" y="9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43" name="Group 4">
                <a:extLst>
                  <a:ext uri="{FF2B5EF4-FFF2-40B4-BE49-F238E27FC236}">
                    <a16:creationId xmlns:a16="http://schemas.microsoft.com/office/drawing/2014/main" id="{CE0A1855-9254-98DD-D668-06C85CFAA963}"/>
                  </a:ext>
                </a:extLst>
              </p:cNvPr>
              <p:cNvGrpSpPr/>
              <p:nvPr/>
            </p:nvGrpSpPr>
            <p:grpSpPr>
              <a:xfrm>
                <a:off x="2494061" y="3997897"/>
                <a:ext cx="1127759" cy="1089959"/>
                <a:chOff x="2494061" y="3997897"/>
                <a:chExt cx="1127759" cy="1089959"/>
              </a:xfrm>
            </p:grpSpPr>
            <p:grpSp>
              <p:nvGrpSpPr>
                <p:cNvPr id="86" name="Group 1068">
                  <a:extLst>
                    <a:ext uri="{FF2B5EF4-FFF2-40B4-BE49-F238E27FC236}">
                      <a16:creationId xmlns:a16="http://schemas.microsoft.com/office/drawing/2014/main" id="{34280D6E-F9E2-F59F-E3D4-BDD2C43A6FB6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2494061" y="3997897"/>
                  <a:ext cx="1127759" cy="815248"/>
                  <a:chOff x="10001250" y="2782888"/>
                  <a:chExt cx="1449388" cy="1047750"/>
                </a:xfrm>
              </p:grpSpPr>
              <p:sp>
                <p:nvSpPr>
                  <p:cNvPr id="88" name="Freeform 217">
                    <a:extLst>
                      <a:ext uri="{FF2B5EF4-FFF2-40B4-BE49-F238E27FC236}">
                        <a16:creationId xmlns:a16="http://schemas.microsoft.com/office/drawing/2014/main" id="{A38DA7F9-17EC-33A7-58DB-19AA037ED1C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5425" y="3303588"/>
                    <a:ext cx="728663" cy="525463"/>
                  </a:xfrm>
                  <a:custGeom>
                    <a:avLst/>
                    <a:gdLst>
                      <a:gd name="T0" fmla="*/ 3 w 393"/>
                      <a:gd name="T1" fmla="*/ 279 h 283"/>
                      <a:gd name="T2" fmla="*/ 12 w 393"/>
                      <a:gd name="T3" fmla="*/ 275 h 283"/>
                      <a:gd name="T4" fmla="*/ 25 w 393"/>
                      <a:gd name="T5" fmla="*/ 258 h 283"/>
                      <a:gd name="T6" fmla="*/ 22 w 393"/>
                      <a:gd name="T7" fmla="*/ 42 h 283"/>
                      <a:gd name="T8" fmla="*/ 22 w 393"/>
                      <a:gd name="T9" fmla="*/ 42 h 283"/>
                      <a:gd name="T10" fmla="*/ 61 w 393"/>
                      <a:gd name="T11" fmla="*/ 0 h 283"/>
                      <a:gd name="T12" fmla="*/ 319 w 393"/>
                      <a:gd name="T13" fmla="*/ 3 h 283"/>
                      <a:gd name="T14" fmla="*/ 236 w 393"/>
                      <a:gd name="T15" fmla="*/ 79 h 283"/>
                      <a:gd name="T16" fmla="*/ 65 w 393"/>
                      <a:gd name="T17" fmla="*/ 46 h 283"/>
                      <a:gd name="T18" fmla="*/ 37 w 393"/>
                      <a:gd name="T19" fmla="*/ 259 h 283"/>
                      <a:gd name="T20" fmla="*/ 37 w 393"/>
                      <a:gd name="T21" fmla="*/ 267 h 283"/>
                      <a:gd name="T22" fmla="*/ 34 w 393"/>
                      <a:gd name="T23" fmla="*/ 283 h 283"/>
                      <a:gd name="T24" fmla="*/ 29 w 393"/>
                      <a:gd name="T25" fmla="*/ 283 h 283"/>
                      <a:gd name="T26" fmla="*/ 28 w 393"/>
                      <a:gd name="T27" fmla="*/ 274 h 283"/>
                      <a:gd name="T28" fmla="*/ 15 w 393"/>
                      <a:gd name="T29" fmla="*/ 283 h 283"/>
                      <a:gd name="T30" fmla="*/ 2 w 393"/>
                      <a:gd name="T31" fmla="*/ 283 h 283"/>
                      <a:gd name="T32" fmla="*/ 3 w 393"/>
                      <a:gd name="T33" fmla="*/ 279 h 2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93" h="283">
                        <a:moveTo>
                          <a:pt x="3" y="279"/>
                        </a:moveTo>
                        <a:cubicBezTo>
                          <a:pt x="4" y="279"/>
                          <a:pt x="12" y="275"/>
                          <a:pt x="12" y="275"/>
                        </a:cubicBezTo>
                        <a:cubicBezTo>
                          <a:pt x="25" y="258"/>
                          <a:pt x="25" y="258"/>
                          <a:pt x="25" y="258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0" y="5"/>
                          <a:pt x="61" y="0"/>
                          <a:pt x="61" y="0"/>
                        </a:cubicBezTo>
                        <a:cubicBezTo>
                          <a:pt x="319" y="3"/>
                          <a:pt x="319" y="3"/>
                          <a:pt x="319" y="3"/>
                        </a:cubicBezTo>
                        <a:cubicBezTo>
                          <a:pt x="319" y="3"/>
                          <a:pt x="393" y="97"/>
                          <a:pt x="236" y="79"/>
                        </a:cubicBezTo>
                        <a:cubicBezTo>
                          <a:pt x="197" y="74"/>
                          <a:pt x="167" y="59"/>
                          <a:pt x="65" y="46"/>
                        </a:cubicBezTo>
                        <a:cubicBezTo>
                          <a:pt x="79" y="87"/>
                          <a:pt x="37" y="259"/>
                          <a:pt x="37" y="259"/>
                        </a:cubicBezTo>
                        <a:cubicBezTo>
                          <a:pt x="37" y="267"/>
                          <a:pt x="37" y="267"/>
                          <a:pt x="37" y="267"/>
                        </a:cubicBezTo>
                        <a:cubicBezTo>
                          <a:pt x="34" y="283"/>
                          <a:pt x="34" y="283"/>
                          <a:pt x="34" y="283"/>
                        </a:cubicBezTo>
                        <a:cubicBezTo>
                          <a:pt x="29" y="283"/>
                          <a:pt x="29" y="283"/>
                          <a:pt x="29" y="283"/>
                        </a:cubicBezTo>
                        <a:cubicBezTo>
                          <a:pt x="28" y="274"/>
                          <a:pt x="28" y="274"/>
                          <a:pt x="28" y="274"/>
                        </a:cubicBezTo>
                        <a:cubicBezTo>
                          <a:pt x="15" y="283"/>
                          <a:pt x="15" y="283"/>
                          <a:pt x="15" y="283"/>
                        </a:cubicBezTo>
                        <a:cubicBezTo>
                          <a:pt x="2" y="283"/>
                          <a:pt x="2" y="283"/>
                          <a:pt x="2" y="283"/>
                        </a:cubicBezTo>
                        <a:cubicBezTo>
                          <a:pt x="2" y="283"/>
                          <a:pt x="0" y="280"/>
                          <a:pt x="3" y="27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9" name="Freeform 218">
                    <a:extLst>
                      <a:ext uri="{FF2B5EF4-FFF2-40B4-BE49-F238E27FC236}">
                        <a16:creationId xmlns:a16="http://schemas.microsoft.com/office/drawing/2014/main" id="{B8081F6D-3478-0222-59A5-CAFAFE8042E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3838" y="3784600"/>
                    <a:ext cx="71438" cy="46038"/>
                  </a:xfrm>
                  <a:custGeom>
                    <a:avLst/>
                    <a:gdLst>
                      <a:gd name="T0" fmla="*/ 13 w 38"/>
                      <a:gd name="T1" fmla="*/ 16 h 25"/>
                      <a:gd name="T2" fmla="*/ 3 w 38"/>
                      <a:gd name="T3" fmla="*/ 20 h 25"/>
                      <a:gd name="T4" fmla="*/ 2 w 38"/>
                      <a:gd name="T5" fmla="*/ 24 h 25"/>
                      <a:gd name="T6" fmla="*/ 18 w 38"/>
                      <a:gd name="T7" fmla="*/ 24 h 25"/>
                      <a:gd name="T8" fmla="*/ 29 w 38"/>
                      <a:gd name="T9" fmla="*/ 15 h 25"/>
                      <a:gd name="T10" fmla="*/ 30 w 38"/>
                      <a:gd name="T11" fmla="*/ 25 h 25"/>
                      <a:gd name="T12" fmla="*/ 35 w 38"/>
                      <a:gd name="T13" fmla="*/ 25 h 25"/>
                      <a:gd name="T14" fmla="*/ 38 w 38"/>
                      <a:gd name="T15" fmla="*/ 8 h 25"/>
                      <a:gd name="T16" fmla="*/ 38 w 38"/>
                      <a:gd name="T17" fmla="*/ 0 h 25"/>
                      <a:gd name="T18" fmla="*/ 28 w 38"/>
                      <a:gd name="T19" fmla="*/ 8 h 25"/>
                      <a:gd name="T20" fmla="*/ 13 w 38"/>
                      <a:gd name="T21" fmla="*/ 16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8" h="25">
                        <a:moveTo>
                          <a:pt x="13" y="16"/>
                        </a:moveTo>
                        <a:cubicBezTo>
                          <a:pt x="11" y="17"/>
                          <a:pt x="4" y="20"/>
                          <a:pt x="3" y="20"/>
                        </a:cubicBezTo>
                        <a:cubicBezTo>
                          <a:pt x="0" y="21"/>
                          <a:pt x="2" y="24"/>
                          <a:pt x="2" y="24"/>
                        </a:cubicBezTo>
                        <a:cubicBezTo>
                          <a:pt x="2" y="24"/>
                          <a:pt x="15" y="24"/>
                          <a:pt x="18" y="24"/>
                        </a:cubicBezTo>
                        <a:cubicBezTo>
                          <a:pt x="21" y="24"/>
                          <a:pt x="29" y="15"/>
                          <a:pt x="29" y="15"/>
                        </a:cubicBezTo>
                        <a:cubicBezTo>
                          <a:pt x="30" y="25"/>
                          <a:pt x="30" y="25"/>
                          <a:pt x="30" y="25"/>
                        </a:cubicBezTo>
                        <a:cubicBezTo>
                          <a:pt x="35" y="25"/>
                          <a:pt x="35" y="25"/>
                          <a:pt x="35" y="25"/>
                        </a:cubicBezTo>
                        <a:cubicBezTo>
                          <a:pt x="35" y="25"/>
                          <a:pt x="36" y="15"/>
                          <a:pt x="38" y="8"/>
                        </a:cubicBezTo>
                        <a:cubicBezTo>
                          <a:pt x="38" y="4"/>
                          <a:pt x="38" y="0"/>
                          <a:pt x="38" y="0"/>
                        </a:cubicBezTo>
                        <a:cubicBezTo>
                          <a:pt x="38" y="0"/>
                          <a:pt x="35" y="0"/>
                          <a:pt x="28" y="8"/>
                        </a:cubicBezTo>
                        <a:cubicBezTo>
                          <a:pt x="22" y="17"/>
                          <a:pt x="16" y="16"/>
                          <a:pt x="13" y="16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0" name="Freeform 219">
                    <a:extLst>
                      <a:ext uri="{FF2B5EF4-FFF2-40B4-BE49-F238E27FC236}">
                        <a16:creationId xmlns:a16="http://schemas.microsoft.com/office/drawing/2014/main" id="{9BE57CF4-E7A1-E15A-40C3-41A76955E61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58488" y="3311525"/>
                    <a:ext cx="692150" cy="390525"/>
                  </a:xfrm>
                  <a:custGeom>
                    <a:avLst/>
                    <a:gdLst>
                      <a:gd name="T0" fmla="*/ 371 w 373"/>
                      <a:gd name="T1" fmla="*/ 182 h 211"/>
                      <a:gd name="T2" fmla="*/ 360 w 373"/>
                      <a:gd name="T3" fmla="*/ 170 h 211"/>
                      <a:gd name="T4" fmla="*/ 370 w 373"/>
                      <a:gd name="T5" fmla="*/ 168 h 211"/>
                      <a:gd name="T6" fmla="*/ 369 w 373"/>
                      <a:gd name="T7" fmla="*/ 164 h 211"/>
                      <a:gd name="T8" fmla="*/ 353 w 373"/>
                      <a:gd name="T9" fmla="*/ 163 h 211"/>
                      <a:gd name="T10" fmla="*/ 345 w 373"/>
                      <a:gd name="T11" fmla="*/ 164 h 211"/>
                      <a:gd name="T12" fmla="*/ 142 w 373"/>
                      <a:gd name="T13" fmla="*/ 172 h 211"/>
                      <a:gd name="T14" fmla="*/ 115 w 373"/>
                      <a:gd name="T15" fmla="*/ 25 h 211"/>
                      <a:gd name="T16" fmla="*/ 0 w 373"/>
                      <a:gd name="T17" fmla="*/ 15 h 211"/>
                      <a:gd name="T18" fmla="*/ 107 w 373"/>
                      <a:gd name="T19" fmla="*/ 191 h 211"/>
                      <a:gd name="T20" fmla="*/ 142 w 373"/>
                      <a:gd name="T21" fmla="*/ 211 h 211"/>
                      <a:gd name="T22" fmla="*/ 211 w 373"/>
                      <a:gd name="T23" fmla="*/ 198 h 211"/>
                      <a:gd name="T24" fmla="*/ 346 w 373"/>
                      <a:gd name="T25" fmla="*/ 176 h 211"/>
                      <a:gd name="T26" fmla="*/ 363 w 373"/>
                      <a:gd name="T27" fmla="*/ 186 h 211"/>
                      <a:gd name="T28" fmla="*/ 369 w 373"/>
                      <a:gd name="T29" fmla="*/ 195 h 211"/>
                      <a:gd name="T30" fmla="*/ 373 w 373"/>
                      <a:gd name="T31" fmla="*/ 196 h 211"/>
                      <a:gd name="T32" fmla="*/ 371 w 373"/>
                      <a:gd name="T33" fmla="*/ 182 h 2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73" h="211">
                        <a:moveTo>
                          <a:pt x="371" y="182"/>
                        </a:moveTo>
                        <a:cubicBezTo>
                          <a:pt x="360" y="170"/>
                          <a:pt x="360" y="170"/>
                          <a:pt x="360" y="170"/>
                        </a:cubicBezTo>
                        <a:cubicBezTo>
                          <a:pt x="370" y="168"/>
                          <a:pt x="370" y="168"/>
                          <a:pt x="370" y="168"/>
                        </a:cubicBezTo>
                        <a:cubicBezTo>
                          <a:pt x="369" y="164"/>
                          <a:pt x="369" y="164"/>
                          <a:pt x="369" y="164"/>
                        </a:cubicBezTo>
                        <a:cubicBezTo>
                          <a:pt x="353" y="163"/>
                          <a:pt x="353" y="163"/>
                          <a:pt x="353" y="163"/>
                        </a:cubicBezTo>
                        <a:cubicBezTo>
                          <a:pt x="353" y="163"/>
                          <a:pt x="348" y="164"/>
                          <a:pt x="345" y="164"/>
                        </a:cubicBezTo>
                        <a:cubicBezTo>
                          <a:pt x="274" y="167"/>
                          <a:pt x="157" y="159"/>
                          <a:pt x="142" y="172"/>
                        </a:cubicBezTo>
                        <a:cubicBezTo>
                          <a:pt x="140" y="136"/>
                          <a:pt x="136" y="58"/>
                          <a:pt x="115" y="25"/>
                        </a:cubicBezTo>
                        <a:cubicBezTo>
                          <a:pt x="100" y="0"/>
                          <a:pt x="0" y="15"/>
                          <a:pt x="0" y="15"/>
                        </a:cubicBezTo>
                        <a:cubicBezTo>
                          <a:pt x="0" y="15"/>
                          <a:pt x="102" y="185"/>
                          <a:pt x="107" y="191"/>
                        </a:cubicBezTo>
                        <a:cubicBezTo>
                          <a:pt x="121" y="210"/>
                          <a:pt x="142" y="211"/>
                          <a:pt x="142" y="211"/>
                        </a:cubicBezTo>
                        <a:cubicBezTo>
                          <a:pt x="211" y="198"/>
                          <a:pt x="211" y="198"/>
                          <a:pt x="211" y="198"/>
                        </a:cubicBezTo>
                        <a:cubicBezTo>
                          <a:pt x="346" y="176"/>
                          <a:pt x="346" y="176"/>
                          <a:pt x="346" y="176"/>
                        </a:cubicBezTo>
                        <a:cubicBezTo>
                          <a:pt x="363" y="186"/>
                          <a:pt x="363" y="186"/>
                          <a:pt x="363" y="186"/>
                        </a:cubicBezTo>
                        <a:cubicBezTo>
                          <a:pt x="363" y="186"/>
                          <a:pt x="369" y="194"/>
                          <a:pt x="369" y="195"/>
                        </a:cubicBezTo>
                        <a:cubicBezTo>
                          <a:pt x="370" y="198"/>
                          <a:pt x="373" y="196"/>
                          <a:pt x="373" y="196"/>
                        </a:cubicBezTo>
                        <a:lnTo>
                          <a:pt x="371" y="182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1" name="Freeform 221">
                    <a:extLst>
                      <a:ext uri="{FF2B5EF4-FFF2-40B4-BE49-F238E27FC236}">
                        <a16:creationId xmlns:a16="http://schemas.microsoft.com/office/drawing/2014/main" id="{F6DA6F6E-284E-1650-91E8-92760D9AFC5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61600" y="2940050"/>
                    <a:ext cx="304800" cy="269875"/>
                  </a:xfrm>
                  <a:custGeom>
                    <a:avLst/>
                    <a:gdLst>
                      <a:gd name="T0" fmla="*/ 0 w 164"/>
                      <a:gd name="T1" fmla="*/ 113 h 146"/>
                      <a:gd name="T2" fmla="*/ 37 w 164"/>
                      <a:gd name="T3" fmla="*/ 114 h 146"/>
                      <a:gd name="T4" fmla="*/ 66 w 164"/>
                      <a:gd name="T5" fmla="*/ 77 h 146"/>
                      <a:gd name="T6" fmla="*/ 97 w 164"/>
                      <a:gd name="T7" fmla="*/ 41 h 146"/>
                      <a:gd name="T8" fmla="*/ 164 w 164"/>
                      <a:gd name="T9" fmla="*/ 11 h 146"/>
                      <a:gd name="T10" fmla="*/ 133 w 164"/>
                      <a:gd name="T11" fmla="*/ 72 h 146"/>
                      <a:gd name="T12" fmla="*/ 67 w 164"/>
                      <a:gd name="T13" fmla="*/ 130 h 146"/>
                      <a:gd name="T14" fmla="*/ 23 w 164"/>
                      <a:gd name="T15" fmla="*/ 141 h 146"/>
                      <a:gd name="T16" fmla="*/ 0 w 164"/>
                      <a:gd name="T17" fmla="*/ 113 h 1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64" h="146">
                        <a:moveTo>
                          <a:pt x="0" y="113"/>
                        </a:moveTo>
                        <a:cubicBezTo>
                          <a:pt x="37" y="114"/>
                          <a:pt x="37" y="114"/>
                          <a:pt x="37" y="114"/>
                        </a:cubicBezTo>
                        <a:cubicBezTo>
                          <a:pt x="37" y="114"/>
                          <a:pt x="47" y="99"/>
                          <a:pt x="66" y="77"/>
                        </a:cubicBezTo>
                        <a:cubicBezTo>
                          <a:pt x="127" y="79"/>
                          <a:pt x="85" y="55"/>
                          <a:pt x="97" y="41"/>
                        </a:cubicBezTo>
                        <a:cubicBezTo>
                          <a:pt x="135" y="0"/>
                          <a:pt x="164" y="11"/>
                          <a:pt x="164" y="11"/>
                        </a:cubicBezTo>
                        <a:cubicBezTo>
                          <a:pt x="133" y="72"/>
                          <a:pt x="133" y="72"/>
                          <a:pt x="133" y="72"/>
                        </a:cubicBezTo>
                        <a:cubicBezTo>
                          <a:pt x="133" y="72"/>
                          <a:pt x="76" y="122"/>
                          <a:pt x="67" y="130"/>
                        </a:cubicBezTo>
                        <a:cubicBezTo>
                          <a:pt x="58" y="137"/>
                          <a:pt x="46" y="146"/>
                          <a:pt x="23" y="141"/>
                        </a:cubicBezTo>
                        <a:cubicBezTo>
                          <a:pt x="19" y="126"/>
                          <a:pt x="0" y="113"/>
                          <a:pt x="0" y="11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2" name="Freeform 222">
                    <a:extLst>
                      <a:ext uri="{FF2B5EF4-FFF2-40B4-BE49-F238E27FC236}">
                        <a16:creationId xmlns:a16="http://schemas.microsoft.com/office/drawing/2014/main" id="{5F0CFFF0-39B1-A521-80E8-6B537DE777E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4638" y="2954338"/>
                    <a:ext cx="317500" cy="319088"/>
                  </a:xfrm>
                  <a:custGeom>
                    <a:avLst/>
                    <a:gdLst>
                      <a:gd name="T0" fmla="*/ 171 w 171"/>
                      <a:gd name="T1" fmla="*/ 172 h 172"/>
                      <a:gd name="T2" fmla="*/ 29 w 171"/>
                      <a:gd name="T3" fmla="*/ 97 h 172"/>
                      <a:gd name="T4" fmla="*/ 33 w 171"/>
                      <a:gd name="T5" fmla="*/ 0 h 172"/>
                      <a:gd name="T6" fmla="*/ 171 w 171"/>
                      <a:gd name="T7" fmla="*/ 172 h 1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71" h="172">
                        <a:moveTo>
                          <a:pt x="171" y="172"/>
                        </a:moveTo>
                        <a:cubicBezTo>
                          <a:pt x="171" y="172"/>
                          <a:pt x="57" y="148"/>
                          <a:pt x="29" y="97"/>
                        </a:cubicBezTo>
                        <a:cubicBezTo>
                          <a:pt x="0" y="43"/>
                          <a:pt x="33" y="0"/>
                          <a:pt x="33" y="0"/>
                        </a:cubicBezTo>
                        <a:lnTo>
                          <a:pt x="171" y="17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3" name="Freeform 223">
                    <a:extLst>
                      <a:ext uri="{FF2B5EF4-FFF2-40B4-BE49-F238E27FC236}">
                        <a16:creationId xmlns:a16="http://schemas.microsoft.com/office/drawing/2014/main" id="{E69562B2-3A9D-340C-30B6-CDB2459004D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67975" y="2906713"/>
                    <a:ext cx="520700" cy="411163"/>
                  </a:xfrm>
                  <a:custGeom>
                    <a:avLst/>
                    <a:gdLst>
                      <a:gd name="T0" fmla="*/ 153 w 281"/>
                      <a:gd name="T1" fmla="*/ 222 h 222"/>
                      <a:gd name="T2" fmla="*/ 62 w 281"/>
                      <a:gd name="T3" fmla="*/ 147 h 222"/>
                      <a:gd name="T4" fmla="*/ 0 w 281"/>
                      <a:gd name="T5" fmla="*/ 23 h 222"/>
                      <a:gd name="T6" fmla="*/ 31 w 281"/>
                      <a:gd name="T7" fmla="*/ 8 h 222"/>
                      <a:gd name="T8" fmla="*/ 158 w 281"/>
                      <a:gd name="T9" fmla="*/ 64 h 222"/>
                      <a:gd name="T10" fmla="*/ 281 w 281"/>
                      <a:gd name="T11" fmla="*/ 219 h 222"/>
                      <a:gd name="T12" fmla="*/ 153 w 281"/>
                      <a:gd name="T13" fmla="*/ 222 h 2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1" h="222">
                        <a:moveTo>
                          <a:pt x="153" y="222"/>
                        </a:moveTo>
                        <a:cubicBezTo>
                          <a:pt x="153" y="222"/>
                          <a:pt x="136" y="170"/>
                          <a:pt x="62" y="147"/>
                        </a:cubicBezTo>
                        <a:cubicBezTo>
                          <a:pt x="16" y="134"/>
                          <a:pt x="0" y="23"/>
                          <a:pt x="0" y="23"/>
                        </a:cubicBezTo>
                        <a:cubicBezTo>
                          <a:pt x="0" y="23"/>
                          <a:pt x="17" y="10"/>
                          <a:pt x="31" y="8"/>
                        </a:cubicBezTo>
                        <a:cubicBezTo>
                          <a:pt x="64" y="0"/>
                          <a:pt x="115" y="18"/>
                          <a:pt x="158" y="64"/>
                        </a:cubicBezTo>
                        <a:cubicBezTo>
                          <a:pt x="219" y="128"/>
                          <a:pt x="281" y="219"/>
                          <a:pt x="281" y="219"/>
                        </a:cubicBezTo>
                        <a:lnTo>
                          <a:pt x="153" y="222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4" name="Freeform 224">
                    <a:extLst>
                      <a:ext uri="{FF2B5EF4-FFF2-40B4-BE49-F238E27FC236}">
                        <a16:creationId xmlns:a16="http://schemas.microsoft.com/office/drawing/2014/main" id="{2CF25C8A-87B9-D571-EA5E-1D5CF124079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9413" y="3076575"/>
                    <a:ext cx="247650" cy="242888"/>
                  </a:xfrm>
                  <a:custGeom>
                    <a:avLst/>
                    <a:gdLst>
                      <a:gd name="T0" fmla="*/ 121 w 133"/>
                      <a:gd name="T1" fmla="*/ 129 h 131"/>
                      <a:gd name="T2" fmla="*/ 64 w 133"/>
                      <a:gd name="T3" fmla="*/ 62 h 131"/>
                      <a:gd name="T4" fmla="*/ 0 w 133"/>
                      <a:gd name="T5" fmla="*/ 0 h 131"/>
                      <a:gd name="T6" fmla="*/ 64 w 133"/>
                      <a:gd name="T7" fmla="*/ 57 h 131"/>
                      <a:gd name="T8" fmla="*/ 133 w 133"/>
                      <a:gd name="T9" fmla="*/ 131 h 131"/>
                      <a:gd name="T10" fmla="*/ 121 w 133"/>
                      <a:gd name="T11" fmla="*/ 129 h 1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33" h="131">
                        <a:moveTo>
                          <a:pt x="121" y="129"/>
                        </a:moveTo>
                        <a:cubicBezTo>
                          <a:pt x="121" y="129"/>
                          <a:pt x="99" y="76"/>
                          <a:pt x="64" y="62"/>
                        </a:cubicBezTo>
                        <a:cubicBezTo>
                          <a:pt x="27" y="47"/>
                          <a:pt x="0" y="0"/>
                          <a:pt x="0" y="0"/>
                        </a:cubicBezTo>
                        <a:cubicBezTo>
                          <a:pt x="0" y="0"/>
                          <a:pt x="27" y="33"/>
                          <a:pt x="64" y="57"/>
                        </a:cubicBezTo>
                        <a:cubicBezTo>
                          <a:pt x="101" y="81"/>
                          <a:pt x="133" y="131"/>
                          <a:pt x="133" y="131"/>
                        </a:cubicBezTo>
                        <a:lnTo>
                          <a:pt x="121" y="129"/>
                        </a:ln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5" name="Freeform 225">
                    <a:extLst>
                      <a:ext uri="{FF2B5EF4-FFF2-40B4-BE49-F238E27FC236}">
                        <a16:creationId xmlns:a16="http://schemas.microsoft.com/office/drawing/2014/main" id="{4F999EDD-5819-A8EC-8267-AEEB899DBAF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3063" y="2906713"/>
                    <a:ext cx="430213" cy="357188"/>
                  </a:xfrm>
                  <a:custGeom>
                    <a:avLst/>
                    <a:gdLst>
                      <a:gd name="T0" fmla="*/ 232 w 232"/>
                      <a:gd name="T1" fmla="*/ 182 h 193"/>
                      <a:gd name="T2" fmla="*/ 59 w 232"/>
                      <a:gd name="T3" fmla="*/ 13 h 193"/>
                      <a:gd name="T4" fmla="*/ 3 w 232"/>
                      <a:gd name="T5" fmla="*/ 6 h 193"/>
                      <a:gd name="T6" fmla="*/ 129 w 232"/>
                      <a:gd name="T7" fmla="*/ 156 h 193"/>
                      <a:gd name="T8" fmla="*/ 232 w 232"/>
                      <a:gd name="T9" fmla="*/ 182 h 1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2" h="193">
                        <a:moveTo>
                          <a:pt x="232" y="182"/>
                        </a:moveTo>
                        <a:cubicBezTo>
                          <a:pt x="232" y="182"/>
                          <a:pt x="112" y="25"/>
                          <a:pt x="59" y="13"/>
                        </a:cubicBezTo>
                        <a:cubicBezTo>
                          <a:pt x="7" y="0"/>
                          <a:pt x="3" y="6"/>
                          <a:pt x="3" y="6"/>
                        </a:cubicBezTo>
                        <a:cubicBezTo>
                          <a:pt x="3" y="6"/>
                          <a:pt x="0" y="89"/>
                          <a:pt x="129" y="156"/>
                        </a:cubicBezTo>
                        <a:cubicBezTo>
                          <a:pt x="203" y="193"/>
                          <a:pt x="232" y="182"/>
                          <a:pt x="232" y="182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6" name="Freeform 226">
                    <a:extLst>
                      <a:ext uri="{FF2B5EF4-FFF2-40B4-BE49-F238E27FC236}">
                        <a16:creationId xmlns:a16="http://schemas.microsoft.com/office/drawing/2014/main" id="{62BB1890-8ABE-B82B-5C44-E75A187846E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2413" y="2862263"/>
                    <a:ext cx="125413" cy="106363"/>
                  </a:xfrm>
                  <a:custGeom>
                    <a:avLst/>
                    <a:gdLst>
                      <a:gd name="T0" fmla="*/ 68 w 68"/>
                      <a:gd name="T1" fmla="*/ 30 h 58"/>
                      <a:gd name="T2" fmla="*/ 58 w 68"/>
                      <a:gd name="T3" fmla="*/ 14 h 58"/>
                      <a:gd name="T4" fmla="*/ 39 w 68"/>
                      <a:gd name="T5" fmla="*/ 0 h 58"/>
                      <a:gd name="T6" fmla="*/ 31 w 68"/>
                      <a:gd name="T7" fmla="*/ 24 h 58"/>
                      <a:gd name="T8" fmla="*/ 18 w 68"/>
                      <a:gd name="T9" fmla="*/ 37 h 58"/>
                      <a:gd name="T10" fmla="*/ 0 w 68"/>
                      <a:gd name="T11" fmla="*/ 38 h 58"/>
                      <a:gd name="T12" fmla="*/ 36 w 68"/>
                      <a:gd name="T13" fmla="*/ 55 h 58"/>
                      <a:gd name="T14" fmla="*/ 68 w 68"/>
                      <a:gd name="T15" fmla="*/ 30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8" h="58">
                        <a:moveTo>
                          <a:pt x="68" y="30"/>
                        </a:moveTo>
                        <a:cubicBezTo>
                          <a:pt x="58" y="14"/>
                          <a:pt x="58" y="14"/>
                          <a:pt x="58" y="14"/>
                        </a:cubicBezTo>
                        <a:cubicBezTo>
                          <a:pt x="39" y="0"/>
                          <a:pt x="39" y="0"/>
                          <a:pt x="39" y="0"/>
                        </a:cubicBezTo>
                        <a:cubicBezTo>
                          <a:pt x="39" y="0"/>
                          <a:pt x="33" y="15"/>
                          <a:pt x="31" y="24"/>
                        </a:cubicBezTo>
                        <a:cubicBezTo>
                          <a:pt x="30" y="32"/>
                          <a:pt x="21" y="37"/>
                          <a:pt x="18" y="37"/>
                        </a:cubicBezTo>
                        <a:cubicBezTo>
                          <a:pt x="10" y="39"/>
                          <a:pt x="0" y="38"/>
                          <a:pt x="0" y="38"/>
                        </a:cubicBezTo>
                        <a:cubicBezTo>
                          <a:pt x="0" y="38"/>
                          <a:pt x="32" y="50"/>
                          <a:pt x="36" y="55"/>
                        </a:cubicBezTo>
                        <a:cubicBezTo>
                          <a:pt x="41" y="58"/>
                          <a:pt x="68" y="30"/>
                          <a:pt x="68" y="30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7" name="Freeform 227">
                    <a:extLst>
                      <a:ext uri="{FF2B5EF4-FFF2-40B4-BE49-F238E27FC236}">
                        <a16:creationId xmlns:a16="http://schemas.microsoft.com/office/drawing/2014/main" id="{A8092D1B-1CAB-0F5C-EEFA-BB9622231EB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3363" y="2800350"/>
                    <a:ext cx="100013" cy="131763"/>
                  </a:xfrm>
                  <a:custGeom>
                    <a:avLst/>
                    <a:gdLst>
                      <a:gd name="T0" fmla="*/ 13 w 54"/>
                      <a:gd name="T1" fmla="*/ 71 h 71"/>
                      <a:gd name="T2" fmla="*/ 31 w 54"/>
                      <a:gd name="T3" fmla="*/ 70 h 71"/>
                      <a:gd name="T4" fmla="*/ 41 w 54"/>
                      <a:gd name="T5" fmla="*/ 61 h 71"/>
                      <a:gd name="T6" fmla="*/ 45 w 54"/>
                      <a:gd name="T7" fmla="*/ 46 h 71"/>
                      <a:gd name="T8" fmla="*/ 51 w 54"/>
                      <a:gd name="T9" fmla="*/ 41 h 71"/>
                      <a:gd name="T10" fmla="*/ 47 w 54"/>
                      <a:gd name="T11" fmla="*/ 32 h 71"/>
                      <a:gd name="T12" fmla="*/ 44 w 54"/>
                      <a:gd name="T13" fmla="*/ 3 h 71"/>
                      <a:gd name="T14" fmla="*/ 30 w 54"/>
                      <a:gd name="T15" fmla="*/ 0 h 71"/>
                      <a:gd name="T16" fmla="*/ 18 w 54"/>
                      <a:gd name="T17" fmla="*/ 7 h 71"/>
                      <a:gd name="T18" fmla="*/ 0 w 54"/>
                      <a:gd name="T19" fmla="*/ 40 h 71"/>
                      <a:gd name="T20" fmla="*/ 3 w 54"/>
                      <a:gd name="T21" fmla="*/ 42 h 71"/>
                      <a:gd name="T22" fmla="*/ 7 w 54"/>
                      <a:gd name="T23" fmla="*/ 43 h 71"/>
                      <a:gd name="T24" fmla="*/ 8 w 54"/>
                      <a:gd name="T25" fmla="*/ 70 h 71"/>
                      <a:gd name="T26" fmla="*/ 13 w 54"/>
                      <a:gd name="T27" fmla="*/ 71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54" h="71">
                        <a:moveTo>
                          <a:pt x="13" y="71"/>
                        </a:moveTo>
                        <a:cubicBezTo>
                          <a:pt x="17" y="71"/>
                          <a:pt x="25" y="71"/>
                          <a:pt x="31" y="70"/>
                        </a:cubicBezTo>
                        <a:cubicBezTo>
                          <a:pt x="40" y="69"/>
                          <a:pt x="41" y="61"/>
                          <a:pt x="41" y="61"/>
                        </a:cubicBezTo>
                        <a:cubicBezTo>
                          <a:pt x="45" y="46"/>
                          <a:pt x="45" y="46"/>
                          <a:pt x="45" y="46"/>
                        </a:cubicBezTo>
                        <a:cubicBezTo>
                          <a:pt x="45" y="46"/>
                          <a:pt x="48" y="44"/>
                          <a:pt x="51" y="41"/>
                        </a:cubicBezTo>
                        <a:cubicBezTo>
                          <a:pt x="52" y="40"/>
                          <a:pt x="54" y="34"/>
                          <a:pt x="47" y="32"/>
                        </a:cubicBezTo>
                        <a:cubicBezTo>
                          <a:pt x="37" y="28"/>
                          <a:pt x="44" y="3"/>
                          <a:pt x="44" y="3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18" y="7"/>
                          <a:pt x="18" y="7"/>
                          <a:pt x="18" y="7"/>
                        </a:cubicBezTo>
                        <a:cubicBezTo>
                          <a:pt x="0" y="40"/>
                          <a:pt x="0" y="40"/>
                          <a:pt x="0" y="40"/>
                        </a:cubicBezTo>
                        <a:cubicBezTo>
                          <a:pt x="0" y="40"/>
                          <a:pt x="1" y="42"/>
                          <a:pt x="3" y="42"/>
                        </a:cubicBezTo>
                        <a:cubicBezTo>
                          <a:pt x="6" y="42"/>
                          <a:pt x="7" y="43"/>
                          <a:pt x="7" y="43"/>
                        </a:cubicBezTo>
                        <a:cubicBezTo>
                          <a:pt x="7" y="43"/>
                          <a:pt x="8" y="69"/>
                          <a:pt x="8" y="70"/>
                        </a:cubicBezTo>
                        <a:cubicBezTo>
                          <a:pt x="9" y="71"/>
                          <a:pt x="10" y="71"/>
                          <a:pt x="13" y="71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8" name="Freeform 228">
                    <a:extLst>
                      <a:ext uri="{FF2B5EF4-FFF2-40B4-BE49-F238E27FC236}">
                        <a16:creationId xmlns:a16="http://schemas.microsoft.com/office/drawing/2014/main" id="{2629727D-385D-62CB-5358-86B461590EB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5588" y="2849563"/>
                    <a:ext cx="20638" cy="7938"/>
                  </a:xfrm>
                  <a:custGeom>
                    <a:avLst/>
                    <a:gdLst>
                      <a:gd name="T0" fmla="*/ 1 w 11"/>
                      <a:gd name="T1" fmla="*/ 3 h 5"/>
                      <a:gd name="T2" fmla="*/ 3 w 11"/>
                      <a:gd name="T3" fmla="*/ 5 h 5"/>
                      <a:gd name="T4" fmla="*/ 10 w 11"/>
                      <a:gd name="T5" fmla="*/ 5 h 5"/>
                      <a:gd name="T6" fmla="*/ 2 w 11"/>
                      <a:gd name="T7" fmla="*/ 1 h 5"/>
                      <a:gd name="T8" fmla="*/ 1 w 11"/>
                      <a:gd name="T9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" h="5">
                        <a:moveTo>
                          <a:pt x="1" y="3"/>
                        </a:moveTo>
                        <a:cubicBezTo>
                          <a:pt x="1" y="5"/>
                          <a:pt x="1" y="5"/>
                          <a:pt x="3" y="5"/>
                        </a:cubicBezTo>
                        <a:cubicBezTo>
                          <a:pt x="5" y="5"/>
                          <a:pt x="8" y="5"/>
                          <a:pt x="10" y="5"/>
                        </a:cubicBezTo>
                        <a:cubicBezTo>
                          <a:pt x="11" y="5"/>
                          <a:pt x="7" y="3"/>
                          <a:pt x="2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9" name="Freeform 229">
                    <a:extLst>
                      <a:ext uri="{FF2B5EF4-FFF2-40B4-BE49-F238E27FC236}">
                        <a16:creationId xmlns:a16="http://schemas.microsoft.com/office/drawing/2014/main" id="{85728CF2-4ABE-DBFA-CB22-CE97FD09DCC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2263" y="2951163"/>
                    <a:ext cx="44450" cy="104775"/>
                  </a:xfrm>
                  <a:custGeom>
                    <a:avLst/>
                    <a:gdLst>
                      <a:gd name="T0" fmla="*/ 24 w 24"/>
                      <a:gd name="T1" fmla="*/ 57 h 57"/>
                      <a:gd name="T2" fmla="*/ 22 w 24"/>
                      <a:gd name="T3" fmla="*/ 0 h 57"/>
                      <a:gd name="T4" fmla="*/ 0 w 24"/>
                      <a:gd name="T5" fmla="*/ 8 h 57"/>
                      <a:gd name="T6" fmla="*/ 24 w 24"/>
                      <a:gd name="T7" fmla="*/ 57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4" h="57">
                        <a:moveTo>
                          <a:pt x="24" y="57"/>
                        </a:moveTo>
                        <a:cubicBezTo>
                          <a:pt x="24" y="57"/>
                          <a:pt x="8" y="28"/>
                          <a:pt x="22" y="0"/>
                        </a:cubicBezTo>
                        <a:cubicBezTo>
                          <a:pt x="17" y="5"/>
                          <a:pt x="6" y="6"/>
                          <a:pt x="0" y="8"/>
                        </a:cubicBezTo>
                        <a:cubicBezTo>
                          <a:pt x="0" y="32"/>
                          <a:pt x="24" y="57"/>
                          <a:pt x="24" y="57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0" name="Freeform 230">
                    <a:extLst>
                      <a:ext uri="{FF2B5EF4-FFF2-40B4-BE49-F238E27FC236}">
                        <a16:creationId xmlns:a16="http://schemas.microsoft.com/office/drawing/2014/main" id="{99B2ABD5-9386-D7B9-8EA5-E11E0ABAF17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72688" y="2957513"/>
                    <a:ext cx="188913" cy="74613"/>
                  </a:xfrm>
                  <a:custGeom>
                    <a:avLst/>
                    <a:gdLst>
                      <a:gd name="T0" fmla="*/ 94 w 119"/>
                      <a:gd name="T1" fmla="*/ 47 h 47"/>
                      <a:gd name="T2" fmla="*/ 0 w 119"/>
                      <a:gd name="T3" fmla="*/ 12 h 47"/>
                      <a:gd name="T4" fmla="*/ 2 w 119"/>
                      <a:gd name="T5" fmla="*/ 0 h 47"/>
                      <a:gd name="T6" fmla="*/ 119 w 119"/>
                      <a:gd name="T7" fmla="*/ 23 h 47"/>
                      <a:gd name="T8" fmla="*/ 94 w 119"/>
                      <a:gd name="T9" fmla="*/ 47 h 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9" h="47">
                        <a:moveTo>
                          <a:pt x="94" y="47"/>
                        </a:moveTo>
                        <a:lnTo>
                          <a:pt x="0" y="12"/>
                        </a:lnTo>
                        <a:lnTo>
                          <a:pt x="2" y="0"/>
                        </a:lnTo>
                        <a:lnTo>
                          <a:pt x="119" y="23"/>
                        </a:lnTo>
                        <a:lnTo>
                          <a:pt x="94" y="47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1" name="Freeform 231">
                    <a:extLst>
                      <a:ext uri="{FF2B5EF4-FFF2-40B4-BE49-F238E27FC236}">
                        <a16:creationId xmlns:a16="http://schemas.microsoft.com/office/drawing/2014/main" id="{31FFC197-A762-55EA-F208-EB8701B7059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15563" y="2954338"/>
                    <a:ext cx="434975" cy="128588"/>
                  </a:xfrm>
                  <a:custGeom>
                    <a:avLst/>
                    <a:gdLst>
                      <a:gd name="T0" fmla="*/ 2 w 235"/>
                      <a:gd name="T1" fmla="*/ 16 h 69"/>
                      <a:gd name="T2" fmla="*/ 82 w 235"/>
                      <a:gd name="T3" fmla="*/ 33 h 69"/>
                      <a:gd name="T4" fmla="*/ 201 w 235"/>
                      <a:gd name="T5" fmla="*/ 0 h 69"/>
                      <a:gd name="T6" fmla="*/ 235 w 235"/>
                      <a:gd name="T7" fmla="*/ 35 h 69"/>
                      <a:gd name="T8" fmla="*/ 120 w 235"/>
                      <a:gd name="T9" fmla="*/ 65 h 69"/>
                      <a:gd name="T10" fmla="*/ 59 w 235"/>
                      <a:gd name="T11" fmla="*/ 61 h 69"/>
                      <a:gd name="T12" fmla="*/ 0 w 235"/>
                      <a:gd name="T13" fmla="*/ 42 h 69"/>
                      <a:gd name="T14" fmla="*/ 2 w 235"/>
                      <a:gd name="T15" fmla="*/ 16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35" h="69">
                        <a:moveTo>
                          <a:pt x="2" y="16"/>
                        </a:moveTo>
                        <a:cubicBezTo>
                          <a:pt x="82" y="33"/>
                          <a:pt x="82" y="33"/>
                          <a:pt x="82" y="33"/>
                        </a:cubicBezTo>
                        <a:cubicBezTo>
                          <a:pt x="201" y="0"/>
                          <a:pt x="201" y="0"/>
                          <a:pt x="201" y="0"/>
                        </a:cubicBezTo>
                        <a:cubicBezTo>
                          <a:pt x="235" y="35"/>
                          <a:pt x="235" y="35"/>
                          <a:pt x="235" y="35"/>
                        </a:cubicBezTo>
                        <a:cubicBezTo>
                          <a:pt x="235" y="35"/>
                          <a:pt x="132" y="62"/>
                          <a:pt x="120" y="65"/>
                        </a:cubicBezTo>
                        <a:cubicBezTo>
                          <a:pt x="108" y="67"/>
                          <a:pt x="84" y="69"/>
                          <a:pt x="59" y="61"/>
                        </a:cubicBezTo>
                        <a:cubicBezTo>
                          <a:pt x="42" y="56"/>
                          <a:pt x="24" y="50"/>
                          <a:pt x="0" y="42"/>
                        </a:cubicBezTo>
                        <a:lnTo>
                          <a:pt x="2" y="16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2" name="Freeform 232">
                    <a:extLst>
                      <a:ext uri="{FF2B5EF4-FFF2-40B4-BE49-F238E27FC236}">
                        <a16:creationId xmlns:a16="http://schemas.microsoft.com/office/drawing/2014/main" id="{7CBAA571-FE3E-3132-EDCB-D1AF9B6E0B6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3525" y="2782888"/>
                    <a:ext cx="134938" cy="225425"/>
                  </a:xfrm>
                  <a:custGeom>
                    <a:avLst/>
                    <a:gdLst>
                      <a:gd name="T0" fmla="*/ 52 w 73"/>
                      <a:gd name="T1" fmla="*/ 19 h 122"/>
                      <a:gd name="T2" fmla="*/ 0 w 73"/>
                      <a:gd name="T3" fmla="*/ 9 h 122"/>
                      <a:gd name="T4" fmla="*/ 2 w 73"/>
                      <a:gd name="T5" fmla="*/ 17 h 122"/>
                      <a:gd name="T6" fmla="*/ 19 w 73"/>
                      <a:gd name="T7" fmla="*/ 56 h 122"/>
                      <a:gd name="T8" fmla="*/ 6 w 73"/>
                      <a:gd name="T9" fmla="*/ 107 h 122"/>
                      <a:gd name="T10" fmla="*/ 70 w 73"/>
                      <a:gd name="T11" fmla="*/ 76 h 122"/>
                      <a:gd name="T12" fmla="*/ 52 w 73"/>
                      <a:gd name="T13" fmla="*/ 19 h 1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3" h="122">
                        <a:moveTo>
                          <a:pt x="52" y="19"/>
                        </a:moveTo>
                        <a:cubicBezTo>
                          <a:pt x="17" y="1"/>
                          <a:pt x="4" y="0"/>
                          <a:pt x="0" y="9"/>
                        </a:cubicBezTo>
                        <a:cubicBezTo>
                          <a:pt x="0" y="11"/>
                          <a:pt x="0" y="15"/>
                          <a:pt x="2" y="17"/>
                        </a:cubicBezTo>
                        <a:cubicBezTo>
                          <a:pt x="12" y="17"/>
                          <a:pt x="19" y="36"/>
                          <a:pt x="19" y="56"/>
                        </a:cubicBezTo>
                        <a:cubicBezTo>
                          <a:pt x="17" y="75"/>
                          <a:pt x="16" y="102"/>
                          <a:pt x="6" y="107"/>
                        </a:cubicBezTo>
                        <a:cubicBezTo>
                          <a:pt x="34" y="117"/>
                          <a:pt x="73" y="122"/>
                          <a:pt x="70" y="76"/>
                        </a:cubicBezTo>
                        <a:cubicBezTo>
                          <a:pt x="70" y="62"/>
                          <a:pt x="55" y="24"/>
                          <a:pt x="52" y="19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3" name="Freeform 233">
                    <a:extLst>
                      <a:ext uri="{FF2B5EF4-FFF2-40B4-BE49-F238E27FC236}">
                        <a16:creationId xmlns:a16="http://schemas.microsoft.com/office/drawing/2014/main" id="{DBA618D6-35A8-93A9-EF3A-44E3DC9004B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8613" y="3302000"/>
                    <a:ext cx="563563" cy="241300"/>
                  </a:xfrm>
                  <a:custGeom>
                    <a:avLst/>
                    <a:gdLst>
                      <a:gd name="T0" fmla="*/ 267 w 304"/>
                      <a:gd name="T1" fmla="*/ 0 h 130"/>
                      <a:gd name="T2" fmla="*/ 304 w 304"/>
                      <a:gd name="T3" fmla="*/ 118 h 130"/>
                      <a:gd name="T4" fmla="*/ 26 w 304"/>
                      <a:gd name="T5" fmla="*/ 54 h 130"/>
                      <a:gd name="T6" fmla="*/ 1 w 304"/>
                      <a:gd name="T7" fmla="*/ 1 h 130"/>
                      <a:gd name="T8" fmla="*/ 267 w 304"/>
                      <a:gd name="T9" fmla="*/ 0 h 1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4" h="130">
                        <a:moveTo>
                          <a:pt x="267" y="0"/>
                        </a:moveTo>
                        <a:cubicBezTo>
                          <a:pt x="295" y="26"/>
                          <a:pt x="269" y="75"/>
                          <a:pt x="304" y="118"/>
                        </a:cubicBezTo>
                        <a:cubicBezTo>
                          <a:pt x="264" y="130"/>
                          <a:pt x="87" y="102"/>
                          <a:pt x="26" y="54"/>
                        </a:cubicBezTo>
                        <a:cubicBezTo>
                          <a:pt x="0" y="33"/>
                          <a:pt x="1" y="1"/>
                          <a:pt x="1" y="1"/>
                        </a:cubicBezTo>
                        <a:cubicBezTo>
                          <a:pt x="1" y="1"/>
                          <a:pt x="229" y="1"/>
                          <a:pt x="267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4" name="Freeform 234">
                    <a:extLst>
                      <a:ext uri="{FF2B5EF4-FFF2-40B4-BE49-F238E27FC236}">
                        <a16:creationId xmlns:a16="http://schemas.microsoft.com/office/drawing/2014/main" id="{45B5CDA3-9DB0-3282-E06B-D99D511F47A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01250" y="2922588"/>
                    <a:ext cx="79375" cy="60325"/>
                  </a:xfrm>
                  <a:custGeom>
                    <a:avLst/>
                    <a:gdLst>
                      <a:gd name="T0" fmla="*/ 43 w 43"/>
                      <a:gd name="T1" fmla="*/ 20 h 32"/>
                      <a:gd name="T2" fmla="*/ 34 w 43"/>
                      <a:gd name="T3" fmla="*/ 16 h 32"/>
                      <a:gd name="T4" fmla="*/ 26 w 43"/>
                      <a:gd name="T5" fmla="*/ 10 h 32"/>
                      <a:gd name="T6" fmla="*/ 23 w 43"/>
                      <a:gd name="T7" fmla="*/ 7 h 32"/>
                      <a:gd name="T8" fmla="*/ 6 w 43"/>
                      <a:gd name="T9" fmla="*/ 0 h 32"/>
                      <a:gd name="T10" fmla="*/ 7 w 43"/>
                      <a:gd name="T11" fmla="*/ 4 h 32"/>
                      <a:gd name="T12" fmla="*/ 15 w 43"/>
                      <a:gd name="T13" fmla="*/ 9 h 32"/>
                      <a:gd name="T14" fmla="*/ 0 w 43"/>
                      <a:gd name="T15" fmla="*/ 13 h 32"/>
                      <a:gd name="T16" fmla="*/ 2 w 43"/>
                      <a:gd name="T17" fmla="*/ 16 h 32"/>
                      <a:gd name="T18" fmla="*/ 12 w 43"/>
                      <a:gd name="T19" fmla="*/ 15 h 32"/>
                      <a:gd name="T20" fmla="*/ 27 w 43"/>
                      <a:gd name="T21" fmla="*/ 27 h 32"/>
                      <a:gd name="T22" fmla="*/ 24 w 43"/>
                      <a:gd name="T23" fmla="*/ 28 h 32"/>
                      <a:gd name="T24" fmla="*/ 27 w 43"/>
                      <a:gd name="T25" fmla="*/ 32 h 32"/>
                      <a:gd name="T26" fmla="*/ 42 w 43"/>
                      <a:gd name="T27" fmla="*/ 30 h 32"/>
                      <a:gd name="T28" fmla="*/ 43 w 43"/>
                      <a:gd name="T29" fmla="*/ 20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3" h="32">
                        <a:moveTo>
                          <a:pt x="43" y="20"/>
                        </a:moveTo>
                        <a:cubicBezTo>
                          <a:pt x="43" y="20"/>
                          <a:pt x="38" y="18"/>
                          <a:pt x="34" y="16"/>
                        </a:cubicBezTo>
                        <a:cubicBezTo>
                          <a:pt x="30" y="13"/>
                          <a:pt x="26" y="10"/>
                          <a:pt x="26" y="10"/>
                        </a:cubicBezTo>
                        <a:cubicBezTo>
                          <a:pt x="26" y="10"/>
                          <a:pt x="24" y="8"/>
                          <a:pt x="23" y="7"/>
                        </a:cubicBezTo>
                        <a:cubicBezTo>
                          <a:pt x="22" y="7"/>
                          <a:pt x="13" y="3"/>
                          <a:pt x="6" y="0"/>
                        </a:cubicBezTo>
                        <a:cubicBezTo>
                          <a:pt x="5" y="0"/>
                          <a:pt x="6" y="3"/>
                          <a:pt x="7" y="4"/>
                        </a:cubicBezTo>
                        <a:cubicBezTo>
                          <a:pt x="8" y="5"/>
                          <a:pt x="15" y="9"/>
                          <a:pt x="15" y="9"/>
                        </a:cubicBezTo>
                        <a:cubicBezTo>
                          <a:pt x="15" y="9"/>
                          <a:pt x="3" y="12"/>
                          <a:pt x="0" y="13"/>
                        </a:cubicBezTo>
                        <a:cubicBezTo>
                          <a:pt x="0" y="13"/>
                          <a:pt x="1" y="15"/>
                          <a:pt x="2" y="16"/>
                        </a:cubicBezTo>
                        <a:cubicBezTo>
                          <a:pt x="4" y="16"/>
                          <a:pt x="12" y="15"/>
                          <a:pt x="12" y="15"/>
                        </a:cubicBezTo>
                        <a:cubicBezTo>
                          <a:pt x="27" y="27"/>
                          <a:pt x="27" y="27"/>
                          <a:pt x="27" y="27"/>
                        </a:cubicBezTo>
                        <a:cubicBezTo>
                          <a:pt x="24" y="28"/>
                          <a:pt x="24" y="28"/>
                          <a:pt x="24" y="28"/>
                        </a:cubicBezTo>
                        <a:cubicBezTo>
                          <a:pt x="27" y="32"/>
                          <a:pt x="27" y="32"/>
                          <a:pt x="27" y="32"/>
                        </a:cubicBezTo>
                        <a:cubicBezTo>
                          <a:pt x="27" y="32"/>
                          <a:pt x="33" y="32"/>
                          <a:pt x="42" y="30"/>
                        </a:cubicBezTo>
                        <a:lnTo>
                          <a:pt x="43" y="2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87" name="Freeform 180">
                  <a:extLst>
                    <a:ext uri="{FF2B5EF4-FFF2-40B4-BE49-F238E27FC236}">
                      <a16:creationId xmlns:a16="http://schemas.microsoft.com/office/drawing/2014/main" id="{0F42A68B-4074-AE14-64D5-A687D90C14E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532353" y="4827346"/>
                  <a:ext cx="357122" cy="260510"/>
                </a:xfrm>
                <a:custGeom>
                  <a:avLst/>
                  <a:gdLst>
                    <a:gd name="T0" fmla="*/ 308 w 354"/>
                    <a:gd name="T1" fmla="*/ 0 h 259"/>
                    <a:gd name="T2" fmla="*/ 300 w 354"/>
                    <a:gd name="T3" fmla="*/ 0 h 259"/>
                    <a:gd name="T4" fmla="*/ 300 w 354"/>
                    <a:gd name="T5" fmla="*/ 14 h 259"/>
                    <a:gd name="T6" fmla="*/ 283 w 354"/>
                    <a:gd name="T7" fmla="*/ 0 h 259"/>
                    <a:gd name="T8" fmla="*/ 283 w 354"/>
                    <a:gd name="T9" fmla="*/ 0 h 259"/>
                    <a:gd name="T10" fmla="*/ 261 w 354"/>
                    <a:gd name="T11" fmla="*/ 0 h 259"/>
                    <a:gd name="T12" fmla="*/ 262 w 354"/>
                    <a:gd name="T13" fmla="*/ 6 h 259"/>
                    <a:gd name="T14" fmla="*/ 277 w 354"/>
                    <a:gd name="T15" fmla="*/ 12 h 259"/>
                    <a:gd name="T16" fmla="*/ 295 w 354"/>
                    <a:gd name="T17" fmla="*/ 36 h 259"/>
                    <a:gd name="T18" fmla="*/ 292 w 354"/>
                    <a:gd name="T19" fmla="*/ 237 h 259"/>
                    <a:gd name="T20" fmla="*/ 182 w 354"/>
                    <a:gd name="T21" fmla="*/ 111 h 259"/>
                    <a:gd name="T22" fmla="*/ 133 w 354"/>
                    <a:gd name="T23" fmla="*/ 84 h 259"/>
                    <a:gd name="T24" fmla="*/ 84 w 354"/>
                    <a:gd name="T25" fmla="*/ 117 h 259"/>
                    <a:gd name="T26" fmla="*/ 0 w 354"/>
                    <a:gd name="T27" fmla="*/ 259 h 259"/>
                    <a:gd name="T28" fmla="*/ 140 w 354"/>
                    <a:gd name="T29" fmla="*/ 259 h 259"/>
                    <a:gd name="T30" fmla="*/ 147 w 354"/>
                    <a:gd name="T31" fmla="*/ 188 h 259"/>
                    <a:gd name="T32" fmla="*/ 230 w 354"/>
                    <a:gd name="T33" fmla="*/ 259 h 259"/>
                    <a:gd name="T34" fmla="*/ 354 w 354"/>
                    <a:gd name="T35" fmla="*/ 259 h 259"/>
                    <a:gd name="T36" fmla="*/ 312 w 354"/>
                    <a:gd name="T37" fmla="*/ 35 h 259"/>
                    <a:gd name="T38" fmla="*/ 312 w 354"/>
                    <a:gd name="T39" fmla="*/ 24 h 259"/>
                    <a:gd name="T40" fmla="*/ 308 w 354"/>
                    <a:gd name="T41" fmla="*/ 0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4" h="259">
                      <a:moveTo>
                        <a:pt x="308" y="0"/>
                      </a:moveTo>
                      <a:cubicBezTo>
                        <a:pt x="300" y="0"/>
                        <a:pt x="300" y="0"/>
                        <a:pt x="300" y="0"/>
                      </a:cubicBezTo>
                      <a:cubicBezTo>
                        <a:pt x="300" y="14"/>
                        <a:pt x="300" y="14"/>
                        <a:pt x="300" y="14"/>
                      </a:cubicBezTo>
                      <a:cubicBezTo>
                        <a:pt x="300" y="14"/>
                        <a:pt x="288" y="0"/>
                        <a:pt x="283" y="0"/>
                      </a:cubicBezTo>
                      <a:cubicBezTo>
                        <a:pt x="283" y="0"/>
                        <a:pt x="283" y="0"/>
                        <a:pt x="283" y="0"/>
                      </a:cubicBezTo>
                      <a:cubicBezTo>
                        <a:pt x="279" y="0"/>
                        <a:pt x="261" y="0"/>
                        <a:pt x="261" y="0"/>
                      </a:cubicBezTo>
                      <a:cubicBezTo>
                        <a:pt x="261" y="0"/>
                        <a:pt x="258" y="5"/>
                        <a:pt x="262" y="6"/>
                      </a:cubicBezTo>
                      <a:cubicBezTo>
                        <a:pt x="263" y="6"/>
                        <a:pt x="273" y="10"/>
                        <a:pt x="277" y="12"/>
                      </a:cubicBezTo>
                      <a:cubicBezTo>
                        <a:pt x="295" y="36"/>
                        <a:pt x="295" y="36"/>
                        <a:pt x="295" y="36"/>
                      </a:cubicBezTo>
                      <a:cubicBezTo>
                        <a:pt x="292" y="237"/>
                        <a:pt x="292" y="237"/>
                        <a:pt x="292" y="237"/>
                      </a:cubicBezTo>
                      <a:cubicBezTo>
                        <a:pt x="241" y="180"/>
                        <a:pt x="189" y="121"/>
                        <a:pt x="182" y="111"/>
                      </a:cubicBezTo>
                      <a:cubicBezTo>
                        <a:pt x="174" y="99"/>
                        <a:pt x="155" y="84"/>
                        <a:pt x="133" y="84"/>
                      </a:cubicBezTo>
                      <a:cubicBezTo>
                        <a:pt x="117" y="84"/>
                        <a:pt x="99" y="93"/>
                        <a:pt x="84" y="117"/>
                      </a:cubicBezTo>
                      <a:cubicBezTo>
                        <a:pt x="61" y="155"/>
                        <a:pt x="26" y="213"/>
                        <a:pt x="0" y="259"/>
                      </a:cubicBezTo>
                      <a:cubicBezTo>
                        <a:pt x="140" y="259"/>
                        <a:pt x="140" y="259"/>
                        <a:pt x="140" y="259"/>
                      </a:cubicBezTo>
                      <a:cubicBezTo>
                        <a:pt x="144" y="231"/>
                        <a:pt x="146" y="205"/>
                        <a:pt x="147" y="188"/>
                      </a:cubicBezTo>
                      <a:cubicBezTo>
                        <a:pt x="230" y="259"/>
                        <a:pt x="230" y="259"/>
                        <a:pt x="230" y="259"/>
                      </a:cubicBezTo>
                      <a:cubicBezTo>
                        <a:pt x="354" y="259"/>
                        <a:pt x="354" y="259"/>
                        <a:pt x="354" y="259"/>
                      </a:cubicBezTo>
                      <a:cubicBezTo>
                        <a:pt x="345" y="166"/>
                        <a:pt x="312" y="35"/>
                        <a:pt x="312" y="35"/>
                      </a:cubicBezTo>
                      <a:cubicBezTo>
                        <a:pt x="312" y="35"/>
                        <a:pt x="313" y="29"/>
                        <a:pt x="312" y="24"/>
                      </a:cubicBezTo>
                      <a:cubicBezTo>
                        <a:pt x="310" y="13"/>
                        <a:pt x="308" y="0"/>
                        <a:pt x="308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44" name="Group 5">
                <a:extLst>
                  <a:ext uri="{FF2B5EF4-FFF2-40B4-BE49-F238E27FC236}">
                    <a16:creationId xmlns:a16="http://schemas.microsoft.com/office/drawing/2014/main" id="{9157999B-5FC4-D4C5-FA8C-3F8A98E15C27}"/>
                  </a:ext>
                </a:extLst>
              </p:cNvPr>
              <p:cNvGrpSpPr/>
              <p:nvPr/>
            </p:nvGrpSpPr>
            <p:grpSpPr>
              <a:xfrm>
                <a:off x="3081113" y="3935198"/>
                <a:ext cx="1695948" cy="1162398"/>
                <a:chOff x="3081113" y="3935198"/>
                <a:chExt cx="1695948" cy="1162398"/>
              </a:xfrm>
            </p:grpSpPr>
            <p:grpSp>
              <p:nvGrpSpPr>
                <p:cNvPr id="45" name="Group 1051">
                  <a:extLst>
                    <a:ext uri="{FF2B5EF4-FFF2-40B4-BE49-F238E27FC236}">
                      <a16:creationId xmlns:a16="http://schemas.microsoft.com/office/drawing/2014/main" id="{CC601EBD-9F5F-ECB9-C335-9944B56D0E34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096850" y="3935198"/>
                  <a:ext cx="947456" cy="851698"/>
                  <a:chOff x="6978651" y="4723607"/>
                  <a:chExt cx="1931987" cy="1736725"/>
                </a:xfrm>
              </p:grpSpPr>
              <p:sp>
                <p:nvSpPr>
                  <p:cNvPr id="71" name="Freeform 280">
                    <a:extLst>
                      <a:ext uri="{FF2B5EF4-FFF2-40B4-BE49-F238E27FC236}">
                        <a16:creationId xmlns:a16="http://schemas.microsoft.com/office/drawing/2014/main" id="{279C4FED-A8C0-3DF3-15A0-2BE6B2142CD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075488" y="5322095"/>
                    <a:ext cx="139700" cy="82550"/>
                  </a:xfrm>
                  <a:custGeom>
                    <a:avLst/>
                    <a:gdLst>
                      <a:gd name="T0" fmla="*/ 71 w 71"/>
                      <a:gd name="T1" fmla="*/ 40 h 42"/>
                      <a:gd name="T2" fmla="*/ 60 w 71"/>
                      <a:gd name="T3" fmla="*/ 42 h 42"/>
                      <a:gd name="T4" fmla="*/ 47 w 71"/>
                      <a:gd name="T5" fmla="*/ 39 h 42"/>
                      <a:gd name="T6" fmla="*/ 42 w 71"/>
                      <a:gd name="T7" fmla="*/ 33 h 42"/>
                      <a:gd name="T8" fmla="*/ 45 w 71"/>
                      <a:gd name="T9" fmla="*/ 31 h 42"/>
                      <a:gd name="T10" fmla="*/ 19 w 71"/>
                      <a:gd name="T11" fmla="*/ 13 h 42"/>
                      <a:gd name="T12" fmla="*/ 4 w 71"/>
                      <a:gd name="T13" fmla="*/ 14 h 42"/>
                      <a:gd name="T14" fmla="*/ 1 w 71"/>
                      <a:gd name="T15" fmla="*/ 11 h 42"/>
                      <a:gd name="T16" fmla="*/ 21 w 71"/>
                      <a:gd name="T17" fmla="*/ 5 h 42"/>
                      <a:gd name="T18" fmla="*/ 35 w 71"/>
                      <a:gd name="T19" fmla="*/ 2 h 42"/>
                      <a:gd name="T20" fmla="*/ 40 w 71"/>
                      <a:gd name="T21" fmla="*/ 6 h 42"/>
                      <a:gd name="T22" fmla="*/ 68 w 71"/>
                      <a:gd name="T23" fmla="*/ 21 h 42"/>
                      <a:gd name="T24" fmla="*/ 71 w 71"/>
                      <a:gd name="T25" fmla="*/ 40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71" h="42">
                        <a:moveTo>
                          <a:pt x="71" y="40"/>
                        </a:moveTo>
                        <a:cubicBezTo>
                          <a:pt x="71" y="40"/>
                          <a:pt x="63" y="42"/>
                          <a:pt x="60" y="42"/>
                        </a:cubicBezTo>
                        <a:cubicBezTo>
                          <a:pt x="49" y="42"/>
                          <a:pt x="47" y="39"/>
                          <a:pt x="47" y="39"/>
                        </a:cubicBezTo>
                        <a:cubicBezTo>
                          <a:pt x="42" y="33"/>
                          <a:pt x="42" y="33"/>
                          <a:pt x="42" y="33"/>
                        </a:cubicBezTo>
                        <a:cubicBezTo>
                          <a:pt x="45" y="31"/>
                          <a:pt x="45" y="31"/>
                          <a:pt x="45" y="31"/>
                        </a:cubicBezTo>
                        <a:cubicBezTo>
                          <a:pt x="19" y="13"/>
                          <a:pt x="19" y="13"/>
                          <a:pt x="19" y="13"/>
                        </a:cubicBezTo>
                        <a:cubicBezTo>
                          <a:pt x="19" y="13"/>
                          <a:pt x="6" y="15"/>
                          <a:pt x="4" y="14"/>
                        </a:cubicBezTo>
                        <a:cubicBezTo>
                          <a:pt x="2" y="14"/>
                          <a:pt x="0" y="11"/>
                          <a:pt x="1" y="11"/>
                        </a:cubicBezTo>
                        <a:cubicBezTo>
                          <a:pt x="5" y="9"/>
                          <a:pt x="21" y="5"/>
                          <a:pt x="21" y="5"/>
                        </a:cubicBezTo>
                        <a:cubicBezTo>
                          <a:pt x="21" y="5"/>
                          <a:pt x="32" y="0"/>
                          <a:pt x="35" y="2"/>
                        </a:cubicBezTo>
                        <a:cubicBezTo>
                          <a:pt x="38" y="3"/>
                          <a:pt x="40" y="6"/>
                          <a:pt x="40" y="6"/>
                        </a:cubicBezTo>
                        <a:cubicBezTo>
                          <a:pt x="68" y="21"/>
                          <a:pt x="68" y="21"/>
                          <a:pt x="68" y="21"/>
                        </a:cubicBezTo>
                        <a:lnTo>
                          <a:pt x="71" y="4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2" name="Freeform 281">
                    <a:extLst>
                      <a:ext uri="{FF2B5EF4-FFF2-40B4-BE49-F238E27FC236}">
                        <a16:creationId xmlns:a16="http://schemas.microsoft.com/office/drawing/2014/main" id="{9C86D9C2-99DF-E1B1-5658-235CE192D42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978651" y="4955382"/>
                    <a:ext cx="785813" cy="319088"/>
                  </a:xfrm>
                  <a:custGeom>
                    <a:avLst/>
                    <a:gdLst>
                      <a:gd name="T0" fmla="*/ 400 w 400"/>
                      <a:gd name="T1" fmla="*/ 96 h 163"/>
                      <a:gd name="T2" fmla="*/ 199 w 400"/>
                      <a:gd name="T3" fmla="*/ 146 h 163"/>
                      <a:gd name="T4" fmla="*/ 21 w 400"/>
                      <a:gd name="T5" fmla="*/ 163 h 163"/>
                      <a:gd name="T6" fmla="*/ 0 w 400"/>
                      <a:gd name="T7" fmla="*/ 142 h 163"/>
                      <a:gd name="T8" fmla="*/ 188 w 400"/>
                      <a:gd name="T9" fmla="*/ 100 h 163"/>
                      <a:gd name="T10" fmla="*/ 342 w 400"/>
                      <a:gd name="T11" fmla="*/ 0 h 163"/>
                      <a:gd name="T12" fmla="*/ 400 w 400"/>
                      <a:gd name="T13" fmla="*/ 96 h 1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00" h="163">
                        <a:moveTo>
                          <a:pt x="400" y="96"/>
                        </a:moveTo>
                        <a:cubicBezTo>
                          <a:pt x="400" y="96"/>
                          <a:pt x="268" y="137"/>
                          <a:pt x="199" y="146"/>
                        </a:cubicBezTo>
                        <a:cubicBezTo>
                          <a:pt x="130" y="154"/>
                          <a:pt x="21" y="163"/>
                          <a:pt x="21" y="163"/>
                        </a:cubicBezTo>
                        <a:cubicBezTo>
                          <a:pt x="21" y="163"/>
                          <a:pt x="0" y="151"/>
                          <a:pt x="0" y="142"/>
                        </a:cubicBezTo>
                        <a:cubicBezTo>
                          <a:pt x="59" y="127"/>
                          <a:pt x="141" y="104"/>
                          <a:pt x="188" y="100"/>
                        </a:cubicBezTo>
                        <a:cubicBezTo>
                          <a:pt x="246" y="73"/>
                          <a:pt x="342" y="0"/>
                          <a:pt x="342" y="0"/>
                        </a:cubicBezTo>
                        <a:lnTo>
                          <a:pt x="400" y="96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" name="Freeform 282">
                    <a:extLst>
                      <a:ext uri="{FF2B5EF4-FFF2-40B4-BE49-F238E27FC236}">
                        <a16:creationId xmlns:a16="http://schemas.microsoft.com/office/drawing/2014/main" id="{37505783-349A-CD82-4E10-A97E8E81074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135938" y="5620545"/>
                    <a:ext cx="774700" cy="719138"/>
                  </a:xfrm>
                  <a:custGeom>
                    <a:avLst/>
                    <a:gdLst>
                      <a:gd name="T0" fmla="*/ 17 w 394"/>
                      <a:gd name="T1" fmla="*/ 40 h 367"/>
                      <a:gd name="T2" fmla="*/ 146 w 394"/>
                      <a:gd name="T3" fmla="*/ 44 h 367"/>
                      <a:gd name="T4" fmla="*/ 173 w 394"/>
                      <a:gd name="T5" fmla="*/ 241 h 367"/>
                      <a:gd name="T6" fmla="*/ 349 w 394"/>
                      <a:gd name="T7" fmla="*/ 73 h 367"/>
                      <a:gd name="T8" fmla="*/ 391 w 394"/>
                      <a:gd name="T9" fmla="*/ 85 h 367"/>
                      <a:gd name="T10" fmla="*/ 206 w 394"/>
                      <a:gd name="T11" fmla="*/ 317 h 367"/>
                      <a:gd name="T12" fmla="*/ 106 w 394"/>
                      <a:gd name="T13" fmla="*/ 306 h 367"/>
                      <a:gd name="T14" fmla="*/ 0 w 394"/>
                      <a:gd name="T15" fmla="*/ 104 h 367"/>
                      <a:gd name="T16" fmla="*/ 17 w 394"/>
                      <a:gd name="T17" fmla="*/ 40 h 3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394" h="367">
                        <a:moveTo>
                          <a:pt x="17" y="40"/>
                        </a:moveTo>
                        <a:cubicBezTo>
                          <a:pt x="17" y="40"/>
                          <a:pt x="130" y="0"/>
                          <a:pt x="146" y="44"/>
                        </a:cubicBezTo>
                        <a:cubicBezTo>
                          <a:pt x="163" y="91"/>
                          <a:pt x="172" y="182"/>
                          <a:pt x="173" y="241"/>
                        </a:cubicBezTo>
                        <a:cubicBezTo>
                          <a:pt x="349" y="73"/>
                          <a:pt x="349" y="73"/>
                          <a:pt x="349" y="73"/>
                        </a:cubicBezTo>
                        <a:cubicBezTo>
                          <a:pt x="349" y="73"/>
                          <a:pt x="394" y="80"/>
                          <a:pt x="391" y="85"/>
                        </a:cubicBezTo>
                        <a:cubicBezTo>
                          <a:pt x="342" y="150"/>
                          <a:pt x="218" y="300"/>
                          <a:pt x="206" y="317"/>
                        </a:cubicBezTo>
                        <a:cubicBezTo>
                          <a:pt x="191" y="337"/>
                          <a:pt x="140" y="367"/>
                          <a:pt x="106" y="306"/>
                        </a:cubicBezTo>
                        <a:cubicBezTo>
                          <a:pt x="72" y="246"/>
                          <a:pt x="20" y="143"/>
                          <a:pt x="0" y="104"/>
                        </a:cubicBezTo>
                        <a:cubicBezTo>
                          <a:pt x="151" y="97"/>
                          <a:pt x="17" y="40"/>
                          <a:pt x="17" y="4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" name="Freeform 283">
                    <a:extLst>
                      <a:ext uri="{FF2B5EF4-FFF2-40B4-BE49-F238E27FC236}">
                        <a16:creationId xmlns:a16="http://schemas.microsoft.com/office/drawing/2014/main" id="{2E228449-6997-6BD3-F934-DB088504EB7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6813" y="4979195"/>
                    <a:ext cx="476250" cy="577850"/>
                  </a:xfrm>
                  <a:custGeom>
                    <a:avLst/>
                    <a:gdLst>
                      <a:gd name="T0" fmla="*/ 242 w 242"/>
                      <a:gd name="T1" fmla="*/ 295 h 295"/>
                      <a:gd name="T2" fmla="*/ 171 w 242"/>
                      <a:gd name="T3" fmla="*/ 242 h 295"/>
                      <a:gd name="T4" fmla="*/ 64 w 242"/>
                      <a:gd name="T5" fmla="*/ 159 h 295"/>
                      <a:gd name="T6" fmla="*/ 35 w 242"/>
                      <a:gd name="T7" fmla="*/ 0 h 295"/>
                      <a:gd name="T8" fmla="*/ 242 w 242"/>
                      <a:gd name="T9" fmla="*/ 295 h 2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2" h="295">
                        <a:moveTo>
                          <a:pt x="242" y="295"/>
                        </a:moveTo>
                        <a:cubicBezTo>
                          <a:pt x="242" y="295"/>
                          <a:pt x="196" y="254"/>
                          <a:pt x="171" y="242"/>
                        </a:cubicBezTo>
                        <a:cubicBezTo>
                          <a:pt x="130" y="221"/>
                          <a:pt x="93" y="197"/>
                          <a:pt x="64" y="159"/>
                        </a:cubicBezTo>
                        <a:cubicBezTo>
                          <a:pt x="0" y="74"/>
                          <a:pt x="35" y="0"/>
                          <a:pt x="35" y="0"/>
                        </a:cubicBezTo>
                        <a:cubicBezTo>
                          <a:pt x="242" y="295"/>
                          <a:pt x="242" y="295"/>
                          <a:pt x="242" y="295"/>
                        </a:cubicBezTo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" name="Freeform 284">
                    <a:extLst>
                      <a:ext uri="{FF2B5EF4-FFF2-40B4-BE49-F238E27FC236}">
                        <a16:creationId xmlns:a16="http://schemas.microsoft.com/office/drawing/2014/main" id="{09B4639B-F5E9-E9E0-6A3C-FD2F1C7E82A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66026" y="4920457"/>
                    <a:ext cx="841375" cy="669925"/>
                  </a:xfrm>
                  <a:custGeom>
                    <a:avLst/>
                    <a:gdLst>
                      <a:gd name="T0" fmla="*/ 231 w 428"/>
                      <a:gd name="T1" fmla="*/ 342 h 342"/>
                      <a:gd name="T2" fmla="*/ 52 w 428"/>
                      <a:gd name="T3" fmla="*/ 161 h 342"/>
                      <a:gd name="T4" fmla="*/ 7 w 428"/>
                      <a:gd name="T5" fmla="*/ 36 h 342"/>
                      <a:gd name="T6" fmla="*/ 46 w 428"/>
                      <a:gd name="T7" fmla="*/ 0 h 342"/>
                      <a:gd name="T8" fmla="*/ 238 w 428"/>
                      <a:gd name="T9" fmla="*/ 76 h 342"/>
                      <a:gd name="T10" fmla="*/ 428 w 428"/>
                      <a:gd name="T11" fmla="*/ 295 h 342"/>
                      <a:gd name="T12" fmla="*/ 231 w 428"/>
                      <a:gd name="T13" fmla="*/ 342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28" h="342">
                        <a:moveTo>
                          <a:pt x="231" y="342"/>
                        </a:moveTo>
                        <a:cubicBezTo>
                          <a:pt x="231" y="342"/>
                          <a:pt x="137" y="240"/>
                          <a:pt x="52" y="161"/>
                        </a:cubicBezTo>
                        <a:cubicBezTo>
                          <a:pt x="0" y="114"/>
                          <a:pt x="7" y="36"/>
                          <a:pt x="7" y="36"/>
                        </a:cubicBezTo>
                        <a:cubicBezTo>
                          <a:pt x="7" y="36"/>
                          <a:pt x="26" y="6"/>
                          <a:pt x="46" y="0"/>
                        </a:cubicBezTo>
                        <a:cubicBezTo>
                          <a:pt x="83" y="5"/>
                          <a:pt x="171" y="13"/>
                          <a:pt x="238" y="76"/>
                        </a:cubicBezTo>
                        <a:cubicBezTo>
                          <a:pt x="333" y="166"/>
                          <a:pt x="428" y="295"/>
                          <a:pt x="428" y="295"/>
                        </a:cubicBezTo>
                        <a:cubicBezTo>
                          <a:pt x="231" y="342"/>
                          <a:pt x="231" y="342"/>
                          <a:pt x="231" y="342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Freeform 285">
                    <a:extLst>
                      <a:ext uri="{FF2B5EF4-FFF2-40B4-BE49-F238E27FC236}">
                        <a16:creationId xmlns:a16="http://schemas.microsoft.com/office/drawing/2014/main" id="{C7CACA71-A0FC-5F76-C426-2D3F8CF40A5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704138" y="5168107"/>
                    <a:ext cx="355600" cy="409575"/>
                  </a:xfrm>
                  <a:custGeom>
                    <a:avLst/>
                    <a:gdLst>
                      <a:gd name="T0" fmla="*/ 0 w 181"/>
                      <a:gd name="T1" fmla="*/ 0 h 208"/>
                      <a:gd name="T2" fmla="*/ 88 w 181"/>
                      <a:gd name="T3" fmla="*/ 99 h 208"/>
                      <a:gd name="T4" fmla="*/ 164 w 181"/>
                      <a:gd name="T5" fmla="*/ 205 h 208"/>
                      <a:gd name="T6" fmla="*/ 181 w 181"/>
                      <a:gd name="T7" fmla="*/ 208 h 208"/>
                      <a:gd name="T8" fmla="*/ 88 w 181"/>
                      <a:gd name="T9" fmla="*/ 91 h 208"/>
                      <a:gd name="T10" fmla="*/ 0 w 181"/>
                      <a:gd name="T11" fmla="*/ 0 h 2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81" h="208">
                        <a:moveTo>
                          <a:pt x="0" y="0"/>
                        </a:moveTo>
                        <a:cubicBezTo>
                          <a:pt x="0" y="0"/>
                          <a:pt x="35" y="72"/>
                          <a:pt x="88" y="99"/>
                        </a:cubicBezTo>
                        <a:cubicBezTo>
                          <a:pt x="137" y="123"/>
                          <a:pt x="164" y="205"/>
                          <a:pt x="164" y="205"/>
                        </a:cubicBezTo>
                        <a:cubicBezTo>
                          <a:pt x="181" y="208"/>
                          <a:pt x="181" y="208"/>
                          <a:pt x="181" y="208"/>
                        </a:cubicBezTo>
                        <a:cubicBezTo>
                          <a:pt x="181" y="208"/>
                          <a:pt x="140" y="131"/>
                          <a:pt x="88" y="91"/>
                        </a:cubicBezTo>
                        <a:cubicBezTo>
                          <a:pt x="36" y="5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A0C9DC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" name="Freeform 286">
                    <a:extLst>
                      <a:ext uri="{FF2B5EF4-FFF2-40B4-BE49-F238E27FC236}">
                        <a16:creationId xmlns:a16="http://schemas.microsoft.com/office/drawing/2014/main" id="{837D936B-E9E8-3340-720C-8B709A75FD1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602538" y="4922045"/>
                    <a:ext cx="82550" cy="117475"/>
                  </a:xfrm>
                  <a:custGeom>
                    <a:avLst/>
                    <a:gdLst>
                      <a:gd name="T0" fmla="*/ 36 w 42"/>
                      <a:gd name="T1" fmla="*/ 0 h 60"/>
                      <a:gd name="T2" fmla="*/ 42 w 42"/>
                      <a:gd name="T3" fmla="*/ 4 h 60"/>
                      <a:gd name="T4" fmla="*/ 36 w 42"/>
                      <a:gd name="T5" fmla="*/ 52 h 60"/>
                      <a:gd name="T6" fmla="*/ 0 w 42"/>
                      <a:gd name="T7" fmla="*/ 47 h 60"/>
                      <a:gd name="T8" fmla="*/ 36 w 42"/>
                      <a:gd name="T9" fmla="*/ 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2" h="60">
                        <a:moveTo>
                          <a:pt x="36" y="0"/>
                        </a:moveTo>
                        <a:cubicBezTo>
                          <a:pt x="42" y="4"/>
                          <a:pt x="42" y="4"/>
                          <a:pt x="42" y="4"/>
                        </a:cubicBezTo>
                        <a:cubicBezTo>
                          <a:pt x="36" y="52"/>
                          <a:pt x="36" y="52"/>
                          <a:pt x="36" y="52"/>
                        </a:cubicBezTo>
                        <a:cubicBezTo>
                          <a:pt x="36" y="52"/>
                          <a:pt x="23" y="60"/>
                          <a:pt x="0" y="47"/>
                        </a:cubicBezTo>
                        <a:cubicBezTo>
                          <a:pt x="21" y="35"/>
                          <a:pt x="36" y="0"/>
                          <a:pt x="36" y="0"/>
                        </a:cubicBezTo>
                        <a:close/>
                      </a:path>
                    </a:pathLst>
                  </a:custGeom>
                  <a:solidFill>
                    <a:srgbClr val="1D99B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" name="Freeform 287">
                    <a:extLst>
                      <a:ext uri="{FF2B5EF4-FFF2-40B4-BE49-F238E27FC236}">
                        <a16:creationId xmlns:a16="http://schemas.microsoft.com/office/drawing/2014/main" id="{085F9377-BCFF-B41E-B8C4-BD6628C0300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89838" y="5015707"/>
                    <a:ext cx="503238" cy="488950"/>
                  </a:xfrm>
                  <a:custGeom>
                    <a:avLst/>
                    <a:gdLst>
                      <a:gd name="T0" fmla="*/ 6 w 256"/>
                      <a:gd name="T1" fmla="*/ 0 h 249"/>
                      <a:gd name="T2" fmla="*/ 0 w 256"/>
                      <a:gd name="T3" fmla="*/ 10 h 249"/>
                      <a:gd name="T4" fmla="*/ 10 w 256"/>
                      <a:gd name="T5" fmla="*/ 24 h 249"/>
                      <a:gd name="T6" fmla="*/ 37 w 256"/>
                      <a:gd name="T7" fmla="*/ 123 h 249"/>
                      <a:gd name="T8" fmla="*/ 222 w 256"/>
                      <a:gd name="T9" fmla="*/ 249 h 249"/>
                      <a:gd name="T10" fmla="*/ 256 w 256"/>
                      <a:gd name="T11" fmla="*/ 231 h 249"/>
                      <a:gd name="T12" fmla="*/ 235 w 256"/>
                      <a:gd name="T13" fmla="*/ 193 h 249"/>
                      <a:gd name="T14" fmla="*/ 56 w 256"/>
                      <a:gd name="T15" fmla="*/ 106 h 249"/>
                      <a:gd name="T16" fmla="*/ 18 w 256"/>
                      <a:gd name="T17" fmla="*/ 21 h 249"/>
                      <a:gd name="T18" fmla="*/ 27 w 256"/>
                      <a:gd name="T19" fmla="*/ 6 h 249"/>
                      <a:gd name="T20" fmla="*/ 6 w 256"/>
                      <a:gd name="T21" fmla="*/ 0 h 2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56" h="249">
                        <a:moveTo>
                          <a:pt x="6" y="0"/>
                        </a:moveTo>
                        <a:cubicBezTo>
                          <a:pt x="6" y="0"/>
                          <a:pt x="2" y="4"/>
                          <a:pt x="0" y="10"/>
                        </a:cubicBezTo>
                        <a:cubicBezTo>
                          <a:pt x="3" y="16"/>
                          <a:pt x="10" y="24"/>
                          <a:pt x="10" y="24"/>
                        </a:cubicBezTo>
                        <a:cubicBezTo>
                          <a:pt x="10" y="24"/>
                          <a:pt x="6" y="73"/>
                          <a:pt x="37" y="123"/>
                        </a:cubicBezTo>
                        <a:cubicBezTo>
                          <a:pt x="84" y="200"/>
                          <a:pt x="222" y="249"/>
                          <a:pt x="222" y="249"/>
                        </a:cubicBezTo>
                        <a:cubicBezTo>
                          <a:pt x="256" y="231"/>
                          <a:pt x="256" y="231"/>
                          <a:pt x="256" y="231"/>
                        </a:cubicBezTo>
                        <a:cubicBezTo>
                          <a:pt x="235" y="193"/>
                          <a:pt x="235" y="193"/>
                          <a:pt x="235" y="193"/>
                        </a:cubicBezTo>
                        <a:cubicBezTo>
                          <a:pt x="235" y="193"/>
                          <a:pt x="111" y="175"/>
                          <a:pt x="56" y="106"/>
                        </a:cubicBezTo>
                        <a:cubicBezTo>
                          <a:pt x="18" y="58"/>
                          <a:pt x="18" y="21"/>
                          <a:pt x="18" y="21"/>
                        </a:cubicBezTo>
                        <a:cubicBezTo>
                          <a:pt x="18" y="21"/>
                          <a:pt x="24" y="13"/>
                          <a:pt x="27" y="6"/>
                        </a:cubicBezTo>
                        <a:cubicBezTo>
                          <a:pt x="15" y="5"/>
                          <a:pt x="6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" name="Freeform 288">
                    <a:extLst>
                      <a:ext uri="{FF2B5EF4-FFF2-40B4-BE49-F238E27FC236}">
                        <a16:creationId xmlns:a16="http://schemas.microsoft.com/office/drawing/2014/main" id="{5888C4B5-8ACD-0A27-503F-95D98FD4289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67601" y="4853782"/>
                    <a:ext cx="206375" cy="160338"/>
                  </a:xfrm>
                  <a:custGeom>
                    <a:avLst/>
                    <a:gdLst>
                      <a:gd name="T0" fmla="*/ 105 w 105"/>
                      <a:gd name="T1" fmla="*/ 35 h 82"/>
                      <a:gd name="T2" fmla="*/ 93 w 105"/>
                      <a:gd name="T3" fmla="*/ 22 h 82"/>
                      <a:gd name="T4" fmla="*/ 67 w 105"/>
                      <a:gd name="T5" fmla="*/ 0 h 82"/>
                      <a:gd name="T6" fmla="*/ 54 w 105"/>
                      <a:gd name="T7" fmla="*/ 34 h 82"/>
                      <a:gd name="T8" fmla="*/ 34 w 105"/>
                      <a:gd name="T9" fmla="*/ 55 h 82"/>
                      <a:gd name="T10" fmla="*/ 0 w 105"/>
                      <a:gd name="T11" fmla="*/ 56 h 82"/>
                      <a:gd name="T12" fmla="*/ 69 w 105"/>
                      <a:gd name="T13" fmla="*/ 82 h 82"/>
                      <a:gd name="T14" fmla="*/ 105 w 105"/>
                      <a:gd name="T15" fmla="*/ 35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5" h="82">
                        <a:moveTo>
                          <a:pt x="105" y="35"/>
                        </a:moveTo>
                        <a:cubicBezTo>
                          <a:pt x="99" y="32"/>
                          <a:pt x="93" y="22"/>
                          <a:pt x="93" y="22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67" y="0"/>
                          <a:pt x="57" y="21"/>
                          <a:pt x="54" y="34"/>
                        </a:cubicBezTo>
                        <a:cubicBezTo>
                          <a:pt x="52" y="46"/>
                          <a:pt x="39" y="54"/>
                          <a:pt x="34" y="55"/>
                        </a:cubicBezTo>
                        <a:cubicBezTo>
                          <a:pt x="22" y="56"/>
                          <a:pt x="0" y="56"/>
                          <a:pt x="0" y="56"/>
                        </a:cubicBezTo>
                        <a:cubicBezTo>
                          <a:pt x="0" y="56"/>
                          <a:pt x="50" y="69"/>
                          <a:pt x="69" y="82"/>
                        </a:cubicBezTo>
                        <a:cubicBezTo>
                          <a:pt x="91" y="67"/>
                          <a:pt x="101" y="42"/>
                          <a:pt x="105" y="35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" name="Freeform 289">
                    <a:extLst>
                      <a:ext uri="{FF2B5EF4-FFF2-40B4-BE49-F238E27FC236}">
                        <a16:creationId xmlns:a16="http://schemas.microsoft.com/office/drawing/2014/main" id="{EC1FF1DC-4530-E23E-94F9-D32CBFC9CD7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50138" y="4755357"/>
                    <a:ext cx="163513" cy="207963"/>
                  </a:xfrm>
                  <a:custGeom>
                    <a:avLst/>
                    <a:gdLst>
                      <a:gd name="T0" fmla="*/ 9 w 83"/>
                      <a:gd name="T1" fmla="*/ 106 h 106"/>
                      <a:gd name="T2" fmla="*/ 47 w 83"/>
                      <a:gd name="T3" fmla="*/ 105 h 106"/>
                      <a:gd name="T4" fmla="*/ 62 w 83"/>
                      <a:gd name="T5" fmla="*/ 91 h 106"/>
                      <a:gd name="T6" fmla="*/ 69 w 83"/>
                      <a:gd name="T7" fmla="*/ 69 h 106"/>
                      <a:gd name="T8" fmla="*/ 78 w 83"/>
                      <a:gd name="T9" fmla="*/ 62 h 106"/>
                      <a:gd name="T10" fmla="*/ 73 w 83"/>
                      <a:gd name="T11" fmla="*/ 48 h 106"/>
                      <a:gd name="T12" fmla="*/ 70 w 83"/>
                      <a:gd name="T13" fmla="*/ 6 h 106"/>
                      <a:gd name="T14" fmla="*/ 50 w 83"/>
                      <a:gd name="T15" fmla="*/ 0 h 106"/>
                      <a:gd name="T16" fmla="*/ 32 w 83"/>
                      <a:gd name="T17" fmla="*/ 10 h 106"/>
                      <a:gd name="T18" fmla="*/ 0 w 83"/>
                      <a:gd name="T19" fmla="*/ 60 h 106"/>
                      <a:gd name="T20" fmla="*/ 4 w 83"/>
                      <a:gd name="T21" fmla="*/ 63 h 106"/>
                      <a:gd name="T22" fmla="*/ 12 w 83"/>
                      <a:gd name="T23" fmla="*/ 65 h 106"/>
                      <a:gd name="T24" fmla="*/ 8 w 83"/>
                      <a:gd name="T25" fmla="*/ 105 h 106"/>
                      <a:gd name="T26" fmla="*/ 9 w 83"/>
                      <a:gd name="T27" fmla="*/ 106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83" h="106">
                        <a:moveTo>
                          <a:pt x="9" y="106"/>
                        </a:moveTo>
                        <a:cubicBezTo>
                          <a:pt x="19" y="106"/>
                          <a:pt x="38" y="106"/>
                          <a:pt x="47" y="105"/>
                        </a:cubicBezTo>
                        <a:cubicBezTo>
                          <a:pt x="60" y="104"/>
                          <a:pt x="62" y="91"/>
                          <a:pt x="62" y="91"/>
                        </a:cubicBezTo>
                        <a:cubicBezTo>
                          <a:pt x="69" y="69"/>
                          <a:pt x="69" y="69"/>
                          <a:pt x="69" y="69"/>
                        </a:cubicBezTo>
                        <a:cubicBezTo>
                          <a:pt x="69" y="69"/>
                          <a:pt x="74" y="67"/>
                          <a:pt x="78" y="62"/>
                        </a:cubicBezTo>
                        <a:cubicBezTo>
                          <a:pt x="80" y="60"/>
                          <a:pt x="83" y="52"/>
                          <a:pt x="73" y="48"/>
                        </a:cubicBezTo>
                        <a:cubicBezTo>
                          <a:pt x="58" y="42"/>
                          <a:pt x="70" y="6"/>
                          <a:pt x="70" y="6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0" y="60"/>
                          <a:pt x="0" y="63"/>
                          <a:pt x="4" y="63"/>
                        </a:cubicBezTo>
                        <a:cubicBezTo>
                          <a:pt x="7" y="63"/>
                          <a:pt x="12" y="65"/>
                          <a:pt x="12" y="65"/>
                        </a:cubicBezTo>
                        <a:cubicBezTo>
                          <a:pt x="12" y="65"/>
                          <a:pt x="8" y="102"/>
                          <a:pt x="8" y="105"/>
                        </a:cubicBezTo>
                        <a:cubicBezTo>
                          <a:pt x="8" y="106"/>
                          <a:pt x="9" y="106"/>
                          <a:pt x="9" y="106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" name="Freeform 290">
                    <a:extLst>
                      <a:ext uri="{FF2B5EF4-FFF2-40B4-BE49-F238E27FC236}">
                        <a16:creationId xmlns:a16="http://schemas.microsoft.com/office/drawing/2014/main" id="{D7DC608B-20FE-58BA-7ED3-14A4954E142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91413" y="4823620"/>
                    <a:ext cx="33338" cy="17463"/>
                  </a:xfrm>
                  <a:custGeom>
                    <a:avLst/>
                    <a:gdLst>
                      <a:gd name="T0" fmla="*/ 1 w 17"/>
                      <a:gd name="T1" fmla="*/ 6 h 9"/>
                      <a:gd name="T2" fmla="*/ 4 w 17"/>
                      <a:gd name="T3" fmla="*/ 9 h 9"/>
                      <a:gd name="T4" fmla="*/ 15 w 17"/>
                      <a:gd name="T5" fmla="*/ 8 h 9"/>
                      <a:gd name="T6" fmla="*/ 2 w 17"/>
                      <a:gd name="T7" fmla="*/ 2 h 9"/>
                      <a:gd name="T8" fmla="*/ 1 w 17"/>
                      <a:gd name="T9" fmla="*/ 6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7" h="9">
                        <a:moveTo>
                          <a:pt x="1" y="6"/>
                        </a:moveTo>
                        <a:cubicBezTo>
                          <a:pt x="1" y="9"/>
                          <a:pt x="1" y="9"/>
                          <a:pt x="4" y="9"/>
                        </a:cubicBezTo>
                        <a:cubicBezTo>
                          <a:pt x="7" y="9"/>
                          <a:pt x="17" y="9"/>
                          <a:pt x="15" y="8"/>
                        </a:cubicBezTo>
                        <a:cubicBezTo>
                          <a:pt x="14" y="8"/>
                          <a:pt x="10" y="6"/>
                          <a:pt x="2" y="2"/>
                        </a:cubicBezTo>
                        <a:cubicBezTo>
                          <a:pt x="0" y="0"/>
                          <a:pt x="1" y="3"/>
                          <a:pt x="1" y="6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" name="Freeform 291">
                    <a:extLst>
                      <a:ext uri="{FF2B5EF4-FFF2-40B4-BE49-F238E27FC236}">
                        <a16:creationId xmlns:a16="http://schemas.microsoft.com/office/drawing/2014/main" id="{7AF7B90F-85A1-D990-3D35-53E73B99052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07288" y="4723607"/>
                    <a:ext cx="157163" cy="173038"/>
                  </a:xfrm>
                  <a:custGeom>
                    <a:avLst/>
                    <a:gdLst>
                      <a:gd name="T0" fmla="*/ 76 w 80"/>
                      <a:gd name="T1" fmla="*/ 31 h 88"/>
                      <a:gd name="T2" fmla="*/ 1 w 80"/>
                      <a:gd name="T3" fmla="*/ 14 h 88"/>
                      <a:gd name="T4" fmla="*/ 3 w 80"/>
                      <a:gd name="T5" fmla="*/ 26 h 88"/>
                      <a:gd name="T6" fmla="*/ 31 w 80"/>
                      <a:gd name="T7" fmla="*/ 35 h 88"/>
                      <a:gd name="T8" fmla="*/ 27 w 80"/>
                      <a:gd name="T9" fmla="*/ 78 h 88"/>
                      <a:gd name="T10" fmla="*/ 47 w 80"/>
                      <a:gd name="T11" fmla="*/ 66 h 88"/>
                      <a:gd name="T12" fmla="*/ 74 w 80"/>
                      <a:gd name="T13" fmla="*/ 88 h 88"/>
                      <a:gd name="T14" fmla="*/ 76 w 80"/>
                      <a:gd name="T15" fmla="*/ 31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0" h="88">
                        <a:moveTo>
                          <a:pt x="76" y="31"/>
                        </a:moveTo>
                        <a:cubicBezTo>
                          <a:pt x="26" y="2"/>
                          <a:pt x="6" y="0"/>
                          <a:pt x="1" y="14"/>
                        </a:cubicBezTo>
                        <a:cubicBezTo>
                          <a:pt x="0" y="17"/>
                          <a:pt x="0" y="22"/>
                          <a:pt x="3" y="26"/>
                        </a:cubicBezTo>
                        <a:cubicBezTo>
                          <a:pt x="19" y="24"/>
                          <a:pt x="35" y="24"/>
                          <a:pt x="31" y="35"/>
                        </a:cubicBezTo>
                        <a:cubicBezTo>
                          <a:pt x="30" y="39"/>
                          <a:pt x="13" y="76"/>
                          <a:pt x="27" y="78"/>
                        </a:cubicBezTo>
                        <a:cubicBezTo>
                          <a:pt x="30" y="73"/>
                          <a:pt x="37" y="60"/>
                          <a:pt x="47" y="66"/>
                        </a:cubicBezTo>
                        <a:cubicBezTo>
                          <a:pt x="53" y="69"/>
                          <a:pt x="47" y="83"/>
                          <a:pt x="74" y="88"/>
                        </a:cubicBezTo>
                        <a:cubicBezTo>
                          <a:pt x="76" y="66"/>
                          <a:pt x="80" y="39"/>
                          <a:pt x="76" y="31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" name="Freeform 292">
                    <a:extLst>
                      <a:ext uri="{FF2B5EF4-FFF2-40B4-BE49-F238E27FC236}">
                        <a16:creationId xmlns:a16="http://schemas.microsoft.com/office/drawing/2014/main" id="{70239F9C-E516-6B69-E322-BD59972F546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215188" y="4896645"/>
                    <a:ext cx="711200" cy="517525"/>
                  </a:xfrm>
                  <a:custGeom>
                    <a:avLst/>
                    <a:gdLst>
                      <a:gd name="T0" fmla="*/ 339 w 362"/>
                      <a:gd name="T1" fmla="*/ 123 h 264"/>
                      <a:gd name="T2" fmla="*/ 256 w 362"/>
                      <a:gd name="T3" fmla="*/ 236 h 264"/>
                      <a:gd name="T4" fmla="*/ 191 w 362"/>
                      <a:gd name="T5" fmla="*/ 262 h 264"/>
                      <a:gd name="T6" fmla="*/ 3 w 362"/>
                      <a:gd name="T7" fmla="*/ 259 h 264"/>
                      <a:gd name="T8" fmla="*/ 0 w 362"/>
                      <a:gd name="T9" fmla="*/ 236 h 264"/>
                      <a:gd name="T10" fmla="*/ 200 w 362"/>
                      <a:gd name="T11" fmla="*/ 220 h 264"/>
                      <a:gd name="T12" fmla="*/ 268 w 362"/>
                      <a:gd name="T13" fmla="*/ 58 h 264"/>
                      <a:gd name="T14" fmla="*/ 339 w 362"/>
                      <a:gd name="T15" fmla="*/ 123 h 2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62" h="264">
                        <a:moveTo>
                          <a:pt x="339" y="123"/>
                        </a:moveTo>
                        <a:cubicBezTo>
                          <a:pt x="316" y="156"/>
                          <a:pt x="262" y="228"/>
                          <a:pt x="256" y="236"/>
                        </a:cubicBezTo>
                        <a:cubicBezTo>
                          <a:pt x="249" y="243"/>
                          <a:pt x="241" y="262"/>
                          <a:pt x="191" y="262"/>
                        </a:cubicBezTo>
                        <a:cubicBezTo>
                          <a:pt x="126" y="264"/>
                          <a:pt x="3" y="259"/>
                          <a:pt x="3" y="259"/>
                        </a:cubicBezTo>
                        <a:cubicBezTo>
                          <a:pt x="3" y="259"/>
                          <a:pt x="1" y="247"/>
                          <a:pt x="0" y="236"/>
                        </a:cubicBezTo>
                        <a:cubicBezTo>
                          <a:pt x="71" y="229"/>
                          <a:pt x="200" y="220"/>
                          <a:pt x="200" y="220"/>
                        </a:cubicBezTo>
                        <a:cubicBezTo>
                          <a:pt x="200" y="220"/>
                          <a:pt x="250" y="92"/>
                          <a:pt x="268" y="58"/>
                        </a:cubicBezTo>
                        <a:cubicBezTo>
                          <a:pt x="315" y="0"/>
                          <a:pt x="362" y="89"/>
                          <a:pt x="339" y="123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" name="Freeform 293">
                    <a:extLst>
                      <a:ext uri="{FF2B5EF4-FFF2-40B4-BE49-F238E27FC236}">
                        <a16:creationId xmlns:a16="http://schemas.microsoft.com/office/drawing/2014/main" id="{8FEDB177-8B28-5F9B-2F97-A5A90C785C3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26326" y="6409532"/>
                    <a:ext cx="142875" cy="50800"/>
                  </a:xfrm>
                  <a:custGeom>
                    <a:avLst/>
                    <a:gdLst>
                      <a:gd name="T0" fmla="*/ 72 w 72"/>
                      <a:gd name="T1" fmla="*/ 4 h 26"/>
                      <a:gd name="T2" fmla="*/ 72 w 72"/>
                      <a:gd name="T3" fmla="*/ 26 h 26"/>
                      <a:gd name="T4" fmla="*/ 53 w 72"/>
                      <a:gd name="T5" fmla="*/ 26 h 26"/>
                      <a:gd name="T6" fmla="*/ 53 w 72"/>
                      <a:gd name="T7" fmla="*/ 18 h 26"/>
                      <a:gd name="T8" fmla="*/ 27 w 72"/>
                      <a:gd name="T9" fmla="*/ 26 h 26"/>
                      <a:gd name="T10" fmla="*/ 3 w 72"/>
                      <a:gd name="T11" fmla="*/ 25 h 26"/>
                      <a:gd name="T12" fmla="*/ 4 w 72"/>
                      <a:gd name="T13" fmla="*/ 20 h 26"/>
                      <a:gd name="T14" fmla="*/ 29 w 72"/>
                      <a:gd name="T15" fmla="*/ 13 h 26"/>
                      <a:gd name="T16" fmla="*/ 48 w 72"/>
                      <a:gd name="T17" fmla="*/ 0 h 26"/>
                      <a:gd name="T18" fmla="*/ 72 w 72"/>
                      <a:gd name="T19" fmla="*/ 4 h 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2" h="26">
                        <a:moveTo>
                          <a:pt x="72" y="4"/>
                        </a:moveTo>
                        <a:cubicBezTo>
                          <a:pt x="72" y="26"/>
                          <a:pt x="72" y="26"/>
                          <a:pt x="72" y="26"/>
                        </a:cubicBez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18"/>
                          <a:pt x="53" y="18"/>
                          <a:pt x="53" y="18"/>
                        </a:cubicBezTo>
                        <a:cubicBezTo>
                          <a:pt x="27" y="26"/>
                          <a:pt x="27" y="26"/>
                          <a:pt x="27" y="26"/>
                        </a:cubicBezTo>
                        <a:cubicBezTo>
                          <a:pt x="3" y="25"/>
                          <a:pt x="3" y="25"/>
                          <a:pt x="3" y="25"/>
                        </a:cubicBezTo>
                        <a:cubicBezTo>
                          <a:pt x="3" y="25"/>
                          <a:pt x="0" y="21"/>
                          <a:pt x="4" y="20"/>
                        </a:cubicBezTo>
                        <a:cubicBezTo>
                          <a:pt x="5" y="20"/>
                          <a:pt x="29" y="13"/>
                          <a:pt x="29" y="13"/>
                        </a:cubicBezTo>
                        <a:cubicBezTo>
                          <a:pt x="48" y="0"/>
                          <a:pt x="48" y="0"/>
                          <a:pt x="48" y="0"/>
                        </a:cubicBezTo>
                        <a:lnTo>
                          <a:pt x="72" y="4"/>
                        </a:lnTo>
                        <a:close/>
                      </a:path>
                    </a:pathLst>
                  </a:custGeom>
                  <a:solidFill>
                    <a:srgbClr val="17235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5" name="Freeform 294">
                    <a:extLst>
                      <a:ext uri="{FF2B5EF4-FFF2-40B4-BE49-F238E27FC236}">
                        <a16:creationId xmlns:a16="http://schemas.microsoft.com/office/drawing/2014/main" id="{9F1B5CBB-B795-B558-DB3A-66A732F5545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2051" y="5498307"/>
                    <a:ext cx="1069975" cy="912813"/>
                  </a:xfrm>
                  <a:custGeom>
                    <a:avLst/>
                    <a:gdLst>
                      <a:gd name="T0" fmla="*/ 4 w 545"/>
                      <a:gd name="T1" fmla="*/ 465 h 465"/>
                      <a:gd name="T2" fmla="*/ 0 w 545"/>
                      <a:gd name="T3" fmla="*/ 147 h 465"/>
                      <a:gd name="T4" fmla="*/ 0 w 545"/>
                      <a:gd name="T5" fmla="*/ 147 h 465"/>
                      <a:gd name="T6" fmla="*/ 51 w 545"/>
                      <a:gd name="T7" fmla="*/ 77 h 465"/>
                      <a:gd name="T8" fmla="*/ 456 w 545"/>
                      <a:gd name="T9" fmla="*/ 0 h 465"/>
                      <a:gd name="T10" fmla="*/ 313 w 545"/>
                      <a:gd name="T11" fmla="*/ 160 h 465"/>
                      <a:gd name="T12" fmla="*/ 83 w 545"/>
                      <a:gd name="T13" fmla="*/ 160 h 465"/>
                      <a:gd name="T14" fmla="*/ 38 w 545"/>
                      <a:gd name="T15" fmla="*/ 463 h 465"/>
                      <a:gd name="T16" fmla="*/ 4 w 545"/>
                      <a:gd name="T17" fmla="*/ 465 h 4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545" h="465">
                        <a:moveTo>
                          <a:pt x="4" y="465"/>
                        </a:move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3" y="93"/>
                          <a:pt x="38" y="80"/>
                          <a:pt x="51" y="77"/>
                        </a:cubicBezTo>
                        <a:cubicBezTo>
                          <a:pt x="64" y="74"/>
                          <a:pt x="456" y="0"/>
                          <a:pt x="456" y="0"/>
                        </a:cubicBezTo>
                        <a:cubicBezTo>
                          <a:pt x="456" y="0"/>
                          <a:pt x="545" y="149"/>
                          <a:pt x="313" y="160"/>
                        </a:cubicBezTo>
                        <a:cubicBezTo>
                          <a:pt x="255" y="163"/>
                          <a:pt x="234" y="154"/>
                          <a:pt x="83" y="160"/>
                        </a:cubicBezTo>
                        <a:cubicBezTo>
                          <a:pt x="113" y="217"/>
                          <a:pt x="38" y="463"/>
                          <a:pt x="38" y="463"/>
                        </a:cubicBezTo>
                        <a:lnTo>
                          <a:pt x="4" y="46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46" name="Group 1028">
                  <a:extLst>
                    <a:ext uri="{FF2B5EF4-FFF2-40B4-BE49-F238E27FC236}">
                      <a16:creationId xmlns:a16="http://schemas.microsoft.com/office/drawing/2014/main" id="{4D0CD029-A402-DEAF-0B42-41E40D21BB0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683568" y="4089209"/>
                  <a:ext cx="936299" cy="705312"/>
                  <a:chOff x="9990467" y="4838701"/>
                  <a:chExt cx="1203326" cy="906463"/>
                </a:xfrm>
              </p:grpSpPr>
              <p:sp>
                <p:nvSpPr>
                  <p:cNvPr id="50" name="Freeform 277">
                    <a:extLst>
                      <a:ext uri="{FF2B5EF4-FFF2-40B4-BE49-F238E27FC236}">
                        <a16:creationId xmlns:a16="http://schemas.microsoft.com/office/drawing/2014/main" id="{9B56DC7D-6F60-B7B2-0EF1-577E7917516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990467" y="4922838"/>
                    <a:ext cx="176213" cy="80963"/>
                  </a:xfrm>
                  <a:custGeom>
                    <a:avLst/>
                    <a:gdLst>
                      <a:gd name="T0" fmla="*/ 37 w 89"/>
                      <a:gd name="T1" fmla="*/ 27 h 42"/>
                      <a:gd name="T2" fmla="*/ 13 w 89"/>
                      <a:gd name="T3" fmla="*/ 29 h 42"/>
                      <a:gd name="T4" fmla="*/ 17 w 89"/>
                      <a:gd name="T5" fmla="*/ 24 h 42"/>
                      <a:gd name="T6" fmla="*/ 24 w 89"/>
                      <a:gd name="T7" fmla="*/ 21 h 42"/>
                      <a:gd name="T8" fmla="*/ 10 w 89"/>
                      <a:gd name="T9" fmla="*/ 8 h 42"/>
                      <a:gd name="T10" fmla="*/ 6 w 89"/>
                      <a:gd name="T11" fmla="*/ 8 h 42"/>
                      <a:gd name="T12" fmla="*/ 3 w 89"/>
                      <a:gd name="T13" fmla="*/ 5 h 42"/>
                      <a:gd name="T14" fmla="*/ 10 w 89"/>
                      <a:gd name="T15" fmla="*/ 4 h 42"/>
                      <a:gd name="T16" fmla="*/ 2 w 89"/>
                      <a:gd name="T17" fmla="*/ 3 h 42"/>
                      <a:gd name="T18" fmla="*/ 1 w 89"/>
                      <a:gd name="T19" fmla="*/ 0 h 42"/>
                      <a:gd name="T20" fmla="*/ 18 w 89"/>
                      <a:gd name="T21" fmla="*/ 1 h 42"/>
                      <a:gd name="T22" fmla="*/ 37 w 89"/>
                      <a:gd name="T23" fmla="*/ 16 h 42"/>
                      <a:gd name="T24" fmla="*/ 88 w 89"/>
                      <a:gd name="T25" fmla="*/ 24 h 42"/>
                      <a:gd name="T26" fmla="*/ 84 w 89"/>
                      <a:gd name="T27" fmla="*/ 42 h 42"/>
                      <a:gd name="T28" fmla="*/ 37 w 89"/>
                      <a:gd name="T29" fmla="*/ 27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89" h="42">
                        <a:moveTo>
                          <a:pt x="37" y="27"/>
                        </a:moveTo>
                        <a:cubicBezTo>
                          <a:pt x="28" y="27"/>
                          <a:pt x="13" y="29"/>
                          <a:pt x="13" y="29"/>
                        </a:cubicBezTo>
                        <a:cubicBezTo>
                          <a:pt x="13" y="29"/>
                          <a:pt x="14" y="24"/>
                          <a:pt x="17" y="24"/>
                        </a:cubicBezTo>
                        <a:cubicBezTo>
                          <a:pt x="23" y="23"/>
                          <a:pt x="24" y="21"/>
                          <a:pt x="24" y="21"/>
                        </a:cubicBezTo>
                        <a:cubicBezTo>
                          <a:pt x="10" y="8"/>
                          <a:pt x="10" y="8"/>
                          <a:pt x="10" y="8"/>
                        </a:cubicBezTo>
                        <a:cubicBezTo>
                          <a:pt x="6" y="8"/>
                          <a:pt x="6" y="8"/>
                          <a:pt x="6" y="8"/>
                        </a:cubicBezTo>
                        <a:cubicBezTo>
                          <a:pt x="3" y="5"/>
                          <a:pt x="3" y="5"/>
                          <a:pt x="3" y="5"/>
                        </a:cubicBezTo>
                        <a:cubicBezTo>
                          <a:pt x="10" y="4"/>
                          <a:pt x="10" y="4"/>
                          <a:pt x="10" y="4"/>
                        </a:cubicBezTo>
                        <a:cubicBezTo>
                          <a:pt x="10" y="4"/>
                          <a:pt x="3" y="4"/>
                          <a:pt x="2" y="3"/>
                        </a:cubicBezTo>
                        <a:cubicBezTo>
                          <a:pt x="1" y="2"/>
                          <a:pt x="0" y="0"/>
                          <a:pt x="1" y="0"/>
                        </a:cubicBezTo>
                        <a:cubicBezTo>
                          <a:pt x="9" y="0"/>
                          <a:pt x="17" y="0"/>
                          <a:pt x="18" y="1"/>
                        </a:cubicBezTo>
                        <a:cubicBezTo>
                          <a:pt x="20" y="2"/>
                          <a:pt x="37" y="16"/>
                          <a:pt x="37" y="16"/>
                        </a:cubicBezTo>
                        <a:cubicBezTo>
                          <a:pt x="88" y="24"/>
                          <a:pt x="88" y="24"/>
                          <a:pt x="88" y="24"/>
                        </a:cubicBezTo>
                        <a:cubicBezTo>
                          <a:pt x="88" y="24"/>
                          <a:pt x="89" y="34"/>
                          <a:pt x="84" y="42"/>
                        </a:cubicBezTo>
                        <a:cubicBezTo>
                          <a:pt x="84" y="42"/>
                          <a:pt x="37" y="27"/>
                          <a:pt x="37" y="27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" name="Freeform 220">
                    <a:extLst>
                      <a:ext uri="{FF2B5EF4-FFF2-40B4-BE49-F238E27FC236}">
                        <a16:creationId xmlns:a16="http://schemas.microsoft.com/office/drawing/2014/main" id="{51B1E6E0-F3B9-21DA-D349-1A0E022E8D8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00042" y="4918076"/>
                    <a:ext cx="52388" cy="66675"/>
                  </a:xfrm>
                  <a:custGeom>
                    <a:avLst/>
                    <a:gdLst>
                      <a:gd name="T0" fmla="*/ 18 w 28"/>
                      <a:gd name="T1" fmla="*/ 23 h 36"/>
                      <a:gd name="T2" fmla="*/ 24 w 28"/>
                      <a:gd name="T3" fmla="*/ 33 h 36"/>
                      <a:gd name="T4" fmla="*/ 28 w 28"/>
                      <a:gd name="T5" fmla="*/ 33 h 36"/>
                      <a:gd name="T6" fmla="*/ 26 w 28"/>
                      <a:gd name="T7" fmla="*/ 17 h 36"/>
                      <a:gd name="T8" fmla="*/ 15 w 28"/>
                      <a:gd name="T9" fmla="*/ 7 h 36"/>
                      <a:gd name="T10" fmla="*/ 25 w 28"/>
                      <a:gd name="T11" fmla="*/ 6 h 36"/>
                      <a:gd name="T12" fmla="*/ 24 w 28"/>
                      <a:gd name="T13" fmla="*/ 1 h 36"/>
                      <a:gd name="T14" fmla="*/ 7 w 28"/>
                      <a:gd name="T15" fmla="*/ 0 h 36"/>
                      <a:gd name="T16" fmla="*/ 0 w 28"/>
                      <a:gd name="T17" fmla="*/ 1 h 36"/>
                      <a:gd name="T18" fmla="*/ 9 w 28"/>
                      <a:gd name="T19" fmla="*/ 9 h 36"/>
                      <a:gd name="T20" fmla="*/ 18 w 28"/>
                      <a:gd name="T21" fmla="*/ 23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8" h="36">
                        <a:moveTo>
                          <a:pt x="18" y="23"/>
                        </a:moveTo>
                        <a:cubicBezTo>
                          <a:pt x="20" y="26"/>
                          <a:pt x="24" y="32"/>
                          <a:pt x="24" y="33"/>
                        </a:cubicBezTo>
                        <a:cubicBezTo>
                          <a:pt x="25" y="36"/>
                          <a:pt x="28" y="33"/>
                          <a:pt x="28" y="33"/>
                        </a:cubicBezTo>
                        <a:cubicBezTo>
                          <a:pt x="28" y="33"/>
                          <a:pt x="27" y="20"/>
                          <a:pt x="26" y="17"/>
                        </a:cubicBezTo>
                        <a:cubicBezTo>
                          <a:pt x="26" y="15"/>
                          <a:pt x="15" y="7"/>
                          <a:pt x="15" y="7"/>
                        </a:cubicBezTo>
                        <a:cubicBezTo>
                          <a:pt x="25" y="6"/>
                          <a:pt x="25" y="6"/>
                          <a:pt x="25" y="6"/>
                        </a:cubicBezTo>
                        <a:cubicBezTo>
                          <a:pt x="24" y="1"/>
                          <a:pt x="24" y="1"/>
                          <a:pt x="24" y="1"/>
                        </a:cubicBezTo>
                        <a:cubicBezTo>
                          <a:pt x="24" y="1"/>
                          <a:pt x="15" y="1"/>
                          <a:pt x="7" y="0"/>
                        </a:cubicBezTo>
                        <a:cubicBezTo>
                          <a:pt x="3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9" y="9"/>
                        </a:cubicBezTo>
                        <a:cubicBezTo>
                          <a:pt x="18" y="15"/>
                          <a:pt x="18" y="21"/>
                          <a:pt x="18" y="2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Freeform 260">
                    <a:extLst>
                      <a:ext uri="{FF2B5EF4-FFF2-40B4-BE49-F238E27FC236}">
                        <a16:creationId xmlns:a16="http://schemas.microsoft.com/office/drawing/2014/main" id="{78E75069-07D6-C50E-B153-D8D1EF41860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58805" y="5259389"/>
                    <a:ext cx="534988" cy="322263"/>
                  </a:xfrm>
                  <a:custGeom>
                    <a:avLst/>
                    <a:gdLst>
                      <a:gd name="T0" fmla="*/ 270 w 272"/>
                      <a:gd name="T1" fmla="*/ 136 h 164"/>
                      <a:gd name="T2" fmla="*/ 262 w 272"/>
                      <a:gd name="T3" fmla="*/ 138 h 164"/>
                      <a:gd name="T4" fmla="*/ 271 w 272"/>
                      <a:gd name="T5" fmla="*/ 147 h 164"/>
                      <a:gd name="T6" fmla="*/ 272 w 272"/>
                      <a:gd name="T7" fmla="*/ 157 h 164"/>
                      <a:gd name="T8" fmla="*/ 269 w 272"/>
                      <a:gd name="T9" fmla="*/ 157 h 164"/>
                      <a:gd name="T10" fmla="*/ 265 w 272"/>
                      <a:gd name="T11" fmla="*/ 150 h 164"/>
                      <a:gd name="T12" fmla="*/ 251 w 272"/>
                      <a:gd name="T13" fmla="*/ 141 h 164"/>
                      <a:gd name="T14" fmla="*/ 146 w 272"/>
                      <a:gd name="T15" fmla="*/ 156 h 164"/>
                      <a:gd name="T16" fmla="*/ 92 w 272"/>
                      <a:gd name="T17" fmla="*/ 164 h 164"/>
                      <a:gd name="T18" fmla="*/ 65 w 272"/>
                      <a:gd name="T19" fmla="*/ 148 h 164"/>
                      <a:gd name="T20" fmla="*/ 0 w 272"/>
                      <a:gd name="T21" fmla="*/ 9 h 164"/>
                      <a:gd name="T22" fmla="*/ 76 w 272"/>
                      <a:gd name="T23" fmla="*/ 19 h 164"/>
                      <a:gd name="T24" fmla="*/ 93 w 272"/>
                      <a:gd name="T25" fmla="*/ 134 h 164"/>
                      <a:gd name="T26" fmla="*/ 251 w 272"/>
                      <a:gd name="T27" fmla="*/ 132 h 164"/>
                      <a:gd name="T28" fmla="*/ 257 w 272"/>
                      <a:gd name="T29" fmla="*/ 132 h 164"/>
                      <a:gd name="T30" fmla="*/ 270 w 272"/>
                      <a:gd name="T31" fmla="*/ 133 h 164"/>
                      <a:gd name="T32" fmla="*/ 270 w 272"/>
                      <a:gd name="T33" fmla="*/ 136 h 1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272" h="164">
                        <a:moveTo>
                          <a:pt x="270" y="136"/>
                        </a:moveTo>
                        <a:cubicBezTo>
                          <a:pt x="262" y="138"/>
                          <a:pt x="262" y="138"/>
                          <a:pt x="262" y="138"/>
                        </a:cubicBezTo>
                        <a:cubicBezTo>
                          <a:pt x="271" y="147"/>
                          <a:pt x="271" y="147"/>
                          <a:pt x="271" y="147"/>
                        </a:cubicBezTo>
                        <a:cubicBezTo>
                          <a:pt x="272" y="157"/>
                          <a:pt x="272" y="157"/>
                          <a:pt x="272" y="157"/>
                        </a:cubicBezTo>
                        <a:cubicBezTo>
                          <a:pt x="272" y="157"/>
                          <a:pt x="270" y="159"/>
                          <a:pt x="269" y="157"/>
                        </a:cubicBezTo>
                        <a:cubicBezTo>
                          <a:pt x="269" y="156"/>
                          <a:pt x="265" y="150"/>
                          <a:pt x="265" y="150"/>
                        </a:cubicBezTo>
                        <a:cubicBezTo>
                          <a:pt x="251" y="141"/>
                          <a:pt x="251" y="141"/>
                          <a:pt x="251" y="141"/>
                        </a:cubicBezTo>
                        <a:cubicBezTo>
                          <a:pt x="146" y="156"/>
                          <a:pt x="146" y="156"/>
                          <a:pt x="146" y="156"/>
                        </a:cubicBezTo>
                        <a:cubicBezTo>
                          <a:pt x="92" y="164"/>
                          <a:pt x="92" y="164"/>
                          <a:pt x="92" y="164"/>
                        </a:cubicBezTo>
                        <a:cubicBezTo>
                          <a:pt x="92" y="164"/>
                          <a:pt x="76" y="163"/>
                          <a:pt x="65" y="148"/>
                        </a:cubicBezTo>
                        <a:cubicBezTo>
                          <a:pt x="62" y="143"/>
                          <a:pt x="0" y="9"/>
                          <a:pt x="0" y="9"/>
                        </a:cubicBezTo>
                        <a:cubicBezTo>
                          <a:pt x="0" y="9"/>
                          <a:pt x="64" y="0"/>
                          <a:pt x="76" y="19"/>
                        </a:cubicBezTo>
                        <a:cubicBezTo>
                          <a:pt x="91" y="45"/>
                          <a:pt x="92" y="106"/>
                          <a:pt x="93" y="134"/>
                        </a:cubicBezTo>
                        <a:cubicBezTo>
                          <a:pt x="105" y="124"/>
                          <a:pt x="196" y="133"/>
                          <a:pt x="251" y="132"/>
                        </a:cubicBezTo>
                        <a:cubicBezTo>
                          <a:pt x="253" y="132"/>
                          <a:pt x="257" y="132"/>
                          <a:pt x="257" y="132"/>
                        </a:cubicBezTo>
                        <a:cubicBezTo>
                          <a:pt x="270" y="133"/>
                          <a:pt x="270" y="133"/>
                          <a:pt x="270" y="133"/>
                        </a:cubicBezTo>
                        <a:lnTo>
                          <a:pt x="270" y="136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" name="Freeform 261">
                    <a:extLst>
                      <a:ext uri="{FF2B5EF4-FFF2-40B4-BE49-F238E27FC236}">
                        <a16:creationId xmlns:a16="http://schemas.microsoft.com/office/drawing/2014/main" id="{0366F063-9CEF-E9A6-CE43-F62294B920F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52517" y="5516564"/>
                    <a:ext cx="41275" cy="57150"/>
                  </a:xfrm>
                  <a:custGeom>
                    <a:avLst/>
                    <a:gdLst>
                      <a:gd name="T0" fmla="*/ 14 w 21"/>
                      <a:gd name="T1" fmla="*/ 19 h 29"/>
                      <a:gd name="T2" fmla="*/ 18 w 21"/>
                      <a:gd name="T3" fmla="*/ 26 h 29"/>
                      <a:gd name="T4" fmla="*/ 21 w 21"/>
                      <a:gd name="T5" fmla="*/ 27 h 29"/>
                      <a:gd name="T6" fmla="*/ 20 w 21"/>
                      <a:gd name="T7" fmla="*/ 15 h 29"/>
                      <a:gd name="T8" fmla="*/ 11 w 21"/>
                      <a:gd name="T9" fmla="*/ 7 h 29"/>
                      <a:gd name="T10" fmla="*/ 19 w 21"/>
                      <a:gd name="T11" fmla="*/ 5 h 29"/>
                      <a:gd name="T12" fmla="*/ 19 w 21"/>
                      <a:gd name="T13" fmla="*/ 1 h 29"/>
                      <a:gd name="T14" fmla="*/ 6 w 21"/>
                      <a:gd name="T15" fmla="*/ 1 h 29"/>
                      <a:gd name="T16" fmla="*/ 0 w 21"/>
                      <a:gd name="T17" fmla="*/ 1 h 29"/>
                      <a:gd name="T18" fmla="*/ 6 w 21"/>
                      <a:gd name="T19" fmla="*/ 8 h 29"/>
                      <a:gd name="T20" fmla="*/ 14 w 21"/>
                      <a:gd name="T21" fmla="*/ 19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1" h="29">
                        <a:moveTo>
                          <a:pt x="14" y="19"/>
                        </a:moveTo>
                        <a:cubicBezTo>
                          <a:pt x="15" y="21"/>
                          <a:pt x="18" y="26"/>
                          <a:pt x="18" y="26"/>
                        </a:cubicBezTo>
                        <a:cubicBezTo>
                          <a:pt x="19" y="29"/>
                          <a:pt x="21" y="27"/>
                          <a:pt x="21" y="27"/>
                        </a:cubicBezTo>
                        <a:cubicBezTo>
                          <a:pt x="21" y="27"/>
                          <a:pt x="20" y="17"/>
                          <a:pt x="20" y="15"/>
                        </a:cubicBezTo>
                        <a:cubicBezTo>
                          <a:pt x="20" y="12"/>
                          <a:pt x="11" y="7"/>
                          <a:pt x="11" y="7"/>
                        </a:cubicBezTo>
                        <a:cubicBezTo>
                          <a:pt x="19" y="5"/>
                          <a:pt x="19" y="5"/>
                          <a:pt x="19" y="5"/>
                        </a:cubicBezTo>
                        <a:cubicBezTo>
                          <a:pt x="19" y="1"/>
                          <a:pt x="19" y="1"/>
                          <a:pt x="19" y="1"/>
                        </a:cubicBezTo>
                        <a:cubicBezTo>
                          <a:pt x="19" y="1"/>
                          <a:pt x="11" y="1"/>
                          <a:pt x="6" y="1"/>
                        </a:cubicBezTo>
                        <a:cubicBezTo>
                          <a:pt x="2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6" y="8"/>
                        </a:cubicBezTo>
                        <a:cubicBezTo>
                          <a:pt x="14" y="12"/>
                          <a:pt x="13" y="17"/>
                          <a:pt x="14" y="1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" name="Freeform 262">
                    <a:extLst>
                      <a:ext uri="{FF2B5EF4-FFF2-40B4-BE49-F238E27FC236}">
                        <a16:creationId xmlns:a16="http://schemas.microsoft.com/office/drawing/2014/main" id="{810063CE-9752-165B-6BE8-3138C75CEFF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39692" y="4965701"/>
                    <a:ext cx="346075" cy="90488"/>
                  </a:xfrm>
                  <a:custGeom>
                    <a:avLst/>
                    <a:gdLst>
                      <a:gd name="T0" fmla="*/ 3 w 176"/>
                      <a:gd name="T1" fmla="*/ 0 h 46"/>
                      <a:gd name="T2" fmla="*/ 47 w 176"/>
                      <a:gd name="T3" fmla="*/ 6 h 46"/>
                      <a:gd name="T4" fmla="*/ 133 w 176"/>
                      <a:gd name="T5" fmla="*/ 5 h 46"/>
                      <a:gd name="T6" fmla="*/ 167 w 176"/>
                      <a:gd name="T7" fmla="*/ 22 h 46"/>
                      <a:gd name="T8" fmla="*/ 145 w 176"/>
                      <a:gd name="T9" fmla="*/ 46 h 46"/>
                      <a:gd name="T10" fmla="*/ 0 w 176"/>
                      <a:gd name="T11" fmla="*/ 19 h 46"/>
                      <a:gd name="T12" fmla="*/ 3 w 176"/>
                      <a:gd name="T13" fmla="*/ 0 h 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76" h="46">
                        <a:moveTo>
                          <a:pt x="3" y="0"/>
                        </a:moveTo>
                        <a:cubicBezTo>
                          <a:pt x="10" y="1"/>
                          <a:pt x="29" y="5"/>
                          <a:pt x="47" y="6"/>
                        </a:cubicBezTo>
                        <a:cubicBezTo>
                          <a:pt x="79" y="8"/>
                          <a:pt x="93" y="6"/>
                          <a:pt x="133" y="5"/>
                        </a:cubicBezTo>
                        <a:cubicBezTo>
                          <a:pt x="176" y="3"/>
                          <a:pt x="167" y="22"/>
                          <a:pt x="167" y="22"/>
                        </a:cubicBezTo>
                        <a:cubicBezTo>
                          <a:pt x="167" y="22"/>
                          <a:pt x="152" y="40"/>
                          <a:pt x="145" y="46"/>
                        </a:cubicBezTo>
                        <a:cubicBezTo>
                          <a:pt x="68" y="36"/>
                          <a:pt x="21" y="25"/>
                          <a:pt x="0" y="19"/>
                        </a:cubicBezTo>
                        <a:cubicBezTo>
                          <a:pt x="0" y="19"/>
                          <a:pt x="1" y="4"/>
                          <a:pt x="3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" name="Freeform 263">
                    <a:extLst>
                      <a:ext uri="{FF2B5EF4-FFF2-40B4-BE49-F238E27FC236}">
                        <a16:creationId xmlns:a16="http://schemas.microsoft.com/office/drawing/2014/main" id="{D43CD1D8-ADF7-FCB0-D7E0-7DEACEE10DF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74642" y="4941889"/>
                    <a:ext cx="420688" cy="288925"/>
                  </a:xfrm>
                  <a:custGeom>
                    <a:avLst/>
                    <a:gdLst>
                      <a:gd name="T0" fmla="*/ 126 w 214"/>
                      <a:gd name="T1" fmla="*/ 147 h 147"/>
                      <a:gd name="T2" fmla="*/ 63 w 214"/>
                      <a:gd name="T3" fmla="*/ 110 h 147"/>
                      <a:gd name="T4" fmla="*/ 7 w 214"/>
                      <a:gd name="T5" fmla="*/ 22 h 147"/>
                      <a:gd name="T6" fmla="*/ 28 w 214"/>
                      <a:gd name="T7" fmla="*/ 8 h 147"/>
                      <a:gd name="T8" fmla="*/ 130 w 214"/>
                      <a:gd name="T9" fmla="*/ 44 h 147"/>
                      <a:gd name="T10" fmla="*/ 214 w 214"/>
                      <a:gd name="T11" fmla="*/ 136 h 147"/>
                      <a:gd name="T12" fmla="*/ 126 w 214"/>
                      <a:gd name="T13" fmla="*/ 147 h 1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14" h="147">
                        <a:moveTo>
                          <a:pt x="126" y="147"/>
                        </a:moveTo>
                        <a:cubicBezTo>
                          <a:pt x="123" y="141"/>
                          <a:pt x="112" y="111"/>
                          <a:pt x="63" y="110"/>
                        </a:cubicBezTo>
                        <a:cubicBezTo>
                          <a:pt x="0" y="108"/>
                          <a:pt x="7" y="22"/>
                          <a:pt x="7" y="22"/>
                        </a:cubicBezTo>
                        <a:cubicBezTo>
                          <a:pt x="7" y="22"/>
                          <a:pt x="18" y="11"/>
                          <a:pt x="28" y="8"/>
                        </a:cubicBezTo>
                        <a:cubicBezTo>
                          <a:pt x="53" y="0"/>
                          <a:pt x="94" y="11"/>
                          <a:pt x="130" y="44"/>
                        </a:cubicBezTo>
                        <a:cubicBezTo>
                          <a:pt x="181" y="90"/>
                          <a:pt x="214" y="136"/>
                          <a:pt x="214" y="136"/>
                        </a:cubicBezTo>
                        <a:cubicBezTo>
                          <a:pt x="214" y="136"/>
                          <a:pt x="175" y="134"/>
                          <a:pt x="126" y="147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" name="Freeform 264">
                    <a:extLst>
                      <a:ext uri="{FF2B5EF4-FFF2-40B4-BE49-F238E27FC236}">
                        <a16:creationId xmlns:a16="http://schemas.microsoft.com/office/drawing/2014/main" id="{3FAC677E-4797-0987-4172-D03778AD559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5580" y="5221289"/>
                    <a:ext cx="611188" cy="523875"/>
                  </a:xfrm>
                  <a:custGeom>
                    <a:avLst/>
                    <a:gdLst>
                      <a:gd name="T0" fmla="*/ 2 w 311"/>
                      <a:gd name="T1" fmla="*/ 259 h 267"/>
                      <a:gd name="T2" fmla="*/ 10 w 311"/>
                      <a:gd name="T3" fmla="*/ 257 h 267"/>
                      <a:gd name="T4" fmla="*/ 22 w 311"/>
                      <a:gd name="T5" fmla="*/ 247 h 267"/>
                      <a:gd name="T6" fmla="*/ 44 w 311"/>
                      <a:gd name="T7" fmla="*/ 81 h 267"/>
                      <a:gd name="T8" fmla="*/ 44 w 311"/>
                      <a:gd name="T9" fmla="*/ 81 h 267"/>
                      <a:gd name="T10" fmla="*/ 66 w 311"/>
                      <a:gd name="T11" fmla="*/ 42 h 267"/>
                      <a:gd name="T12" fmla="*/ 276 w 311"/>
                      <a:gd name="T13" fmla="*/ 0 h 267"/>
                      <a:gd name="T14" fmla="*/ 213 w 311"/>
                      <a:gd name="T15" fmla="*/ 71 h 267"/>
                      <a:gd name="T16" fmla="*/ 82 w 311"/>
                      <a:gd name="T17" fmla="*/ 79 h 267"/>
                      <a:gd name="T18" fmla="*/ 31 w 311"/>
                      <a:gd name="T19" fmla="*/ 249 h 267"/>
                      <a:gd name="T20" fmla="*/ 29 w 311"/>
                      <a:gd name="T21" fmla="*/ 255 h 267"/>
                      <a:gd name="T22" fmla="*/ 25 w 311"/>
                      <a:gd name="T23" fmla="*/ 267 h 267"/>
                      <a:gd name="T24" fmla="*/ 22 w 311"/>
                      <a:gd name="T25" fmla="*/ 266 h 267"/>
                      <a:gd name="T26" fmla="*/ 22 w 311"/>
                      <a:gd name="T27" fmla="*/ 259 h 267"/>
                      <a:gd name="T28" fmla="*/ 11 w 311"/>
                      <a:gd name="T29" fmla="*/ 264 h 267"/>
                      <a:gd name="T30" fmla="*/ 1 w 311"/>
                      <a:gd name="T31" fmla="*/ 262 h 267"/>
                      <a:gd name="T32" fmla="*/ 2 w 311"/>
                      <a:gd name="T33" fmla="*/ 259 h 2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11" h="267">
                        <a:moveTo>
                          <a:pt x="2" y="259"/>
                        </a:moveTo>
                        <a:cubicBezTo>
                          <a:pt x="3" y="259"/>
                          <a:pt x="10" y="257"/>
                          <a:pt x="10" y="257"/>
                        </a:cubicBezTo>
                        <a:cubicBezTo>
                          <a:pt x="22" y="247"/>
                          <a:pt x="22" y="247"/>
                          <a:pt x="22" y="247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2" y="52"/>
                          <a:pt x="66" y="42"/>
                          <a:pt x="66" y="42"/>
                        </a:cubicBezTo>
                        <a:cubicBezTo>
                          <a:pt x="276" y="0"/>
                          <a:pt x="276" y="0"/>
                          <a:pt x="276" y="0"/>
                        </a:cubicBezTo>
                        <a:cubicBezTo>
                          <a:pt x="276" y="0"/>
                          <a:pt x="311" y="59"/>
                          <a:pt x="213" y="71"/>
                        </a:cubicBezTo>
                        <a:cubicBezTo>
                          <a:pt x="182" y="74"/>
                          <a:pt x="161" y="70"/>
                          <a:pt x="82" y="79"/>
                        </a:cubicBezTo>
                        <a:cubicBezTo>
                          <a:pt x="99" y="107"/>
                          <a:pt x="31" y="249"/>
                          <a:pt x="31" y="249"/>
                        </a:cubicBezTo>
                        <a:cubicBezTo>
                          <a:pt x="29" y="255"/>
                          <a:pt x="29" y="255"/>
                          <a:pt x="29" y="255"/>
                        </a:cubicBezTo>
                        <a:cubicBezTo>
                          <a:pt x="25" y="267"/>
                          <a:pt x="25" y="267"/>
                          <a:pt x="25" y="267"/>
                        </a:cubicBezTo>
                        <a:cubicBezTo>
                          <a:pt x="22" y="266"/>
                          <a:pt x="22" y="266"/>
                          <a:pt x="22" y="266"/>
                        </a:cubicBezTo>
                        <a:cubicBezTo>
                          <a:pt x="22" y="259"/>
                          <a:pt x="22" y="259"/>
                          <a:pt x="22" y="259"/>
                        </a:cubicBezTo>
                        <a:cubicBezTo>
                          <a:pt x="11" y="264"/>
                          <a:pt x="11" y="264"/>
                          <a:pt x="11" y="264"/>
                        </a:cubicBezTo>
                        <a:cubicBezTo>
                          <a:pt x="1" y="262"/>
                          <a:pt x="1" y="262"/>
                          <a:pt x="1" y="262"/>
                        </a:cubicBezTo>
                        <a:cubicBezTo>
                          <a:pt x="1" y="262"/>
                          <a:pt x="0" y="259"/>
                          <a:pt x="2" y="25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" name="Freeform 265">
                    <a:extLst>
                      <a:ext uri="{FF2B5EF4-FFF2-40B4-BE49-F238E27FC236}">
                        <a16:creationId xmlns:a16="http://schemas.microsoft.com/office/drawing/2014/main" id="{6708C836-9AE1-0E4D-6BE9-0ED7DC4BD74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4167" y="5197476"/>
                    <a:ext cx="487363" cy="219075"/>
                  </a:xfrm>
                  <a:custGeom>
                    <a:avLst/>
                    <a:gdLst>
                      <a:gd name="T0" fmla="*/ 206 w 248"/>
                      <a:gd name="T1" fmla="*/ 0 h 112"/>
                      <a:gd name="T2" fmla="*/ 248 w 248"/>
                      <a:gd name="T3" fmla="*/ 97 h 112"/>
                      <a:gd name="T4" fmla="*/ 26 w 248"/>
                      <a:gd name="T5" fmla="*/ 83 h 112"/>
                      <a:gd name="T6" fmla="*/ 0 w 248"/>
                      <a:gd name="T7" fmla="*/ 52 h 112"/>
                      <a:gd name="T8" fmla="*/ 206 w 248"/>
                      <a:gd name="T9" fmla="*/ 0 h 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8" h="112">
                        <a:moveTo>
                          <a:pt x="206" y="0"/>
                        </a:moveTo>
                        <a:cubicBezTo>
                          <a:pt x="240" y="22"/>
                          <a:pt x="215" y="69"/>
                          <a:pt x="248" y="97"/>
                        </a:cubicBezTo>
                        <a:cubicBezTo>
                          <a:pt x="219" y="112"/>
                          <a:pt x="79" y="112"/>
                          <a:pt x="26" y="83"/>
                        </a:cubicBezTo>
                        <a:cubicBezTo>
                          <a:pt x="4" y="71"/>
                          <a:pt x="0" y="52"/>
                          <a:pt x="0" y="52"/>
                        </a:cubicBezTo>
                        <a:cubicBezTo>
                          <a:pt x="0" y="52"/>
                          <a:pt x="177" y="6"/>
                          <a:pt x="206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" name="Freeform 266">
                    <a:extLst>
                      <a:ext uri="{FF2B5EF4-FFF2-40B4-BE49-F238E27FC236}">
                        <a16:creationId xmlns:a16="http://schemas.microsoft.com/office/drawing/2014/main" id="{9425DB8E-64A2-13B9-0694-845DCC06E7C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2105" y="4964114"/>
                    <a:ext cx="63500" cy="134938"/>
                  </a:xfrm>
                  <a:custGeom>
                    <a:avLst/>
                    <a:gdLst>
                      <a:gd name="T0" fmla="*/ 32 w 32"/>
                      <a:gd name="T1" fmla="*/ 69 h 69"/>
                      <a:gd name="T2" fmla="*/ 20 w 32"/>
                      <a:gd name="T3" fmla="*/ 0 h 69"/>
                      <a:gd name="T4" fmla="*/ 4 w 32"/>
                      <a:gd name="T5" fmla="*/ 14 h 69"/>
                      <a:gd name="T6" fmla="*/ 32 w 32"/>
                      <a:gd name="T7" fmla="*/ 69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2" h="69">
                        <a:moveTo>
                          <a:pt x="32" y="69"/>
                        </a:moveTo>
                        <a:cubicBezTo>
                          <a:pt x="32" y="69"/>
                          <a:pt x="7" y="24"/>
                          <a:pt x="20" y="0"/>
                        </a:cubicBezTo>
                        <a:cubicBezTo>
                          <a:pt x="17" y="5"/>
                          <a:pt x="12" y="15"/>
                          <a:pt x="4" y="14"/>
                        </a:cubicBezTo>
                        <a:cubicBezTo>
                          <a:pt x="0" y="41"/>
                          <a:pt x="32" y="69"/>
                          <a:pt x="32" y="6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" name="Freeform 267">
                    <a:extLst>
                      <a:ext uri="{FF2B5EF4-FFF2-40B4-BE49-F238E27FC236}">
                        <a16:creationId xmlns:a16="http://schemas.microsoft.com/office/drawing/2014/main" id="{91AF64B2-9C0D-1DC1-65CE-5B6C7C93A34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69880" y="4946651"/>
                    <a:ext cx="88900" cy="160338"/>
                  </a:xfrm>
                  <a:custGeom>
                    <a:avLst/>
                    <a:gdLst>
                      <a:gd name="T0" fmla="*/ 45 w 45"/>
                      <a:gd name="T1" fmla="*/ 82 h 82"/>
                      <a:gd name="T2" fmla="*/ 17 w 45"/>
                      <a:gd name="T3" fmla="*/ 19 h 82"/>
                      <a:gd name="T4" fmla="*/ 12 w 45"/>
                      <a:gd name="T5" fmla="*/ 12 h 82"/>
                      <a:gd name="T6" fmla="*/ 45 w 45"/>
                      <a:gd name="T7" fmla="*/ 82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5" h="82">
                        <a:moveTo>
                          <a:pt x="45" y="82"/>
                        </a:moveTo>
                        <a:cubicBezTo>
                          <a:pt x="45" y="82"/>
                          <a:pt x="15" y="54"/>
                          <a:pt x="17" y="19"/>
                        </a:cubicBezTo>
                        <a:cubicBezTo>
                          <a:pt x="17" y="9"/>
                          <a:pt x="15" y="0"/>
                          <a:pt x="12" y="12"/>
                        </a:cubicBezTo>
                        <a:cubicBezTo>
                          <a:pt x="0" y="63"/>
                          <a:pt x="45" y="82"/>
                          <a:pt x="45" y="8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" name="Freeform 268">
                    <a:extLst>
                      <a:ext uri="{FF2B5EF4-FFF2-40B4-BE49-F238E27FC236}">
                        <a16:creationId xmlns:a16="http://schemas.microsoft.com/office/drawing/2014/main" id="{7829EA17-87BD-E59B-2FC1-2A985B617C5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3367" y="4899026"/>
                    <a:ext cx="103188" cy="93663"/>
                  </a:xfrm>
                  <a:custGeom>
                    <a:avLst/>
                    <a:gdLst>
                      <a:gd name="T0" fmla="*/ 52 w 53"/>
                      <a:gd name="T1" fmla="*/ 27 h 48"/>
                      <a:gd name="T2" fmla="*/ 42 w 53"/>
                      <a:gd name="T3" fmla="*/ 12 h 48"/>
                      <a:gd name="T4" fmla="*/ 30 w 53"/>
                      <a:gd name="T5" fmla="*/ 0 h 48"/>
                      <a:gd name="T6" fmla="*/ 24 w 53"/>
                      <a:gd name="T7" fmla="*/ 18 h 48"/>
                      <a:gd name="T8" fmla="*/ 13 w 53"/>
                      <a:gd name="T9" fmla="*/ 28 h 48"/>
                      <a:gd name="T10" fmla="*/ 0 w 53"/>
                      <a:gd name="T11" fmla="*/ 29 h 48"/>
                      <a:gd name="T12" fmla="*/ 36 w 53"/>
                      <a:gd name="T13" fmla="*/ 48 h 48"/>
                      <a:gd name="T14" fmla="*/ 52 w 53"/>
                      <a:gd name="T15" fmla="*/ 27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3" h="48">
                        <a:moveTo>
                          <a:pt x="52" y="27"/>
                        </a:moveTo>
                        <a:cubicBezTo>
                          <a:pt x="42" y="23"/>
                          <a:pt x="42" y="12"/>
                          <a:pt x="42" y="12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30" y="0"/>
                          <a:pt x="25" y="11"/>
                          <a:pt x="24" y="18"/>
                        </a:cubicBezTo>
                        <a:cubicBezTo>
                          <a:pt x="22" y="25"/>
                          <a:pt x="16" y="27"/>
                          <a:pt x="13" y="28"/>
                        </a:cubicBezTo>
                        <a:cubicBezTo>
                          <a:pt x="7" y="29"/>
                          <a:pt x="0" y="29"/>
                          <a:pt x="0" y="29"/>
                        </a:cubicBezTo>
                        <a:cubicBezTo>
                          <a:pt x="0" y="29"/>
                          <a:pt x="26" y="31"/>
                          <a:pt x="36" y="48"/>
                        </a:cubicBezTo>
                        <a:cubicBezTo>
                          <a:pt x="53" y="47"/>
                          <a:pt x="48" y="32"/>
                          <a:pt x="52" y="27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" name="Freeform 269">
                    <a:extLst>
                      <a:ext uri="{FF2B5EF4-FFF2-40B4-BE49-F238E27FC236}">
                        <a16:creationId xmlns:a16="http://schemas.microsoft.com/office/drawing/2014/main" id="{A42E5E1C-5283-73B3-D54E-7CE78DEA1B7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20667" y="4848226"/>
                    <a:ext cx="80963" cy="107950"/>
                  </a:xfrm>
                  <a:custGeom>
                    <a:avLst/>
                    <a:gdLst>
                      <a:gd name="T0" fmla="*/ 9 w 41"/>
                      <a:gd name="T1" fmla="*/ 55 h 55"/>
                      <a:gd name="T2" fmla="*/ 22 w 41"/>
                      <a:gd name="T3" fmla="*/ 55 h 55"/>
                      <a:gd name="T4" fmla="*/ 30 w 41"/>
                      <a:gd name="T5" fmla="*/ 48 h 55"/>
                      <a:gd name="T6" fmla="*/ 33 w 41"/>
                      <a:gd name="T7" fmla="*/ 36 h 55"/>
                      <a:gd name="T8" fmla="*/ 38 w 41"/>
                      <a:gd name="T9" fmla="*/ 32 h 55"/>
                      <a:gd name="T10" fmla="*/ 36 w 41"/>
                      <a:gd name="T11" fmla="*/ 24 h 55"/>
                      <a:gd name="T12" fmla="*/ 34 w 41"/>
                      <a:gd name="T13" fmla="*/ 3 h 55"/>
                      <a:gd name="T14" fmla="*/ 23 w 41"/>
                      <a:gd name="T15" fmla="*/ 0 h 55"/>
                      <a:gd name="T16" fmla="*/ 12 w 41"/>
                      <a:gd name="T17" fmla="*/ 8 h 55"/>
                      <a:gd name="T18" fmla="*/ 0 w 41"/>
                      <a:gd name="T19" fmla="*/ 30 h 55"/>
                      <a:gd name="T20" fmla="*/ 2 w 41"/>
                      <a:gd name="T21" fmla="*/ 32 h 55"/>
                      <a:gd name="T22" fmla="*/ 5 w 41"/>
                      <a:gd name="T23" fmla="*/ 33 h 55"/>
                      <a:gd name="T24" fmla="*/ 5 w 41"/>
                      <a:gd name="T25" fmla="*/ 54 h 55"/>
                      <a:gd name="T26" fmla="*/ 9 w 41"/>
                      <a:gd name="T27" fmla="*/ 55 h 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1" h="55">
                        <a:moveTo>
                          <a:pt x="9" y="55"/>
                        </a:moveTo>
                        <a:cubicBezTo>
                          <a:pt x="12" y="55"/>
                          <a:pt x="17" y="55"/>
                          <a:pt x="22" y="55"/>
                        </a:cubicBezTo>
                        <a:cubicBezTo>
                          <a:pt x="29" y="54"/>
                          <a:pt x="30" y="48"/>
                          <a:pt x="30" y="48"/>
                        </a:cubicBezTo>
                        <a:cubicBezTo>
                          <a:pt x="33" y="36"/>
                          <a:pt x="33" y="36"/>
                          <a:pt x="33" y="36"/>
                        </a:cubicBezTo>
                        <a:cubicBezTo>
                          <a:pt x="33" y="36"/>
                          <a:pt x="36" y="35"/>
                          <a:pt x="38" y="32"/>
                        </a:cubicBezTo>
                        <a:cubicBezTo>
                          <a:pt x="39" y="31"/>
                          <a:pt x="41" y="26"/>
                          <a:pt x="36" y="24"/>
                        </a:cubicBezTo>
                        <a:cubicBezTo>
                          <a:pt x="28" y="21"/>
                          <a:pt x="34" y="3"/>
                          <a:pt x="34" y="3"/>
                        </a:cubicBezTo>
                        <a:cubicBezTo>
                          <a:pt x="23" y="0"/>
                          <a:pt x="23" y="0"/>
                          <a:pt x="23" y="0"/>
                        </a:cubicBezTo>
                        <a:cubicBezTo>
                          <a:pt x="12" y="8"/>
                          <a:pt x="12" y="8"/>
                          <a:pt x="12" y="8"/>
                        </a:cubicBezTo>
                        <a:cubicBezTo>
                          <a:pt x="0" y="30"/>
                          <a:pt x="0" y="30"/>
                          <a:pt x="0" y="30"/>
                        </a:cubicBezTo>
                        <a:cubicBezTo>
                          <a:pt x="0" y="30"/>
                          <a:pt x="0" y="31"/>
                          <a:pt x="2" y="32"/>
                        </a:cubicBezTo>
                        <a:cubicBezTo>
                          <a:pt x="4" y="32"/>
                          <a:pt x="5" y="33"/>
                          <a:pt x="5" y="33"/>
                        </a:cubicBezTo>
                        <a:cubicBezTo>
                          <a:pt x="5" y="33"/>
                          <a:pt x="5" y="53"/>
                          <a:pt x="5" y="54"/>
                        </a:cubicBezTo>
                        <a:cubicBezTo>
                          <a:pt x="5" y="55"/>
                          <a:pt x="7" y="55"/>
                          <a:pt x="9" y="55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Freeform 270">
                    <a:extLst>
                      <a:ext uri="{FF2B5EF4-FFF2-40B4-BE49-F238E27FC236}">
                        <a16:creationId xmlns:a16="http://schemas.microsoft.com/office/drawing/2014/main" id="{8B70186D-41E8-8756-4720-18B65CCC37D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44480" y="4838701"/>
                    <a:ext cx="92075" cy="85725"/>
                  </a:xfrm>
                  <a:custGeom>
                    <a:avLst/>
                    <a:gdLst>
                      <a:gd name="T0" fmla="*/ 45 w 47"/>
                      <a:gd name="T1" fmla="*/ 22 h 44"/>
                      <a:gd name="T2" fmla="*/ 44 w 47"/>
                      <a:gd name="T3" fmla="*/ 18 h 44"/>
                      <a:gd name="T4" fmla="*/ 25 w 47"/>
                      <a:gd name="T5" fmla="*/ 3 h 44"/>
                      <a:gd name="T6" fmla="*/ 0 w 47"/>
                      <a:gd name="T7" fmla="*/ 14 h 44"/>
                      <a:gd name="T8" fmla="*/ 14 w 47"/>
                      <a:gd name="T9" fmla="*/ 21 h 44"/>
                      <a:gd name="T10" fmla="*/ 21 w 47"/>
                      <a:gd name="T11" fmla="*/ 30 h 44"/>
                      <a:gd name="T12" fmla="*/ 27 w 47"/>
                      <a:gd name="T13" fmla="*/ 35 h 44"/>
                      <a:gd name="T14" fmla="*/ 36 w 47"/>
                      <a:gd name="T15" fmla="*/ 44 h 44"/>
                      <a:gd name="T16" fmla="*/ 45 w 47"/>
                      <a:gd name="T17" fmla="*/ 22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7" h="44">
                        <a:moveTo>
                          <a:pt x="45" y="22"/>
                        </a:moveTo>
                        <a:cubicBezTo>
                          <a:pt x="44" y="18"/>
                          <a:pt x="44" y="18"/>
                          <a:pt x="44" y="18"/>
                        </a:cubicBezTo>
                        <a:cubicBezTo>
                          <a:pt x="44" y="18"/>
                          <a:pt x="42" y="7"/>
                          <a:pt x="25" y="3"/>
                        </a:cubicBezTo>
                        <a:cubicBezTo>
                          <a:pt x="6" y="0"/>
                          <a:pt x="0" y="14"/>
                          <a:pt x="0" y="14"/>
                        </a:cubicBezTo>
                        <a:cubicBezTo>
                          <a:pt x="0" y="14"/>
                          <a:pt x="14" y="12"/>
                          <a:pt x="14" y="21"/>
                        </a:cubicBezTo>
                        <a:cubicBezTo>
                          <a:pt x="14" y="31"/>
                          <a:pt x="20" y="30"/>
                          <a:pt x="21" y="30"/>
                        </a:cubicBezTo>
                        <a:cubicBezTo>
                          <a:pt x="22" y="30"/>
                          <a:pt x="26" y="31"/>
                          <a:pt x="27" y="35"/>
                        </a:cubicBezTo>
                        <a:cubicBezTo>
                          <a:pt x="27" y="41"/>
                          <a:pt x="33" y="44"/>
                          <a:pt x="36" y="44"/>
                        </a:cubicBezTo>
                        <a:cubicBezTo>
                          <a:pt x="47" y="32"/>
                          <a:pt x="45" y="22"/>
                          <a:pt x="45" y="22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" name="Freeform 271">
                    <a:extLst>
                      <a:ext uri="{FF2B5EF4-FFF2-40B4-BE49-F238E27FC236}">
                        <a16:creationId xmlns:a16="http://schemas.microsoft.com/office/drawing/2014/main" id="{B7D5E869-E92C-4EE8-42CF-FBECD763779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6542" y="4886326"/>
                    <a:ext cx="15875" cy="7938"/>
                  </a:xfrm>
                  <a:custGeom>
                    <a:avLst/>
                    <a:gdLst>
                      <a:gd name="T0" fmla="*/ 1 w 8"/>
                      <a:gd name="T1" fmla="*/ 3 h 4"/>
                      <a:gd name="T2" fmla="*/ 2 w 8"/>
                      <a:gd name="T3" fmla="*/ 4 h 4"/>
                      <a:gd name="T4" fmla="*/ 8 w 8"/>
                      <a:gd name="T5" fmla="*/ 4 h 4"/>
                      <a:gd name="T6" fmla="*/ 1 w 8"/>
                      <a:gd name="T7" fmla="*/ 1 h 4"/>
                      <a:gd name="T8" fmla="*/ 1 w 8"/>
                      <a:gd name="T9" fmla="*/ 3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" h="4">
                        <a:moveTo>
                          <a:pt x="1" y="3"/>
                        </a:moveTo>
                        <a:cubicBezTo>
                          <a:pt x="1" y="4"/>
                          <a:pt x="1" y="4"/>
                          <a:pt x="2" y="4"/>
                        </a:cubicBezTo>
                        <a:cubicBezTo>
                          <a:pt x="4" y="4"/>
                          <a:pt x="6" y="4"/>
                          <a:pt x="8" y="4"/>
                        </a:cubicBezTo>
                        <a:cubicBezTo>
                          <a:pt x="8" y="4"/>
                          <a:pt x="6" y="3"/>
                          <a:pt x="1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4" name="Freeform 272">
                    <a:extLst>
                      <a:ext uri="{FF2B5EF4-FFF2-40B4-BE49-F238E27FC236}">
                        <a16:creationId xmlns:a16="http://schemas.microsoft.com/office/drawing/2014/main" id="{1C65CC6F-4EEA-29E7-CBCC-97A41EDC656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1792" y="4857751"/>
                    <a:ext cx="217488" cy="93663"/>
                  </a:xfrm>
                  <a:custGeom>
                    <a:avLst/>
                    <a:gdLst>
                      <a:gd name="T0" fmla="*/ 0 w 111"/>
                      <a:gd name="T1" fmla="*/ 8 h 48"/>
                      <a:gd name="T2" fmla="*/ 17 w 111"/>
                      <a:gd name="T3" fmla="*/ 1 h 48"/>
                      <a:gd name="T4" fmla="*/ 42 w 111"/>
                      <a:gd name="T5" fmla="*/ 11 h 48"/>
                      <a:gd name="T6" fmla="*/ 75 w 111"/>
                      <a:gd name="T7" fmla="*/ 12 h 48"/>
                      <a:gd name="T8" fmla="*/ 94 w 111"/>
                      <a:gd name="T9" fmla="*/ 19 h 48"/>
                      <a:gd name="T10" fmla="*/ 111 w 111"/>
                      <a:gd name="T11" fmla="*/ 34 h 48"/>
                      <a:gd name="T12" fmla="*/ 79 w 111"/>
                      <a:gd name="T13" fmla="*/ 42 h 48"/>
                      <a:gd name="T14" fmla="*/ 50 w 111"/>
                      <a:gd name="T15" fmla="*/ 34 h 48"/>
                      <a:gd name="T16" fmla="*/ 28 w 111"/>
                      <a:gd name="T17" fmla="*/ 22 h 48"/>
                      <a:gd name="T18" fmla="*/ 14 w 111"/>
                      <a:gd name="T19" fmla="*/ 13 h 48"/>
                      <a:gd name="T20" fmla="*/ 1 w 111"/>
                      <a:gd name="T21" fmla="*/ 13 h 48"/>
                      <a:gd name="T22" fmla="*/ 0 w 111"/>
                      <a:gd name="T23" fmla="*/ 8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11" h="48">
                        <a:moveTo>
                          <a:pt x="0" y="8"/>
                        </a:moveTo>
                        <a:cubicBezTo>
                          <a:pt x="0" y="8"/>
                          <a:pt x="7" y="0"/>
                          <a:pt x="17" y="1"/>
                        </a:cubicBezTo>
                        <a:cubicBezTo>
                          <a:pt x="27" y="2"/>
                          <a:pt x="30" y="5"/>
                          <a:pt x="42" y="11"/>
                        </a:cubicBezTo>
                        <a:cubicBezTo>
                          <a:pt x="54" y="16"/>
                          <a:pt x="62" y="11"/>
                          <a:pt x="75" y="12"/>
                        </a:cubicBezTo>
                        <a:cubicBezTo>
                          <a:pt x="88" y="13"/>
                          <a:pt x="92" y="17"/>
                          <a:pt x="94" y="19"/>
                        </a:cubicBezTo>
                        <a:cubicBezTo>
                          <a:pt x="102" y="24"/>
                          <a:pt x="111" y="34"/>
                          <a:pt x="111" y="34"/>
                        </a:cubicBezTo>
                        <a:cubicBezTo>
                          <a:pt x="111" y="34"/>
                          <a:pt x="94" y="48"/>
                          <a:pt x="79" y="42"/>
                        </a:cubicBezTo>
                        <a:cubicBezTo>
                          <a:pt x="74" y="40"/>
                          <a:pt x="66" y="31"/>
                          <a:pt x="50" y="34"/>
                        </a:cubicBezTo>
                        <a:cubicBezTo>
                          <a:pt x="39" y="36"/>
                          <a:pt x="33" y="29"/>
                          <a:pt x="28" y="22"/>
                        </a:cubicBezTo>
                        <a:cubicBezTo>
                          <a:pt x="25" y="18"/>
                          <a:pt x="19" y="14"/>
                          <a:pt x="14" y="13"/>
                        </a:cubicBezTo>
                        <a:cubicBezTo>
                          <a:pt x="9" y="11"/>
                          <a:pt x="1" y="13"/>
                          <a:pt x="1" y="13"/>
                        </a:cubicBez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" name="Freeform 273">
                    <a:extLst>
                      <a:ext uri="{FF2B5EF4-FFF2-40B4-BE49-F238E27FC236}">
                        <a16:creationId xmlns:a16="http://schemas.microsoft.com/office/drawing/2014/main" id="{9ABC5F42-3694-73F8-0BC3-2310DC9E8DF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8617" y="4868864"/>
                    <a:ext cx="7938" cy="15875"/>
                  </a:xfrm>
                  <a:custGeom>
                    <a:avLst/>
                    <a:gdLst>
                      <a:gd name="T0" fmla="*/ 1 w 4"/>
                      <a:gd name="T1" fmla="*/ 6 h 8"/>
                      <a:gd name="T2" fmla="*/ 3 w 4"/>
                      <a:gd name="T3" fmla="*/ 8 h 8"/>
                      <a:gd name="T4" fmla="*/ 4 w 4"/>
                      <a:gd name="T5" fmla="*/ 5 h 8"/>
                      <a:gd name="T6" fmla="*/ 3 w 4"/>
                      <a:gd name="T7" fmla="*/ 2 h 8"/>
                      <a:gd name="T8" fmla="*/ 1 w 4"/>
                      <a:gd name="T9" fmla="*/ 0 h 8"/>
                      <a:gd name="T10" fmla="*/ 0 w 4"/>
                      <a:gd name="T11" fmla="*/ 2 h 8"/>
                      <a:gd name="T12" fmla="*/ 1 w 4"/>
                      <a:gd name="T13" fmla="*/ 6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" h="8">
                        <a:moveTo>
                          <a:pt x="1" y="6"/>
                        </a:moveTo>
                        <a:cubicBezTo>
                          <a:pt x="1" y="7"/>
                          <a:pt x="2" y="8"/>
                          <a:pt x="3" y="8"/>
                        </a:cubicBezTo>
                        <a:cubicBezTo>
                          <a:pt x="4" y="7"/>
                          <a:pt x="4" y="6"/>
                          <a:pt x="4" y="5"/>
                        </a:cubicBezTo>
                        <a:cubicBezTo>
                          <a:pt x="3" y="2"/>
                          <a:pt x="3" y="2"/>
                          <a:pt x="3" y="2"/>
                        </a:cubicBezTo>
                        <a:cubicBezTo>
                          <a:pt x="3" y="1"/>
                          <a:pt x="2" y="0"/>
                          <a:pt x="1" y="0"/>
                        </a:cubicBezTo>
                        <a:cubicBezTo>
                          <a:pt x="0" y="1"/>
                          <a:pt x="0" y="1"/>
                          <a:pt x="0" y="2"/>
                        </a:cubicBezTo>
                        <a:lnTo>
                          <a:pt x="1" y="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" name="Freeform 274">
                    <a:extLst>
                      <a:ext uri="{FF2B5EF4-FFF2-40B4-BE49-F238E27FC236}">
                        <a16:creationId xmlns:a16="http://schemas.microsoft.com/office/drawing/2014/main" id="{F3E4FA88-B697-F240-44AF-4291B361EBE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7505" y="4951414"/>
                    <a:ext cx="50800" cy="150813"/>
                  </a:xfrm>
                  <a:custGeom>
                    <a:avLst/>
                    <a:gdLst>
                      <a:gd name="T0" fmla="*/ 8 w 26"/>
                      <a:gd name="T1" fmla="*/ 0 h 77"/>
                      <a:gd name="T2" fmla="*/ 1 w 26"/>
                      <a:gd name="T3" fmla="*/ 34 h 77"/>
                      <a:gd name="T4" fmla="*/ 26 w 26"/>
                      <a:gd name="T5" fmla="*/ 77 h 77"/>
                      <a:gd name="T6" fmla="*/ 12 w 26"/>
                      <a:gd name="T7" fmla="*/ 31 h 77"/>
                      <a:gd name="T8" fmla="*/ 5 w 26"/>
                      <a:gd name="T9" fmla="*/ 28 h 77"/>
                      <a:gd name="T10" fmla="*/ 12 w 26"/>
                      <a:gd name="T11" fmla="*/ 23 h 77"/>
                      <a:gd name="T12" fmla="*/ 12 w 26"/>
                      <a:gd name="T13" fmla="*/ 1 h 77"/>
                      <a:gd name="T14" fmla="*/ 8 w 26"/>
                      <a:gd name="T15" fmla="*/ 0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6" h="77">
                        <a:moveTo>
                          <a:pt x="8" y="0"/>
                        </a:moveTo>
                        <a:cubicBezTo>
                          <a:pt x="8" y="0"/>
                          <a:pt x="0" y="15"/>
                          <a:pt x="1" y="34"/>
                        </a:cubicBezTo>
                        <a:cubicBezTo>
                          <a:pt x="2" y="54"/>
                          <a:pt x="22" y="73"/>
                          <a:pt x="26" y="77"/>
                        </a:cubicBezTo>
                        <a:cubicBezTo>
                          <a:pt x="16" y="59"/>
                          <a:pt x="12" y="31"/>
                          <a:pt x="12" y="31"/>
                        </a:cubicBezTo>
                        <a:cubicBezTo>
                          <a:pt x="5" y="28"/>
                          <a:pt x="5" y="28"/>
                          <a:pt x="5" y="28"/>
                        </a:cubicBezTo>
                        <a:cubicBezTo>
                          <a:pt x="12" y="23"/>
                          <a:pt x="12" y="23"/>
                          <a:pt x="12" y="23"/>
                        </a:cubicBezTo>
                        <a:cubicBezTo>
                          <a:pt x="12" y="1"/>
                          <a:pt x="12" y="1"/>
                          <a:pt x="12" y="1"/>
                        </a:cubicBezTo>
                        <a:lnTo>
                          <a:pt x="8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Freeform 275">
                    <a:extLst>
                      <a:ext uri="{FF2B5EF4-FFF2-40B4-BE49-F238E27FC236}">
                        <a16:creationId xmlns:a16="http://schemas.microsoft.com/office/drawing/2014/main" id="{2BF64AF0-B3F4-D1FF-1C7C-F0B12AA72A1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87317" y="5113339"/>
                    <a:ext cx="174625" cy="79375"/>
                  </a:xfrm>
                  <a:custGeom>
                    <a:avLst/>
                    <a:gdLst>
                      <a:gd name="T0" fmla="*/ 1 w 110"/>
                      <a:gd name="T1" fmla="*/ 0 h 50"/>
                      <a:gd name="T2" fmla="*/ 110 w 110"/>
                      <a:gd name="T3" fmla="*/ 22 h 50"/>
                      <a:gd name="T4" fmla="*/ 95 w 110"/>
                      <a:gd name="T5" fmla="*/ 50 h 50"/>
                      <a:gd name="T6" fmla="*/ 0 w 110"/>
                      <a:gd name="T7" fmla="*/ 12 h 50"/>
                      <a:gd name="T8" fmla="*/ 1 w 110"/>
                      <a:gd name="T9" fmla="*/ 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0" h="50">
                        <a:moveTo>
                          <a:pt x="1" y="0"/>
                        </a:moveTo>
                        <a:lnTo>
                          <a:pt x="110" y="22"/>
                        </a:lnTo>
                        <a:lnTo>
                          <a:pt x="95" y="50"/>
                        </a:lnTo>
                        <a:lnTo>
                          <a:pt x="0" y="12"/>
                        </a:ln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" name="Freeform 276">
                    <a:extLst>
                      <a:ext uri="{FF2B5EF4-FFF2-40B4-BE49-F238E27FC236}">
                        <a16:creationId xmlns:a16="http://schemas.microsoft.com/office/drawing/2014/main" id="{AE1EDA46-402D-927A-BE88-3A02536928C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77805" y="4949826"/>
                    <a:ext cx="252413" cy="258763"/>
                  </a:xfrm>
                  <a:custGeom>
                    <a:avLst/>
                    <a:gdLst>
                      <a:gd name="T0" fmla="*/ 7 w 128"/>
                      <a:gd name="T1" fmla="*/ 93 h 132"/>
                      <a:gd name="T2" fmla="*/ 49 w 128"/>
                      <a:gd name="T3" fmla="*/ 102 h 132"/>
                      <a:gd name="T4" fmla="*/ 91 w 128"/>
                      <a:gd name="T5" fmla="*/ 24 h 132"/>
                      <a:gd name="T6" fmla="*/ 121 w 128"/>
                      <a:gd name="T7" fmla="*/ 53 h 132"/>
                      <a:gd name="T8" fmla="*/ 70 w 128"/>
                      <a:gd name="T9" fmla="*/ 119 h 132"/>
                      <a:gd name="T10" fmla="*/ 38 w 128"/>
                      <a:gd name="T11" fmla="*/ 127 h 132"/>
                      <a:gd name="T12" fmla="*/ 0 w 128"/>
                      <a:gd name="T13" fmla="*/ 112 h 132"/>
                      <a:gd name="T14" fmla="*/ 7 w 128"/>
                      <a:gd name="T15" fmla="*/ 93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8" h="132">
                        <a:moveTo>
                          <a:pt x="7" y="93"/>
                        </a:moveTo>
                        <a:cubicBezTo>
                          <a:pt x="49" y="102"/>
                          <a:pt x="49" y="102"/>
                          <a:pt x="49" y="102"/>
                        </a:cubicBezTo>
                        <a:cubicBezTo>
                          <a:pt x="49" y="102"/>
                          <a:pt x="81" y="54"/>
                          <a:pt x="91" y="24"/>
                        </a:cubicBezTo>
                        <a:cubicBezTo>
                          <a:pt x="109" y="0"/>
                          <a:pt x="128" y="26"/>
                          <a:pt x="121" y="53"/>
                        </a:cubicBezTo>
                        <a:cubicBezTo>
                          <a:pt x="101" y="86"/>
                          <a:pt x="82" y="108"/>
                          <a:pt x="70" y="119"/>
                        </a:cubicBezTo>
                        <a:cubicBezTo>
                          <a:pt x="55" y="132"/>
                          <a:pt x="38" y="127"/>
                          <a:pt x="38" y="127"/>
                        </a:cubicBezTo>
                        <a:cubicBezTo>
                          <a:pt x="38" y="127"/>
                          <a:pt x="14" y="117"/>
                          <a:pt x="0" y="112"/>
                        </a:cubicBezTo>
                        <a:lnTo>
                          <a:pt x="7" y="93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" name="Freeform 278">
                    <a:extLst>
                      <a:ext uri="{FF2B5EF4-FFF2-40B4-BE49-F238E27FC236}">
                        <a16:creationId xmlns:a16="http://schemas.microsoft.com/office/drawing/2014/main" id="{7C518B78-0363-5D8C-204D-C7523E3B4AC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12705" y="5087939"/>
                    <a:ext cx="79375" cy="46038"/>
                  </a:xfrm>
                  <a:custGeom>
                    <a:avLst/>
                    <a:gdLst>
                      <a:gd name="T0" fmla="*/ 40 w 40"/>
                      <a:gd name="T1" fmla="*/ 14 h 24"/>
                      <a:gd name="T2" fmla="*/ 31 w 40"/>
                      <a:gd name="T3" fmla="*/ 9 h 24"/>
                      <a:gd name="T4" fmla="*/ 24 w 40"/>
                      <a:gd name="T5" fmla="*/ 4 h 24"/>
                      <a:gd name="T6" fmla="*/ 21 w 40"/>
                      <a:gd name="T7" fmla="*/ 2 h 24"/>
                      <a:gd name="T8" fmla="*/ 4 w 40"/>
                      <a:gd name="T9" fmla="*/ 1 h 24"/>
                      <a:gd name="T10" fmla="*/ 4 w 40"/>
                      <a:gd name="T11" fmla="*/ 2 h 24"/>
                      <a:gd name="T12" fmla="*/ 12 w 40"/>
                      <a:gd name="T13" fmla="*/ 4 h 24"/>
                      <a:gd name="T14" fmla="*/ 1 w 40"/>
                      <a:gd name="T15" fmla="*/ 7 h 24"/>
                      <a:gd name="T16" fmla="*/ 3 w 40"/>
                      <a:gd name="T17" fmla="*/ 9 h 24"/>
                      <a:gd name="T18" fmla="*/ 11 w 40"/>
                      <a:gd name="T19" fmla="*/ 8 h 24"/>
                      <a:gd name="T20" fmla="*/ 25 w 40"/>
                      <a:gd name="T21" fmla="*/ 20 h 24"/>
                      <a:gd name="T22" fmla="*/ 19 w 40"/>
                      <a:gd name="T23" fmla="*/ 21 h 24"/>
                      <a:gd name="T24" fmla="*/ 22 w 40"/>
                      <a:gd name="T25" fmla="*/ 24 h 24"/>
                      <a:gd name="T26" fmla="*/ 39 w 40"/>
                      <a:gd name="T27" fmla="*/ 23 h 24"/>
                      <a:gd name="T28" fmla="*/ 40 w 40"/>
                      <a:gd name="T29" fmla="*/ 14 h 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0" h="24">
                        <a:moveTo>
                          <a:pt x="40" y="14"/>
                        </a:moveTo>
                        <a:cubicBezTo>
                          <a:pt x="40" y="14"/>
                          <a:pt x="35" y="12"/>
                          <a:pt x="31" y="9"/>
                        </a:cubicBezTo>
                        <a:cubicBezTo>
                          <a:pt x="28" y="7"/>
                          <a:pt x="24" y="4"/>
                          <a:pt x="24" y="4"/>
                        </a:cubicBezTo>
                        <a:cubicBezTo>
                          <a:pt x="24" y="4"/>
                          <a:pt x="23" y="3"/>
                          <a:pt x="21" y="2"/>
                        </a:cubicBezTo>
                        <a:cubicBezTo>
                          <a:pt x="20" y="1"/>
                          <a:pt x="12" y="0"/>
                          <a:pt x="4" y="1"/>
                        </a:cubicBezTo>
                        <a:cubicBezTo>
                          <a:pt x="3" y="1"/>
                          <a:pt x="3" y="2"/>
                          <a:pt x="4" y="2"/>
                        </a:cubicBezTo>
                        <a:cubicBezTo>
                          <a:pt x="5" y="3"/>
                          <a:pt x="12" y="4"/>
                          <a:pt x="12" y="4"/>
                        </a:cubicBezTo>
                        <a:cubicBezTo>
                          <a:pt x="12" y="4"/>
                          <a:pt x="3" y="6"/>
                          <a:pt x="1" y="7"/>
                        </a:cubicBezTo>
                        <a:cubicBezTo>
                          <a:pt x="0" y="7"/>
                          <a:pt x="1" y="9"/>
                          <a:pt x="3" y="9"/>
                        </a:cubicBezTo>
                        <a:cubicBezTo>
                          <a:pt x="4" y="9"/>
                          <a:pt x="11" y="8"/>
                          <a:pt x="11" y="8"/>
                        </a:cubicBezTo>
                        <a:cubicBezTo>
                          <a:pt x="25" y="20"/>
                          <a:pt x="25" y="20"/>
                          <a:pt x="25" y="20"/>
                        </a:cubicBezTo>
                        <a:cubicBezTo>
                          <a:pt x="19" y="21"/>
                          <a:pt x="19" y="21"/>
                          <a:pt x="19" y="21"/>
                        </a:cubicBezTo>
                        <a:cubicBezTo>
                          <a:pt x="22" y="24"/>
                          <a:pt x="22" y="24"/>
                          <a:pt x="22" y="24"/>
                        </a:cubicBezTo>
                        <a:cubicBezTo>
                          <a:pt x="22" y="24"/>
                          <a:pt x="30" y="24"/>
                          <a:pt x="39" y="23"/>
                        </a:cubicBezTo>
                        <a:lnTo>
                          <a:pt x="40" y="14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0" name="Freeform 279">
                    <a:extLst>
                      <a:ext uri="{FF2B5EF4-FFF2-40B4-BE49-F238E27FC236}">
                        <a16:creationId xmlns:a16="http://schemas.microsoft.com/office/drawing/2014/main" id="{CB18CFB7-8558-4976-1E0A-0288C52C531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2405" y="5707064"/>
                    <a:ext cx="63500" cy="38100"/>
                  </a:xfrm>
                  <a:custGeom>
                    <a:avLst/>
                    <a:gdLst>
                      <a:gd name="T0" fmla="*/ 11 w 32"/>
                      <a:gd name="T1" fmla="*/ 9 h 19"/>
                      <a:gd name="T2" fmla="*/ 2 w 32"/>
                      <a:gd name="T3" fmla="*/ 11 h 19"/>
                      <a:gd name="T4" fmla="*/ 1 w 32"/>
                      <a:gd name="T5" fmla="*/ 14 h 19"/>
                      <a:gd name="T6" fmla="*/ 13 w 32"/>
                      <a:gd name="T7" fmla="*/ 16 h 19"/>
                      <a:gd name="T8" fmla="*/ 23 w 32"/>
                      <a:gd name="T9" fmla="*/ 10 h 19"/>
                      <a:gd name="T10" fmla="*/ 22 w 32"/>
                      <a:gd name="T11" fmla="*/ 18 h 19"/>
                      <a:gd name="T12" fmla="*/ 26 w 32"/>
                      <a:gd name="T13" fmla="*/ 19 h 19"/>
                      <a:gd name="T14" fmla="*/ 30 w 32"/>
                      <a:gd name="T15" fmla="*/ 6 h 19"/>
                      <a:gd name="T16" fmla="*/ 31 w 32"/>
                      <a:gd name="T17" fmla="*/ 0 h 19"/>
                      <a:gd name="T18" fmla="*/ 23 w 32"/>
                      <a:gd name="T19" fmla="*/ 5 h 19"/>
                      <a:gd name="T20" fmla="*/ 11 w 32"/>
                      <a:gd name="T21" fmla="*/ 9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2" h="19">
                        <a:moveTo>
                          <a:pt x="11" y="9"/>
                        </a:moveTo>
                        <a:cubicBezTo>
                          <a:pt x="8" y="9"/>
                          <a:pt x="3" y="11"/>
                          <a:pt x="2" y="11"/>
                        </a:cubicBezTo>
                        <a:cubicBezTo>
                          <a:pt x="0" y="11"/>
                          <a:pt x="1" y="14"/>
                          <a:pt x="1" y="14"/>
                        </a:cubicBezTo>
                        <a:cubicBezTo>
                          <a:pt x="1" y="14"/>
                          <a:pt x="11" y="15"/>
                          <a:pt x="13" y="16"/>
                        </a:cubicBezTo>
                        <a:cubicBezTo>
                          <a:pt x="15" y="16"/>
                          <a:pt x="23" y="10"/>
                          <a:pt x="23" y="10"/>
                        </a:cubicBezTo>
                        <a:cubicBezTo>
                          <a:pt x="22" y="18"/>
                          <a:pt x="22" y="18"/>
                          <a:pt x="22" y="18"/>
                        </a:cubicBezTo>
                        <a:cubicBezTo>
                          <a:pt x="26" y="19"/>
                          <a:pt x="26" y="19"/>
                          <a:pt x="26" y="19"/>
                        </a:cubicBezTo>
                        <a:cubicBezTo>
                          <a:pt x="26" y="19"/>
                          <a:pt x="28" y="12"/>
                          <a:pt x="30" y="6"/>
                        </a:cubicBezTo>
                        <a:cubicBezTo>
                          <a:pt x="32" y="3"/>
                          <a:pt x="31" y="0"/>
                          <a:pt x="31" y="0"/>
                        </a:cubicBezTo>
                        <a:cubicBezTo>
                          <a:pt x="31" y="0"/>
                          <a:pt x="29" y="0"/>
                          <a:pt x="23" y="5"/>
                        </a:cubicBezTo>
                        <a:cubicBezTo>
                          <a:pt x="17" y="11"/>
                          <a:pt x="13" y="9"/>
                          <a:pt x="11" y="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47" name="Freeform 179">
                  <a:extLst>
                    <a:ext uri="{FF2B5EF4-FFF2-40B4-BE49-F238E27FC236}">
                      <a16:creationId xmlns:a16="http://schemas.microsoft.com/office/drawing/2014/main" id="{3EC43AED-A7C9-CB5B-5452-81E6FD41299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81113" y="4808808"/>
                  <a:ext cx="566968" cy="273800"/>
                </a:xfrm>
                <a:custGeom>
                  <a:avLst/>
                  <a:gdLst>
                    <a:gd name="T0" fmla="*/ 262 w 551"/>
                    <a:gd name="T1" fmla="*/ 0 h 266"/>
                    <a:gd name="T2" fmla="*/ 238 w 551"/>
                    <a:gd name="T3" fmla="*/ 1 h 266"/>
                    <a:gd name="T4" fmla="*/ 240 w 551"/>
                    <a:gd name="T5" fmla="*/ 6 h 266"/>
                    <a:gd name="T6" fmla="*/ 264 w 551"/>
                    <a:gd name="T7" fmla="*/ 12 h 266"/>
                    <a:gd name="T8" fmla="*/ 282 w 551"/>
                    <a:gd name="T9" fmla="*/ 24 h 266"/>
                    <a:gd name="T10" fmla="*/ 281 w 551"/>
                    <a:gd name="T11" fmla="*/ 24 h 266"/>
                    <a:gd name="T12" fmla="*/ 280 w 551"/>
                    <a:gd name="T13" fmla="*/ 111 h 266"/>
                    <a:gd name="T14" fmla="*/ 218 w 551"/>
                    <a:gd name="T15" fmla="*/ 100 h 266"/>
                    <a:gd name="T16" fmla="*/ 166 w 551"/>
                    <a:gd name="T17" fmla="*/ 128 h 266"/>
                    <a:gd name="T18" fmla="*/ 94 w 551"/>
                    <a:gd name="T19" fmla="*/ 246 h 266"/>
                    <a:gd name="T20" fmla="*/ 0 w 551"/>
                    <a:gd name="T21" fmla="*/ 266 h 266"/>
                    <a:gd name="T22" fmla="*/ 224 w 551"/>
                    <a:gd name="T23" fmla="*/ 266 h 266"/>
                    <a:gd name="T24" fmla="*/ 241 w 551"/>
                    <a:gd name="T25" fmla="*/ 240 h 266"/>
                    <a:gd name="T26" fmla="*/ 212 w 551"/>
                    <a:gd name="T27" fmla="*/ 236 h 266"/>
                    <a:gd name="T28" fmla="*/ 217 w 551"/>
                    <a:gd name="T29" fmla="*/ 156 h 266"/>
                    <a:gd name="T30" fmla="*/ 280 w 551"/>
                    <a:gd name="T31" fmla="*/ 166 h 266"/>
                    <a:gd name="T32" fmla="*/ 279 w 551"/>
                    <a:gd name="T33" fmla="*/ 266 h 266"/>
                    <a:gd name="T34" fmla="*/ 364 w 551"/>
                    <a:gd name="T35" fmla="*/ 266 h 266"/>
                    <a:gd name="T36" fmla="*/ 348 w 551"/>
                    <a:gd name="T37" fmla="*/ 167 h 266"/>
                    <a:gd name="T38" fmla="*/ 451 w 551"/>
                    <a:gd name="T39" fmla="*/ 166 h 266"/>
                    <a:gd name="T40" fmla="*/ 510 w 551"/>
                    <a:gd name="T41" fmla="*/ 167 h 266"/>
                    <a:gd name="T42" fmla="*/ 519 w 551"/>
                    <a:gd name="T43" fmla="*/ 168 h 266"/>
                    <a:gd name="T44" fmla="*/ 521 w 551"/>
                    <a:gd name="T45" fmla="*/ 168 h 266"/>
                    <a:gd name="T46" fmla="*/ 545 w 551"/>
                    <a:gd name="T47" fmla="*/ 168 h 266"/>
                    <a:gd name="T48" fmla="*/ 546 w 551"/>
                    <a:gd name="T49" fmla="*/ 160 h 266"/>
                    <a:gd name="T50" fmla="*/ 532 w 551"/>
                    <a:gd name="T51" fmla="*/ 158 h 266"/>
                    <a:gd name="T52" fmla="*/ 548 w 551"/>
                    <a:gd name="T53" fmla="*/ 143 h 266"/>
                    <a:gd name="T54" fmla="*/ 551 w 551"/>
                    <a:gd name="T55" fmla="*/ 121 h 266"/>
                    <a:gd name="T56" fmla="*/ 548 w 551"/>
                    <a:gd name="T57" fmla="*/ 119 h 266"/>
                    <a:gd name="T58" fmla="*/ 545 w 551"/>
                    <a:gd name="T59" fmla="*/ 121 h 266"/>
                    <a:gd name="T60" fmla="*/ 537 w 551"/>
                    <a:gd name="T61" fmla="*/ 135 h 266"/>
                    <a:gd name="T62" fmla="*/ 511 w 551"/>
                    <a:gd name="T63" fmla="*/ 150 h 266"/>
                    <a:gd name="T64" fmla="*/ 338 w 551"/>
                    <a:gd name="T65" fmla="*/ 121 h 266"/>
                    <a:gd name="T66" fmla="*/ 315 w 551"/>
                    <a:gd name="T67" fmla="*/ 27 h 266"/>
                    <a:gd name="T68" fmla="*/ 306 w 551"/>
                    <a:gd name="T69" fmla="*/ 25 h 266"/>
                    <a:gd name="T70" fmla="*/ 306 w 551"/>
                    <a:gd name="T71" fmla="*/ 22 h 266"/>
                    <a:gd name="T72" fmla="*/ 306 w 551"/>
                    <a:gd name="T73" fmla="*/ 0 h 266"/>
                    <a:gd name="T74" fmla="*/ 288 w 551"/>
                    <a:gd name="T75" fmla="*/ 0 h 266"/>
                    <a:gd name="T76" fmla="*/ 287 w 551"/>
                    <a:gd name="T77" fmla="*/ 8 h 266"/>
                    <a:gd name="T78" fmla="*/ 262 w 551"/>
                    <a:gd name="T79" fmla="*/ 0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551" h="266">
                      <a:moveTo>
                        <a:pt x="262" y="0"/>
                      </a:moveTo>
                      <a:cubicBezTo>
                        <a:pt x="238" y="1"/>
                        <a:pt x="238" y="1"/>
                        <a:pt x="238" y="1"/>
                      </a:cubicBezTo>
                      <a:cubicBezTo>
                        <a:pt x="238" y="1"/>
                        <a:pt x="235" y="5"/>
                        <a:pt x="240" y="6"/>
                      </a:cubicBezTo>
                      <a:cubicBezTo>
                        <a:pt x="241" y="6"/>
                        <a:pt x="264" y="12"/>
                        <a:pt x="264" y="12"/>
                      </a:cubicBezTo>
                      <a:cubicBezTo>
                        <a:pt x="282" y="24"/>
                        <a:pt x="282" y="24"/>
                        <a:pt x="282" y="24"/>
                      </a:cubicBezTo>
                      <a:cubicBezTo>
                        <a:pt x="281" y="24"/>
                        <a:pt x="281" y="24"/>
                        <a:pt x="281" y="24"/>
                      </a:cubicBezTo>
                      <a:cubicBezTo>
                        <a:pt x="280" y="111"/>
                        <a:pt x="280" y="111"/>
                        <a:pt x="280" y="111"/>
                      </a:cubicBezTo>
                      <a:cubicBezTo>
                        <a:pt x="218" y="100"/>
                        <a:pt x="218" y="100"/>
                        <a:pt x="218" y="100"/>
                      </a:cubicBezTo>
                      <a:cubicBezTo>
                        <a:pt x="218" y="100"/>
                        <a:pt x="187" y="101"/>
                        <a:pt x="166" y="128"/>
                      </a:cubicBezTo>
                      <a:cubicBezTo>
                        <a:pt x="163" y="132"/>
                        <a:pt x="129" y="188"/>
                        <a:pt x="94" y="246"/>
                      </a:cubicBezTo>
                      <a:cubicBezTo>
                        <a:pt x="63" y="251"/>
                        <a:pt x="31" y="258"/>
                        <a:pt x="0" y="266"/>
                      </a:cubicBezTo>
                      <a:cubicBezTo>
                        <a:pt x="224" y="266"/>
                        <a:pt x="224" y="266"/>
                        <a:pt x="224" y="266"/>
                      </a:cubicBezTo>
                      <a:cubicBezTo>
                        <a:pt x="228" y="258"/>
                        <a:pt x="233" y="249"/>
                        <a:pt x="241" y="240"/>
                      </a:cubicBezTo>
                      <a:cubicBezTo>
                        <a:pt x="234" y="238"/>
                        <a:pt x="224" y="237"/>
                        <a:pt x="212" y="236"/>
                      </a:cubicBezTo>
                      <a:cubicBezTo>
                        <a:pt x="215" y="205"/>
                        <a:pt x="216" y="176"/>
                        <a:pt x="217" y="156"/>
                      </a:cubicBezTo>
                      <a:cubicBezTo>
                        <a:pt x="224" y="162"/>
                        <a:pt x="248" y="165"/>
                        <a:pt x="280" y="166"/>
                      </a:cubicBezTo>
                      <a:cubicBezTo>
                        <a:pt x="279" y="266"/>
                        <a:pt x="279" y="266"/>
                        <a:pt x="279" y="266"/>
                      </a:cubicBezTo>
                      <a:cubicBezTo>
                        <a:pt x="364" y="266"/>
                        <a:pt x="364" y="266"/>
                        <a:pt x="364" y="266"/>
                      </a:cubicBezTo>
                      <a:cubicBezTo>
                        <a:pt x="362" y="236"/>
                        <a:pt x="356" y="201"/>
                        <a:pt x="348" y="167"/>
                      </a:cubicBezTo>
                      <a:cubicBezTo>
                        <a:pt x="382" y="166"/>
                        <a:pt x="417" y="166"/>
                        <a:pt x="451" y="166"/>
                      </a:cubicBezTo>
                      <a:cubicBezTo>
                        <a:pt x="472" y="166"/>
                        <a:pt x="492" y="166"/>
                        <a:pt x="510" y="167"/>
                      </a:cubicBezTo>
                      <a:cubicBezTo>
                        <a:pt x="510" y="167"/>
                        <a:pt x="514" y="168"/>
                        <a:pt x="519" y="168"/>
                      </a:cubicBezTo>
                      <a:cubicBezTo>
                        <a:pt x="520" y="168"/>
                        <a:pt x="520" y="168"/>
                        <a:pt x="521" y="168"/>
                      </a:cubicBezTo>
                      <a:cubicBezTo>
                        <a:pt x="532" y="168"/>
                        <a:pt x="545" y="168"/>
                        <a:pt x="545" y="168"/>
                      </a:cubicBezTo>
                      <a:cubicBezTo>
                        <a:pt x="546" y="160"/>
                        <a:pt x="546" y="160"/>
                        <a:pt x="546" y="160"/>
                      </a:cubicBezTo>
                      <a:cubicBezTo>
                        <a:pt x="532" y="158"/>
                        <a:pt x="532" y="158"/>
                        <a:pt x="532" y="158"/>
                      </a:cubicBezTo>
                      <a:cubicBezTo>
                        <a:pt x="532" y="158"/>
                        <a:pt x="547" y="147"/>
                        <a:pt x="548" y="143"/>
                      </a:cubicBezTo>
                      <a:cubicBezTo>
                        <a:pt x="548" y="139"/>
                        <a:pt x="551" y="121"/>
                        <a:pt x="551" y="121"/>
                      </a:cubicBezTo>
                      <a:cubicBezTo>
                        <a:pt x="551" y="121"/>
                        <a:pt x="549" y="119"/>
                        <a:pt x="548" y="119"/>
                      </a:cubicBezTo>
                      <a:cubicBezTo>
                        <a:pt x="547" y="119"/>
                        <a:pt x="546" y="120"/>
                        <a:pt x="545" y="121"/>
                      </a:cubicBezTo>
                      <a:cubicBezTo>
                        <a:pt x="545" y="123"/>
                        <a:pt x="539" y="131"/>
                        <a:pt x="537" y="135"/>
                      </a:cubicBezTo>
                      <a:cubicBezTo>
                        <a:pt x="511" y="150"/>
                        <a:pt x="511" y="150"/>
                        <a:pt x="511" y="150"/>
                      </a:cubicBezTo>
                      <a:cubicBezTo>
                        <a:pt x="338" y="121"/>
                        <a:pt x="338" y="121"/>
                        <a:pt x="338" y="121"/>
                      </a:cubicBezTo>
                      <a:cubicBezTo>
                        <a:pt x="326" y="73"/>
                        <a:pt x="315" y="27"/>
                        <a:pt x="315" y="27"/>
                      </a:cubicBezTo>
                      <a:cubicBezTo>
                        <a:pt x="306" y="25"/>
                        <a:pt x="306" y="25"/>
                        <a:pt x="306" y="25"/>
                      </a:cubicBezTo>
                      <a:cubicBezTo>
                        <a:pt x="306" y="22"/>
                        <a:pt x="306" y="22"/>
                        <a:pt x="306" y="22"/>
                      </a:cubicBezTo>
                      <a:cubicBezTo>
                        <a:pt x="306" y="0"/>
                        <a:pt x="306" y="0"/>
                        <a:pt x="306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87" y="8"/>
                        <a:pt x="287" y="8"/>
                        <a:pt x="287" y="8"/>
                      </a:cubicBezTo>
                      <a:cubicBezTo>
                        <a:pt x="262" y="0"/>
                        <a:pt x="262" y="0"/>
                        <a:pt x="262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8" name="Freeform 178">
                  <a:extLst>
                    <a:ext uri="{FF2B5EF4-FFF2-40B4-BE49-F238E27FC236}">
                      <a16:creationId xmlns:a16="http://schemas.microsoft.com/office/drawing/2014/main" id="{866DF9EA-8902-C08B-C2F0-F87412CD004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695018" y="4798755"/>
                  <a:ext cx="340636" cy="295218"/>
                </a:xfrm>
                <a:custGeom>
                  <a:avLst/>
                  <a:gdLst>
                    <a:gd name="T0" fmla="*/ 214 w 308"/>
                    <a:gd name="T1" fmla="*/ 0 h 267"/>
                    <a:gd name="T2" fmla="*/ 208 w 308"/>
                    <a:gd name="T3" fmla="*/ 1 h 267"/>
                    <a:gd name="T4" fmla="*/ 210 w 308"/>
                    <a:gd name="T5" fmla="*/ 13 h 267"/>
                    <a:gd name="T6" fmla="*/ 195 w 308"/>
                    <a:gd name="T7" fmla="*/ 4 h 267"/>
                    <a:gd name="T8" fmla="*/ 194 w 308"/>
                    <a:gd name="T9" fmla="*/ 4 h 267"/>
                    <a:gd name="T10" fmla="*/ 175 w 308"/>
                    <a:gd name="T11" fmla="*/ 8 h 267"/>
                    <a:gd name="T12" fmla="*/ 177 w 308"/>
                    <a:gd name="T13" fmla="*/ 12 h 267"/>
                    <a:gd name="T14" fmla="*/ 190 w 308"/>
                    <a:gd name="T15" fmla="*/ 16 h 267"/>
                    <a:gd name="T16" fmla="*/ 210 w 308"/>
                    <a:gd name="T17" fmla="*/ 32 h 267"/>
                    <a:gd name="T18" fmla="*/ 230 w 308"/>
                    <a:gd name="T19" fmla="*/ 190 h 267"/>
                    <a:gd name="T20" fmla="*/ 172 w 308"/>
                    <a:gd name="T21" fmla="*/ 119 h 267"/>
                    <a:gd name="T22" fmla="*/ 124 w 308"/>
                    <a:gd name="T23" fmla="*/ 94 h 267"/>
                    <a:gd name="T24" fmla="*/ 74 w 308"/>
                    <a:gd name="T25" fmla="*/ 128 h 267"/>
                    <a:gd name="T26" fmla="*/ 0 w 308"/>
                    <a:gd name="T27" fmla="*/ 267 h 267"/>
                    <a:gd name="T28" fmla="*/ 135 w 308"/>
                    <a:gd name="T29" fmla="*/ 267 h 267"/>
                    <a:gd name="T30" fmla="*/ 139 w 308"/>
                    <a:gd name="T31" fmla="*/ 192 h 267"/>
                    <a:gd name="T32" fmla="*/ 218 w 308"/>
                    <a:gd name="T33" fmla="*/ 267 h 267"/>
                    <a:gd name="T34" fmla="*/ 308 w 308"/>
                    <a:gd name="T35" fmla="*/ 267 h 267"/>
                    <a:gd name="T36" fmla="*/ 223 w 308"/>
                    <a:gd name="T37" fmla="*/ 29 h 267"/>
                    <a:gd name="T38" fmla="*/ 222 w 308"/>
                    <a:gd name="T39" fmla="*/ 20 h 267"/>
                    <a:gd name="T40" fmla="*/ 214 w 308"/>
                    <a:gd name="T41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08" h="267">
                      <a:moveTo>
                        <a:pt x="214" y="0"/>
                      </a:moveTo>
                      <a:cubicBezTo>
                        <a:pt x="208" y="1"/>
                        <a:pt x="208" y="1"/>
                        <a:pt x="208" y="1"/>
                      </a:cubicBezTo>
                      <a:cubicBezTo>
                        <a:pt x="210" y="13"/>
                        <a:pt x="210" y="13"/>
                        <a:pt x="210" y="13"/>
                      </a:cubicBezTo>
                      <a:cubicBezTo>
                        <a:pt x="210" y="13"/>
                        <a:pt x="198" y="4"/>
                        <a:pt x="195" y="4"/>
                      </a:cubicBezTo>
                      <a:cubicBezTo>
                        <a:pt x="194" y="4"/>
                        <a:pt x="194" y="4"/>
                        <a:pt x="194" y="4"/>
                      </a:cubicBezTo>
                      <a:cubicBezTo>
                        <a:pt x="191" y="5"/>
                        <a:pt x="175" y="8"/>
                        <a:pt x="175" y="8"/>
                      </a:cubicBezTo>
                      <a:cubicBezTo>
                        <a:pt x="175" y="8"/>
                        <a:pt x="173" y="12"/>
                        <a:pt x="177" y="12"/>
                      </a:cubicBezTo>
                      <a:cubicBezTo>
                        <a:pt x="178" y="12"/>
                        <a:pt x="187" y="15"/>
                        <a:pt x="190" y="16"/>
                      </a:cubicBezTo>
                      <a:cubicBezTo>
                        <a:pt x="210" y="32"/>
                        <a:pt x="210" y="32"/>
                        <a:pt x="210" y="32"/>
                      </a:cubicBezTo>
                      <a:cubicBezTo>
                        <a:pt x="230" y="190"/>
                        <a:pt x="230" y="190"/>
                        <a:pt x="230" y="190"/>
                      </a:cubicBezTo>
                      <a:cubicBezTo>
                        <a:pt x="200" y="154"/>
                        <a:pt x="177" y="125"/>
                        <a:pt x="172" y="119"/>
                      </a:cubicBezTo>
                      <a:cubicBezTo>
                        <a:pt x="164" y="107"/>
                        <a:pt x="145" y="94"/>
                        <a:pt x="124" y="94"/>
                      </a:cubicBezTo>
                      <a:cubicBezTo>
                        <a:pt x="107" y="94"/>
                        <a:pt x="89" y="102"/>
                        <a:pt x="74" y="128"/>
                      </a:cubicBezTo>
                      <a:cubicBezTo>
                        <a:pt x="54" y="164"/>
                        <a:pt x="24" y="222"/>
                        <a:pt x="0" y="267"/>
                      </a:cubicBezTo>
                      <a:cubicBezTo>
                        <a:pt x="135" y="267"/>
                        <a:pt x="135" y="267"/>
                        <a:pt x="135" y="267"/>
                      </a:cubicBezTo>
                      <a:cubicBezTo>
                        <a:pt x="138" y="241"/>
                        <a:pt x="139" y="214"/>
                        <a:pt x="139" y="192"/>
                      </a:cubicBezTo>
                      <a:cubicBezTo>
                        <a:pt x="218" y="267"/>
                        <a:pt x="218" y="267"/>
                        <a:pt x="218" y="267"/>
                      </a:cubicBezTo>
                      <a:cubicBezTo>
                        <a:pt x="308" y="267"/>
                        <a:pt x="308" y="267"/>
                        <a:pt x="308" y="267"/>
                      </a:cubicBezTo>
                      <a:cubicBezTo>
                        <a:pt x="297" y="187"/>
                        <a:pt x="223" y="29"/>
                        <a:pt x="223" y="29"/>
                      </a:cubicBezTo>
                      <a:cubicBezTo>
                        <a:pt x="223" y="29"/>
                        <a:pt x="223" y="24"/>
                        <a:pt x="222" y="20"/>
                      </a:cubicBezTo>
                      <a:cubicBezTo>
                        <a:pt x="218" y="11"/>
                        <a:pt x="214" y="0"/>
                        <a:pt x="214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" name="Freeform 176">
                  <a:extLst>
                    <a:ext uri="{FF2B5EF4-FFF2-40B4-BE49-F238E27FC236}">
                      <a16:creationId xmlns:a16="http://schemas.microsoft.com/office/drawing/2014/main" id="{361A36E7-D1E0-4387-9579-91EE4529223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36034" y="4916018"/>
                  <a:ext cx="541027" cy="181578"/>
                </a:xfrm>
                <a:custGeom>
                  <a:avLst/>
                  <a:gdLst>
                    <a:gd name="T0" fmla="*/ 91 w 375"/>
                    <a:gd name="T1" fmla="*/ 0 h 126"/>
                    <a:gd name="T2" fmla="*/ 48 w 375"/>
                    <a:gd name="T3" fmla="*/ 25 h 126"/>
                    <a:gd name="T4" fmla="*/ 0 w 375"/>
                    <a:gd name="T5" fmla="*/ 126 h 126"/>
                    <a:gd name="T6" fmla="*/ 88 w 375"/>
                    <a:gd name="T7" fmla="*/ 126 h 126"/>
                    <a:gd name="T8" fmla="*/ 92 w 375"/>
                    <a:gd name="T9" fmla="*/ 48 h 126"/>
                    <a:gd name="T10" fmla="*/ 152 w 375"/>
                    <a:gd name="T11" fmla="*/ 55 h 126"/>
                    <a:gd name="T12" fmla="*/ 240 w 375"/>
                    <a:gd name="T13" fmla="*/ 52 h 126"/>
                    <a:gd name="T14" fmla="*/ 331 w 375"/>
                    <a:gd name="T15" fmla="*/ 50 h 126"/>
                    <a:gd name="T16" fmla="*/ 341 w 375"/>
                    <a:gd name="T17" fmla="*/ 50 h 126"/>
                    <a:gd name="T18" fmla="*/ 349 w 375"/>
                    <a:gd name="T19" fmla="*/ 51 h 126"/>
                    <a:gd name="T20" fmla="*/ 351 w 375"/>
                    <a:gd name="T21" fmla="*/ 51 h 126"/>
                    <a:gd name="T22" fmla="*/ 371 w 375"/>
                    <a:gd name="T23" fmla="*/ 50 h 126"/>
                    <a:gd name="T24" fmla="*/ 372 w 375"/>
                    <a:gd name="T25" fmla="*/ 44 h 126"/>
                    <a:gd name="T26" fmla="*/ 360 w 375"/>
                    <a:gd name="T27" fmla="*/ 42 h 126"/>
                    <a:gd name="T28" fmla="*/ 373 w 375"/>
                    <a:gd name="T29" fmla="*/ 29 h 126"/>
                    <a:gd name="T30" fmla="*/ 375 w 375"/>
                    <a:gd name="T31" fmla="*/ 10 h 126"/>
                    <a:gd name="T32" fmla="*/ 372 w 375"/>
                    <a:gd name="T33" fmla="*/ 9 h 126"/>
                    <a:gd name="T34" fmla="*/ 370 w 375"/>
                    <a:gd name="T35" fmla="*/ 10 h 126"/>
                    <a:gd name="T36" fmla="*/ 363 w 375"/>
                    <a:gd name="T37" fmla="*/ 22 h 126"/>
                    <a:gd name="T38" fmla="*/ 342 w 375"/>
                    <a:gd name="T39" fmla="*/ 36 h 126"/>
                    <a:gd name="T40" fmla="*/ 176 w 375"/>
                    <a:gd name="T41" fmla="*/ 13 h 126"/>
                    <a:gd name="T42" fmla="*/ 91 w 375"/>
                    <a:gd name="T43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75" h="126">
                      <a:moveTo>
                        <a:pt x="91" y="0"/>
                      </a:moveTo>
                      <a:cubicBezTo>
                        <a:pt x="91" y="0"/>
                        <a:pt x="65" y="2"/>
                        <a:pt x="48" y="25"/>
                      </a:cubicBezTo>
                      <a:cubicBezTo>
                        <a:pt x="46" y="29"/>
                        <a:pt x="23" y="76"/>
                        <a:pt x="0" y="126"/>
                      </a:cubicBezTo>
                      <a:cubicBezTo>
                        <a:pt x="88" y="126"/>
                        <a:pt x="88" y="126"/>
                        <a:pt x="88" y="126"/>
                      </a:cubicBezTo>
                      <a:cubicBezTo>
                        <a:pt x="91" y="96"/>
                        <a:pt x="92" y="67"/>
                        <a:pt x="92" y="48"/>
                      </a:cubicBezTo>
                      <a:cubicBezTo>
                        <a:pt x="99" y="53"/>
                        <a:pt x="121" y="55"/>
                        <a:pt x="152" y="55"/>
                      </a:cubicBezTo>
                      <a:cubicBezTo>
                        <a:pt x="177" y="55"/>
                        <a:pt x="208" y="53"/>
                        <a:pt x="240" y="52"/>
                      </a:cubicBezTo>
                      <a:cubicBezTo>
                        <a:pt x="271" y="51"/>
                        <a:pt x="303" y="50"/>
                        <a:pt x="331" y="50"/>
                      </a:cubicBezTo>
                      <a:cubicBezTo>
                        <a:pt x="334" y="50"/>
                        <a:pt x="338" y="50"/>
                        <a:pt x="341" y="50"/>
                      </a:cubicBezTo>
                      <a:cubicBezTo>
                        <a:pt x="341" y="50"/>
                        <a:pt x="345" y="51"/>
                        <a:pt x="349" y="51"/>
                      </a:cubicBezTo>
                      <a:cubicBezTo>
                        <a:pt x="349" y="51"/>
                        <a:pt x="350" y="51"/>
                        <a:pt x="351" y="51"/>
                      </a:cubicBezTo>
                      <a:cubicBezTo>
                        <a:pt x="360" y="50"/>
                        <a:pt x="371" y="50"/>
                        <a:pt x="371" y="50"/>
                      </a:cubicBezTo>
                      <a:cubicBezTo>
                        <a:pt x="372" y="44"/>
                        <a:pt x="372" y="44"/>
                        <a:pt x="372" y="44"/>
                      </a:cubicBezTo>
                      <a:cubicBezTo>
                        <a:pt x="360" y="42"/>
                        <a:pt x="360" y="42"/>
                        <a:pt x="360" y="42"/>
                      </a:cubicBezTo>
                      <a:cubicBezTo>
                        <a:pt x="360" y="42"/>
                        <a:pt x="373" y="33"/>
                        <a:pt x="373" y="29"/>
                      </a:cubicBezTo>
                      <a:cubicBezTo>
                        <a:pt x="373" y="26"/>
                        <a:pt x="375" y="10"/>
                        <a:pt x="375" y="10"/>
                      </a:cubicBezTo>
                      <a:cubicBezTo>
                        <a:pt x="375" y="10"/>
                        <a:pt x="374" y="9"/>
                        <a:pt x="372" y="9"/>
                      </a:cubicBezTo>
                      <a:cubicBezTo>
                        <a:pt x="372" y="9"/>
                        <a:pt x="371" y="9"/>
                        <a:pt x="370" y="10"/>
                      </a:cubicBezTo>
                      <a:cubicBezTo>
                        <a:pt x="370" y="11"/>
                        <a:pt x="365" y="19"/>
                        <a:pt x="363" y="22"/>
                      </a:cubicBezTo>
                      <a:cubicBezTo>
                        <a:pt x="342" y="36"/>
                        <a:pt x="342" y="36"/>
                        <a:pt x="342" y="36"/>
                      </a:cubicBezTo>
                      <a:cubicBezTo>
                        <a:pt x="176" y="13"/>
                        <a:pt x="176" y="13"/>
                        <a:pt x="176" y="13"/>
                      </a:cubicBezTo>
                      <a:cubicBezTo>
                        <a:pt x="91" y="0"/>
                        <a:pt x="91" y="0"/>
                        <a:pt x="91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4683254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72F09B-8119-061E-DC22-F6ED86195E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" name="think-cell data - do not delete" hidden="1">
            <a:extLst>
              <a:ext uri="{FF2B5EF4-FFF2-40B4-BE49-F238E27FC236}">
                <a16:creationId xmlns:a16="http://schemas.microsoft.com/office/drawing/2014/main" id="{AD8D9D1D-F4C7-B649-6736-A7CEC5112D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7459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06" imgH="608" progId="TCLayout.ActiveDocument.1">
                  <p:embed/>
                </p:oleObj>
              </mc:Choice>
              <mc:Fallback>
                <p:oleObj name="think-cell Folie" r:id="rId3" imgW="606" imgH="608" progId="TCLayout.ActiveDocument.1">
                  <p:embed/>
                  <p:pic>
                    <p:nvPicPr>
                      <p:cNvPr id="26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6E022D-E5F2-47FC-7732-C7EC2FC3E2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6EE85EB-6D72-B0EC-A58B-EDFECE9AE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Rechtliche Veränderung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9FCB0DB-5D75-5C47-74E7-3B2D36D66B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05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D143725-2CAF-C205-420D-2AFCD859E7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Neue Gesetzgebungsinitiativen</a:t>
            </a:r>
            <a:br>
              <a:rPr lang="de-DE" dirty="0"/>
            </a:br>
            <a:r>
              <a:rPr lang="de-DE" dirty="0"/>
              <a:t>EU-Richtlinien</a:t>
            </a:r>
            <a:br>
              <a:rPr lang="de-DE" dirty="0"/>
            </a:br>
            <a:r>
              <a:rPr lang="de-DE" dirty="0"/>
              <a:t>EU-Verbandsklagerichtlinie</a:t>
            </a:r>
          </a:p>
        </p:txBody>
      </p:sp>
      <p:grpSp>
        <p:nvGrpSpPr>
          <p:cNvPr id="6" name="Group 8">
            <a:extLst>
              <a:ext uri="{FF2B5EF4-FFF2-40B4-BE49-F238E27FC236}">
                <a16:creationId xmlns:a16="http://schemas.microsoft.com/office/drawing/2014/main" id="{E0D03112-B0C5-AAD7-5C05-39B9B0E7CF30}"/>
              </a:ext>
            </a:extLst>
          </p:cNvPr>
          <p:cNvGrpSpPr/>
          <p:nvPr/>
        </p:nvGrpSpPr>
        <p:grpSpPr>
          <a:xfrm>
            <a:off x="335360" y="1694602"/>
            <a:ext cx="5113637" cy="4188876"/>
            <a:chOff x="445135" y="1549065"/>
            <a:chExt cx="4331926" cy="3548531"/>
          </a:xfrm>
        </p:grpSpPr>
        <p:grpSp>
          <p:nvGrpSpPr>
            <p:cNvPr id="7" name="Group 7">
              <a:extLst>
                <a:ext uri="{FF2B5EF4-FFF2-40B4-BE49-F238E27FC236}">
                  <a16:creationId xmlns:a16="http://schemas.microsoft.com/office/drawing/2014/main" id="{E9936EE3-3CDE-7B13-0747-29D57F31E0FB}"/>
                </a:ext>
              </a:extLst>
            </p:cNvPr>
            <p:cNvGrpSpPr/>
            <p:nvPr/>
          </p:nvGrpSpPr>
          <p:grpSpPr>
            <a:xfrm>
              <a:off x="445135" y="1549065"/>
              <a:ext cx="3558677" cy="3191816"/>
              <a:chOff x="445135" y="1549065"/>
              <a:chExt cx="3558677" cy="3191816"/>
            </a:xfrm>
          </p:grpSpPr>
          <p:sp>
            <p:nvSpPr>
              <p:cNvPr id="95" name="Block Arc 1015">
                <a:extLst>
                  <a:ext uri="{FF2B5EF4-FFF2-40B4-BE49-F238E27FC236}">
                    <a16:creationId xmlns:a16="http://schemas.microsoft.com/office/drawing/2014/main" id="{80738E22-4EDC-4494-7EF4-DD4B044F4CA2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20207308">
                <a:off x="725875" y="1982498"/>
                <a:ext cx="3010427" cy="2737514"/>
              </a:xfrm>
              <a:prstGeom prst="blockArc">
                <a:avLst>
                  <a:gd name="adj1" fmla="val 12006639"/>
                  <a:gd name="adj2" fmla="val 0"/>
                  <a:gd name="adj3" fmla="val 25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solidFill>
                    <a:schemeClr val="tx1"/>
                  </a:solidFill>
                </a:endParaRPr>
              </a:p>
            </p:txBody>
          </p:sp>
          <p:pic>
            <p:nvPicPr>
              <p:cNvPr id="96" name="Picture 8">
                <a:extLst>
                  <a:ext uri="{FF2B5EF4-FFF2-40B4-BE49-F238E27FC236}">
                    <a16:creationId xmlns:a16="http://schemas.microsoft.com/office/drawing/2014/main" id="{82EEA31B-7170-74F4-3D54-4A076C60B09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34972" y="1928279"/>
                <a:ext cx="9882" cy="61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97" name="Group 1018">
                <a:extLst>
                  <a:ext uri="{FF2B5EF4-FFF2-40B4-BE49-F238E27FC236}">
                    <a16:creationId xmlns:a16="http://schemas.microsoft.com/office/drawing/2014/main" id="{4B5FB799-859C-3323-EB98-A41C9323574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45135" y="1549065"/>
                <a:ext cx="3106586" cy="2757018"/>
                <a:chOff x="528638" y="2306638"/>
                <a:chExt cx="3992563" cy="3543301"/>
              </a:xfrm>
            </p:grpSpPr>
            <p:sp>
              <p:nvSpPr>
                <p:cNvPr id="227" name="Freeform 38">
                  <a:extLst>
                    <a:ext uri="{FF2B5EF4-FFF2-40B4-BE49-F238E27FC236}">
                      <a16:creationId xmlns:a16="http://schemas.microsoft.com/office/drawing/2014/main" id="{57C5D0EC-BB2F-8F6B-1C0C-8565515934C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58800" y="4167188"/>
                  <a:ext cx="139700" cy="38100"/>
                </a:xfrm>
                <a:custGeom>
                  <a:avLst/>
                  <a:gdLst>
                    <a:gd name="T0" fmla="*/ 75 w 76"/>
                    <a:gd name="T1" fmla="*/ 21 h 21"/>
                    <a:gd name="T2" fmla="*/ 76 w 76"/>
                    <a:gd name="T3" fmla="*/ 13 h 21"/>
                    <a:gd name="T4" fmla="*/ 2 w 76"/>
                    <a:gd name="T5" fmla="*/ 0 h 21"/>
                    <a:gd name="T6" fmla="*/ 0 w 76"/>
                    <a:gd name="T7" fmla="*/ 8 h 21"/>
                    <a:gd name="T8" fmla="*/ 75 w 76"/>
                    <a:gd name="T9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6" h="21">
                      <a:moveTo>
                        <a:pt x="75" y="21"/>
                      </a:moveTo>
                      <a:cubicBezTo>
                        <a:pt x="75" y="18"/>
                        <a:pt x="76" y="15"/>
                        <a:pt x="76" y="13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2"/>
                        <a:pt x="1" y="5"/>
                        <a:pt x="0" y="8"/>
                      </a:cubicBezTo>
                      <a:lnTo>
                        <a:pt x="75" y="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 45">
                  <a:extLst>
                    <a:ext uri="{FF2B5EF4-FFF2-40B4-BE49-F238E27FC236}">
                      <a16:creationId xmlns:a16="http://schemas.microsoft.com/office/drawing/2014/main" id="{10C3964E-F869-A88D-20EC-85F6B2A30F7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95313" y="3963988"/>
                  <a:ext cx="177800" cy="80963"/>
                </a:xfrm>
                <a:custGeom>
                  <a:avLst/>
                  <a:gdLst>
                    <a:gd name="T0" fmla="*/ 0 w 96"/>
                    <a:gd name="T1" fmla="*/ 19 h 44"/>
                    <a:gd name="T2" fmla="*/ 91 w 96"/>
                    <a:gd name="T3" fmla="*/ 44 h 44"/>
                    <a:gd name="T4" fmla="*/ 93 w 96"/>
                    <a:gd name="T5" fmla="*/ 35 h 44"/>
                    <a:gd name="T6" fmla="*/ 96 w 96"/>
                    <a:gd name="T7" fmla="*/ 25 h 44"/>
                    <a:gd name="T8" fmla="*/ 6 w 96"/>
                    <a:gd name="T9" fmla="*/ 0 h 44"/>
                    <a:gd name="T10" fmla="*/ 3 w 96"/>
                    <a:gd name="T11" fmla="*/ 10 h 44"/>
                    <a:gd name="T12" fmla="*/ 0 w 96"/>
                    <a:gd name="T13" fmla="*/ 19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6" h="44">
                      <a:moveTo>
                        <a:pt x="0" y="19"/>
                      </a:moveTo>
                      <a:cubicBezTo>
                        <a:pt x="91" y="44"/>
                        <a:pt x="91" y="44"/>
                        <a:pt x="91" y="44"/>
                      </a:cubicBezTo>
                      <a:cubicBezTo>
                        <a:pt x="91" y="43"/>
                        <a:pt x="93" y="36"/>
                        <a:pt x="93" y="35"/>
                      </a:cubicBezTo>
                      <a:cubicBezTo>
                        <a:pt x="94" y="33"/>
                        <a:pt x="96" y="26"/>
                        <a:pt x="96" y="25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5" y="1"/>
                        <a:pt x="3" y="8"/>
                        <a:pt x="3" y="10"/>
                      </a:cubicBezTo>
                      <a:cubicBezTo>
                        <a:pt x="3" y="11"/>
                        <a:pt x="1" y="18"/>
                        <a:pt x="0" y="1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229" name="Group 1238">
                  <a:extLst>
                    <a:ext uri="{FF2B5EF4-FFF2-40B4-BE49-F238E27FC236}">
                      <a16:creationId xmlns:a16="http://schemas.microsoft.com/office/drawing/2014/main" id="{B8B1172F-4F3D-F145-0184-4773A8F9F85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528638" y="2306638"/>
                  <a:ext cx="3992563" cy="3543301"/>
                  <a:chOff x="528638" y="2306638"/>
                  <a:chExt cx="3992563" cy="3543301"/>
                </a:xfrm>
              </p:grpSpPr>
              <p:sp>
                <p:nvSpPr>
                  <p:cNvPr id="230" name="Oval 10">
                    <a:extLst>
                      <a:ext uri="{FF2B5EF4-FFF2-40B4-BE49-F238E27FC236}">
                        <a16:creationId xmlns:a16="http://schemas.microsoft.com/office/drawing/2014/main" id="{FFC9D2FC-E5CB-5968-7651-9F7D8148E4F8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957263" y="5762626"/>
                    <a:ext cx="87313" cy="8731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1" name="Freeform 11">
                    <a:extLst>
                      <a:ext uri="{FF2B5EF4-FFF2-40B4-BE49-F238E27FC236}">
                        <a16:creationId xmlns:a16="http://schemas.microsoft.com/office/drawing/2014/main" id="{7F5F369D-BF56-1CDF-9DAB-08920E67B9E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008188" y="2438401"/>
                    <a:ext cx="63500" cy="136525"/>
                  </a:xfrm>
                  <a:custGeom>
                    <a:avLst/>
                    <a:gdLst>
                      <a:gd name="T0" fmla="*/ 26 w 34"/>
                      <a:gd name="T1" fmla="*/ 74 h 74"/>
                      <a:gd name="T2" fmla="*/ 34 w 34"/>
                      <a:gd name="T3" fmla="*/ 71 h 74"/>
                      <a:gd name="T4" fmla="*/ 8 w 34"/>
                      <a:gd name="T5" fmla="*/ 0 h 74"/>
                      <a:gd name="T6" fmla="*/ 0 w 34"/>
                      <a:gd name="T7" fmla="*/ 2 h 74"/>
                      <a:gd name="T8" fmla="*/ 26 w 34"/>
                      <a:gd name="T9" fmla="*/ 7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" h="74">
                        <a:moveTo>
                          <a:pt x="26" y="74"/>
                        </a:moveTo>
                        <a:cubicBezTo>
                          <a:pt x="28" y="73"/>
                          <a:pt x="31" y="72"/>
                          <a:pt x="34" y="71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3" y="1"/>
                          <a:pt x="0" y="2"/>
                        </a:cubicBezTo>
                        <a:lnTo>
                          <a:pt x="26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2" name="Freeform 12">
                    <a:extLst>
                      <a:ext uri="{FF2B5EF4-FFF2-40B4-BE49-F238E27FC236}">
                        <a16:creationId xmlns:a16="http://schemas.microsoft.com/office/drawing/2014/main" id="{CB5202C2-4C8E-95EE-C147-0C75AE26746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389188" y="2338388"/>
                    <a:ext cx="39688" cy="139700"/>
                  </a:xfrm>
                  <a:custGeom>
                    <a:avLst/>
                    <a:gdLst>
                      <a:gd name="T0" fmla="*/ 13 w 21"/>
                      <a:gd name="T1" fmla="*/ 76 h 76"/>
                      <a:gd name="T2" fmla="*/ 21 w 21"/>
                      <a:gd name="T3" fmla="*/ 75 h 76"/>
                      <a:gd name="T4" fmla="*/ 8 w 21"/>
                      <a:gd name="T5" fmla="*/ 0 h 76"/>
                      <a:gd name="T6" fmla="*/ 0 w 21"/>
                      <a:gd name="T7" fmla="*/ 1 h 76"/>
                      <a:gd name="T8" fmla="*/ 13 w 21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6">
                        <a:moveTo>
                          <a:pt x="13" y="76"/>
                        </a:moveTo>
                        <a:cubicBezTo>
                          <a:pt x="15" y="75"/>
                          <a:pt x="18" y="75"/>
                          <a:pt x="21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2" y="1"/>
                          <a:pt x="0" y="1"/>
                        </a:cubicBezTo>
                        <a:lnTo>
                          <a:pt x="13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3" name="Freeform 13">
                    <a:extLst>
                      <a:ext uri="{FF2B5EF4-FFF2-40B4-BE49-F238E27FC236}">
                        <a16:creationId xmlns:a16="http://schemas.microsoft.com/office/drawing/2014/main" id="{6B18F108-D58E-B313-4B67-9F8A5C9DC90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584450" y="2314576"/>
                    <a:ext cx="28575" cy="139700"/>
                  </a:xfrm>
                  <a:custGeom>
                    <a:avLst/>
                    <a:gdLst>
                      <a:gd name="T0" fmla="*/ 7 w 15"/>
                      <a:gd name="T1" fmla="*/ 76 h 76"/>
                      <a:gd name="T2" fmla="*/ 15 w 15"/>
                      <a:gd name="T3" fmla="*/ 75 h 76"/>
                      <a:gd name="T4" fmla="*/ 8 w 15"/>
                      <a:gd name="T5" fmla="*/ 0 h 76"/>
                      <a:gd name="T6" fmla="*/ 0 w 15"/>
                      <a:gd name="T7" fmla="*/ 1 h 76"/>
                      <a:gd name="T8" fmla="*/ 7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7" y="76"/>
                        </a:moveTo>
                        <a:cubicBezTo>
                          <a:pt x="9" y="76"/>
                          <a:pt x="12" y="75"/>
                          <a:pt x="15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6" y="0"/>
                          <a:pt x="3" y="0"/>
                          <a:pt x="0" y="1"/>
                        </a:cubicBezTo>
                        <a:lnTo>
                          <a:pt x="7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4" name="Freeform 14">
                    <a:extLst>
                      <a:ext uri="{FF2B5EF4-FFF2-40B4-BE49-F238E27FC236}">
                        <a16:creationId xmlns:a16="http://schemas.microsoft.com/office/drawing/2014/main" id="{F9390A3D-B66A-9327-B059-1A31EC751D2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197100" y="2378076"/>
                    <a:ext cx="49213" cy="141288"/>
                  </a:xfrm>
                  <a:custGeom>
                    <a:avLst/>
                    <a:gdLst>
                      <a:gd name="T0" fmla="*/ 19 w 27"/>
                      <a:gd name="T1" fmla="*/ 76 h 76"/>
                      <a:gd name="T2" fmla="*/ 27 w 27"/>
                      <a:gd name="T3" fmla="*/ 73 h 76"/>
                      <a:gd name="T4" fmla="*/ 7 w 27"/>
                      <a:gd name="T5" fmla="*/ 0 h 76"/>
                      <a:gd name="T6" fmla="*/ 0 w 27"/>
                      <a:gd name="T7" fmla="*/ 2 h 76"/>
                      <a:gd name="T8" fmla="*/ 19 w 27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6">
                        <a:moveTo>
                          <a:pt x="19" y="76"/>
                        </a:moveTo>
                        <a:cubicBezTo>
                          <a:pt x="22" y="75"/>
                          <a:pt x="24" y="74"/>
                          <a:pt x="27" y="73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2" y="2"/>
                          <a:pt x="0" y="2"/>
                        </a:cubicBezTo>
                        <a:lnTo>
                          <a:pt x="19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5" name="Freeform 15">
                    <a:extLst>
                      <a:ext uri="{FF2B5EF4-FFF2-40B4-BE49-F238E27FC236}">
                        <a16:creationId xmlns:a16="http://schemas.microsoft.com/office/drawing/2014/main" id="{4E06D4D1-AC13-2DFB-E1FE-0696C54D27E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322638" y="2381251"/>
                    <a:ext cx="49213" cy="138113"/>
                  </a:xfrm>
                  <a:custGeom>
                    <a:avLst/>
                    <a:gdLst>
                      <a:gd name="T0" fmla="*/ 0 w 27"/>
                      <a:gd name="T1" fmla="*/ 73 h 75"/>
                      <a:gd name="T2" fmla="*/ 8 w 27"/>
                      <a:gd name="T3" fmla="*/ 75 h 75"/>
                      <a:gd name="T4" fmla="*/ 27 w 27"/>
                      <a:gd name="T5" fmla="*/ 2 h 75"/>
                      <a:gd name="T6" fmla="*/ 20 w 27"/>
                      <a:gd name="T7" fmla="*/ 0 h 75"/>
                      <a:gd name="T8" fmla="*/ 0 w 27"/>
                      <a:gd name="T9" fmla="*/ 73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5">
                        <a:moveTo>
                          <a:pt x="0" y="73"/>
                        </a:moveTo>
                        <a:cubicBezTo>
                          <a:pt x="3" y="74"/>
                          <a:pt x="5" y="75"/>
                          <a:pt x="8" y="75"/>
                        </a:cubicBezTo>
                        <a:cubicBezTo>
                          <a:pt x="27" y="2"/>
                          <a:pt x="27" y="2"/>
                          <a:pt x="27" y="2"/>
                        </a:cubicBezTo>
                        <a:cubicBezTo>
                          <a:pt x="25" y="1"/>
                          <a:pt x="22" y="1"/>
                          <a:pt x="20" y="0"/>
                        </a:cubicBezTo>
                        <a:lnTo>
                          <a:pt x="0" y="7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6" name="Freeform 16">
                    <a:extLst>
                      <a:ext uri="{FF2B5EF4-FFF2-40B4-BE49-F238E27FC236}">
                        <a16:creationId xmlns:a16="http://schemas.microsoft.com/office/drawing/2014/main" id="{9BA56030-AB90-E7CA-1855-F66622FFF06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763838" y="2306638"/>
                    <a:ext cx="38100" cy="174625"/>
                  </a:xfrm>
                  <a:custGeom>
                    <a:avLst/>
                    <a:gdLst>
                      <a:gd name="T0" fmla="*/ 0 w 20"/>
                      <a:gd name="T1" fmla="*/ 0 h 94"/>
                      <a:gd name="T2" fmla="*/ 0 w 20"/>
                      <a:gd name="T3" fmla="*/ 94 h 94"/>
                      <a:gd name="T4" fmla="*/ 10 w 20"/>
                      <a:gd name="T5" fmla="*/ 94 h 94"/>
                      <a:gd name="T6" fmla="*/ 20 w 20"/>
                      <a:gd name="T7" fmla="*/ 94 h 94"/>
                      <a:gd name="T8" fmla="*/ 20 w 20"/>
                      <a:gd name="T9" fmla="*/ 0 h 94"/>
                      <a:gd name="T10" fmla="*/ 10 w 20"/>
                      <a:gd name="T11" fmla="*/ 0 h 94"/>
                      <a:gd name="T12" fmla="*/ 0 w 20"/>
                      <a:gd name="T13" fmla="*/ 0 h 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" h="94">
                        <a:moveTo>
                          <a:pt x="0" y="0"/>
                        </a:moveTo>
                        <a:cubicBezTo>
                          <a:pt x="0" y="94"/>
                          <a:pt x="0" y="94"/>
                          <a:pt x="0" y="94"/>
                        </a:cubicBezTo>
                        <a:cubicBezTo>
                          <a:pt x="1" y="94"/>
                          <a:pt x="8" y="94"/>
                          <a:pt x="10" y="94"/>
                        </a:cubicBezTo>
                        <a:cubicBezTo>
                          <a:pt x="11" y="94"/>
                          <a:pt x="18" y="94"/>
                          <a:pt x="20" y="94"/>
                        </a:cubicBezTo>
                        <a:cubicBezTo>
                          <a:pt x="20" y="0"/>
                          <a:pt x="20" y="0"/>
                          <a:pt x="20" y="0"/>
                        </a:cubicBezTo>
                        <a:cubicBezTo>
                          <a:pt x="18" y="0"/>
                          <a:pt x="11" y="0"/>
                          <a:pt x="10" y="0"/>
                        </a:cubicBezTo>
                        <a:cubicBezTo>
                          <a:pt x="8" y="0"/>
                          <a:pt x="1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7" name="Freeform 17">
                    <a:extLst>
                      <a:ext uri="{FF2B5EF4-FFF2-40B4-BE49-F238E27FC236}">
                        <a16:creationId xmlns:a16="http://schemas.microsoft.com/office/drawing/2014/main" id="{6255E50F-0E82-19DC-3AD7-39CCA1A9B60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143250" y="2339976"/>
                    <a:ext cx="38100" cy="138113"/>
                  </a:xfrm>
                  <a:custGeom>
                    <a:avLst/>
                    <a:gdLst>
                      <a:gd name="T0" fmla="*/ 0 w 21"/>
                      <a:gd name="T1" fmla="*/ 74 h 75"/>
                      <a:gd name="T2" fmla="*/ 8 w 21"/>
                      <a:gd name="T3" fmla="*/ 75 h 75"/>
                      <a:gd name="T4" fmla="*/ 21 w 21"/>
                      <a:gd name="T5" fmla="*/ 1 h 75"/>
                      <a:gd name="T6" fmla="*/ 13 w 21"/>
                      <a:gd name="T7" fmla="*/ 0 h 75"/>
                      <a:gd name="T8" fmla="*/ 0 w 21"/>
                      <a:gd name="T9" fmla="*/ 74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5">
                        <a:moveTo>
                          <a:pt x="0" y="74"/>
                        </a:moveTo>
                        <a:cubicBezTo>
                          <a:pt x="2" y="75"/>
                          <a:pt x="5" y="75"/>
                          <a:pt x="8" y="75"/>
                        </a:cubicBezTo>
                        <a:cubicBezTo>
                          <a:pt x="21" y="1"/>
                          <a:pt x="21" y="1"/>
                          <a:pt x="21" y="1"/>
                        </a:cubicBezTo>
                        <a:cubicBezTo>
                          <a:pt x="18" y="0"/>
                          <a:pt x="15" y="0"/>
                          <a:pt x="13" y="0"/>
                        </a:cubicBezTo>
                        <a:lnTo>
                          <a:pt x="0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8" name="Freeform 18">
                    <a:extLst>
                      <a:ext uri="{FF2B5EF4-FFF2-40B4-BE49-F238E27FC236}">
                        <a16:creationId xmlns:a16="http://schemas.microsoft.com/office/drawing/2014/main" id="{96CDA408-E761-CE3B-6182-8309D33C810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959100" y="2314576"/>
                    <a:ext cx="26988" cy="139700"/>
                  </a:xfrm>
                  <a:custGeom>
                    <a:avLst/>
                    <a:gdLst>
                      <a:gd name="T0" fmla="*/ 0 w 15"/>
                      <a:gd name="T1" fmla="*/ 76 h 76"/>
                      <a:gd name="T2" fmla="*/ 8 w 15"/>
                      <a:gd name="T3" fmla="*/ 76 h 76"/>
                      <a:gd name="T4" fmla="*/ 15 w 15"/>
                      <a:gd name="T5" fmla="*/ 1 h 76"/>
                      <a:gd name="T6" fmla="*/ 7 w 15"/>
                      <a:gd name="T7" fmla="*/ 0 h 76"/>
                      <a:gd name="T8" fmla="*/ 0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0" y="76"/>
                        </a:moveTo>
                        <a:cubicBezTo>
                          <a:pt x="3" y="76"/>
                          <a:pt x="5" y="76"/>
                          <a:pt x="8" y="76"/>
                        </a:cubicBezTo>
                        <a:cubicBezTo>
                          <a:pt x="15" y="1"/>
                          <a:pt x="15" y="1"/>
                          <a:pt x="15" y="1"/>
                        </a:cubicBezTo>
                        <a:cubicBezTo>
                          <a:pt x="12" y="1"/>
                          <a:pt x="9" y="0"/>
                          <a:pt x="7" y="0"/>
                        </a:cubicBezTo>
                        <a:lnTo>
                          <a:pt x="0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9" name="Freeform 19">
                    <a:extLst>
                      <a:ext uri="{FF2B5EF4-FFF2-40B4-BE49-F238E27FC236}">
                        <a16:creationId xmlns:a16="http://schemas.microsoft.com/office/drawing/2014/main" id="{C098E800-C101-0C71-D6F7-87CB547957D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27100" y="3265488"/>
                    <a:ext cx="123825" cy="92075"/>
                  </a:xfrm>
                  <a:custGeom>
                    <a:avLst/>
                    <a:gdLst>
                      <a:gd name="T0" fmla="*/ 63 w 67"/>
                      <a:gd name="T1" fmla="*/ 50 h 50"/>
                      <a:gd name="T2" fmla="*/ 67 w 67"/>
                      <a:gd name="T3" fmla="*/ 43 h 50"/>
                      <a:gd name="T4" fmla="*/ 5 w 67"/>
                      <a:gd name="T5" fmla="*/ 0 h 50"/>
                      <a:gd name="T6" fmla="*/ 0 w 67"/>
                      <a:gd name="T7" fmla="*/ 6 h 50"/>
                      <a:gd name="T8" fmla="*/ 63 w 67"/>
                      <a:gd name="T9" fmla="*/ 5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7" h="50">
                        <a:moveTo>
                          <a:pt x="63" y="50"/>
                        </a:moveTo>
                        <a:cubicBezTo>
                          <a:pt x="64" y="48"/>
                          <a:pt x="66" y="46"/>
                          <a:pt x="67" y="43"/>
                        </a:cubicBezTo>
                        <a:cubicBezTo>
                          <a:pt x="5" y="0"/>
                          <a:pt x="5" y="0"/>
                          <a:pt x="5" y="0"/>
                        </a:cubicBezTo>
                        <a:cubicBezTo>
                          <a:pt x="3" y="2"/>
                          <a:pt x="2" y="4"/>
                          <a:pt x="0" y="6"/>
                        </a:cubicBezTo>
                        <a:lnTo>
                          <a:pt x="63" y="5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0" name="Freeform 20">
                    <a:extLst>
                      <a:ext uri="{FF2B5EF4-FFF2-40B4-BE49-F238E27FC236}">
                        <a16:creationId xmlns:a16="http://schemas.microsoft.com/office/drawing/2014/main" id="{B32C100F-1F75-BFFB-CA5F-73773E7559E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0738" y="3430588"/>
                    <a:ext cx="130175" cy="82550"/>
                  </a:xfrm>
                  <a:custGeom>
                    <a:avLst/>
                    <a:gdLst>
                      <a:gd name="T0" fmla="*/ 66 w 70"/>
                      <a:gd name="T1" fmla="*/ 45 h 45"/>
                      <a:gd name="T2" fmla="*/ 70 w 70"/>
                      <a:gd name="T3" fmla="*/ 38 h 45"/>
                      <a:gd name="T4" fmla="*/ 4 w 70"/>
                      <a:gd name="T5" fmla="*/ 0 h 45"/>
                      <a:gd name="T6" fmla="*/ 0 w 70"/>
                      <a:gd name="T7" fmla="*/ 7 h 45"/>
                      <a:gd name="T8" fmla="*/ 66 w 70"/>
                      <a:gd name="T9" fmla="*/ 45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66" y="45"/>
                        </a:moveTo>
                        <a:cubicBezTo>
                          <a:pt x="68" y="43"/>
                          <a:pt x="69" y="41"/>
                          <a:pt x="70" y="38"/>
                        </a:cubicBez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3" y="3"/>
                          <a:pt x="2" y="5"/>
                          <a:pt x="0" y="7"/>
                        </a:cubicBezTo>
                        <a:lnTo>
                          <a:pt x="66" y="4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1" name="Freeform 21">
                    <a:extLst>
                      <a:ext uri="{FF2B5EF4-FFF2-40B4-BE49-F238E27FC236}">
                        <a16:creationId xmlns:a16="http://schemas.microsoft.com/office/drawing/2014/main" id="{F5399C01-C6D8-064E-7CB1-261F31E6E56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1838" y="3606801"/>
                    <a:ext cx="133350" cy="71438"/>
                  </a:xfrm>
                  <a:custGeom>
                    <a:avLst/>
                    <a:gdLst>
                      <a:gd name="T0" fmla="*/ 69 w 72"/>
                      <a:gd name="T1" fmla="*/ 39 h 39"/>
                      <a:gd name="T2" fmla="*/ 72 w 72"/>
                      <a:gd name="T3" fmla="*/ 32 h 39"/>
                      <a:gd name="T4" fmla="*/ 3 w 72"/>
                      <a:gd name="T5" fmla="*/ 0 h 39"/>
                      <a:gd name="T6" fmla="*/ 0 w 72"/>
                      <a:gd name="T7" fmla="*/ 7 h 39"/>
                      <a:gd name="T8" fmla="*/ 69 w 72"/>
                      <a:gd name="T9" fmla="*/ 39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69" y="39"/>
                        </a:moveTo>
                        <a:cubicBezTo>
                          <a:pt x="70" y="37"/>
                          <a:pt x="71" y="34"/>
                          <a:pt x="72" y="32"/>
                        </a:cubicBezTo>
                        <a:cubicBezTo>
                          <a:pt x="3" y="0"/>
                          <a:pt x="3" y="0"/>
                          <a:pt x="3" y="0"/>
                        </a:cubicBezTo>
                        <a:cubicBezTo>
                          <a:pt x="2" y="2"/>
                          <a:pt x="1" y="4"/>
                          <a:pt x="0" y="7"/>
                        </a:cubicBezTo>
                        <a:lnTo>
                          <a:pt x="69" y="3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2" name="Freeform 22">
                    <a:extLst>
                      <a:ext uri="{FF2B5EF4-FFF2-40B4-BE49-F238E27FC236}">
                        <a16:creationId xmlns:a16="http://schemas.microsoft.com/office/drawing/2014/main" id="{DEA9DF33-8A7D-520E-27DC-8D2F03950F6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498850" y="2438401"/>
                    <a:ext cx="60325" cy="138113"/>
                  </a:xfrm>
                  <a:custGeom>
                    <a:avLst/>
                    <a:gdLst>
                      <a:gd name="T0" fmla="*/ 0 w 33"/>
                      <a:gd name="T1" fmla="*/ 72 h 75"/>
                      <a:gd name="T2" fmla="*/ 7 w 33"/>
                      <a:gd name="T3" fmla="*/ 75 h 75"/>
                      <a:gd name="T4" fmla="*/ 33 w 33"/>
                      <a:gd name="T5" fmla="*/ 3 h 75"/>
                      <a:gd name="T6" fmla="*/ 26 w 33"/>
                      <a:gd name="T7" fmla="*/ 0 h 75"/>
                      <a:gd name="T8" fmla="*/ 0 w 33"/>
                      <a:gd name="T9" fmla="*/ 72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3" h="75">
                        <a:moveTo>
                          <a:pt x="0" y="72"/>
                        </a:moveTo>
                        <a:cubicBezTo>
                          <a:pt x="2" y="73"/>
                          <a:pt x="5" y="74"/>
                          <a:pt x="7" y="75"/>
                        </a:cubicBezTo>
                        <a:cubicBezTo>
                          <a:pt x="33" y="3"/>
                          <a:pt x="33" y="3"/>
                          <a:pt x="33" y="3"/>
                        </a:cubicBezTo>
                        <a:cubicBezTo>
                          <a:pt x="31" y="2"/>
                          <a:pt x="28" y="1"/>
                          <a:pt x="26" y="0"/>
                        </a:cubicBezTo>
                        <a:lnTo>
                          <a:pt x="0" y="7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3" name="Freeform 23">
                    <a:extLst>
                      <a:ext uri="{FF2B5EF4-FFF2-40B4-BE49-F238E27FC236}">
                        <a16:creationId xmlns:a16="http://schemas.microsoft.com/office/drawing/2014/main" id="{9611824E-F175-368C-86CD-7DFF6D2DF4F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649413" y="2601913"/>
                    <a:ext cx="84138" cy="130175"/>
                  </a:xfrm>
                  <a:custGeom>
                    <a:avLst/>
                    <a:gdLst>
                      <a:gd name="T0" fmla="*/ 38 w 45"/>
                      <a:gd name="T1" fmla="*/ 70 h 70"/>
                      <a:gd name="T2" fmla="*/ 45 w 45"/>
                      <a:gd name="T3" fmla="*/ 66 h 70"/>
                      <a:gd name="T4" fmla="*/ 7 w 45"/>
                      <a:gd name="T5" fmla="*/ 0 h 70"/>
                      <a:gd name="T6" fmla="*/ 0 w 45"/>
                      <a:gd name="T7" fmla="*/ 4 h 70"/>
                      <a:gd name="T8" fmla="*/ 38 w 45"/>
                      <a:gd name="T9" fmla="*/ 70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38" y="70"/>
                        </a:moveTo>
                        <a:cubicBezTo>
                          <a:pt x="41" y="68"/>
                          <a:pt x="43" y="67"/>
                          <a:pt x="45" y="66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3" y="2"/>
                          <a:pt x="0" y="4"/>
                        </a:cubicBezTo>
                        <a:lnTo>
                          <a:pt x="38" y="7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4" name="Freeform 24">
                    <a:extLst>
                      <a:ext uri="{FF2B5EF4-FFF2-40B4-BE49-F238E27FC236}">
                        <a16:creationId xmlns:a16="http://schemas.microsoft.com/office/drawing/2014/main" id="{DC8FC8A2-6FD8-A01E-781B-CC6AA11A045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323975" y="2832101"/>
                    <a:ext cx="101600" cy="117475"/>
                  </a:xfrm>
                  <a:custGeom>
                    <a:avLst/>
                    <a:gdLst>
                      <a:gd name="T0" fmla="*/ 49 w 55"/>
                      <a:gd name="T1" fmla="*/ 63 h 63"/>
                      <a:gd name="T2" fmla="*/ 55 w 55"/>
                      <a:gd name="T3" fmla="*/ 58 h 63"/>
                      <a:gd name="T4" fmla="*/ 6 w 55"/>
                      <a:gd name="T5" fmla="*/ 0 h 63"/>
                      <a:gd name="T6" fmla="*/ 0 w 55"/>
                      <a:gd name="T7" fmla="*/ 5 h 63"/>
                      <a:gd name="T8" fmla="*/ 49 w 55"/>
                      <a:gd name="T9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49" y="63"/>
                        </a:moveTo>
                        <a:cubicBezTo>
                          <a:pt x="51" y="61"/>
                          <a:pt x="53" y="60"/>
                          <a:pt x="55" y="58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5"/>
                        </a:cubicBezTo>
                        <a:lnTo>
                          <a:pt x="49" y="6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5" name="Freeform 25">
                    <a:extLst>
                      <a:ext uri="{FF2B5EF4-FFF2-40B4-BE49-F238E27FC236}">
                        <a16:creationId xmlns:a16="http://schemas.microsoft.com/office/drawing/2014/main" id="{5D8D6178-51A9-F99E-91A4-2D6E038DC5B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479550" y="2711451"/>
                    <a:ext cx="92075" cy="123825"/>
                  </a:xfrm>
                  <a:custGeom>
                    <a:avLst/>
                    <a:gdLst>
                      <a:gd name="T0" fmla="*/ 44 w 50"/>
                      <a:gd name="T1" fmla="*/ 67 h 67"/>
                      <a:gd name="T2" fmla="*/ 50 w 50"/>
                      <a:gd name="T3" fmla="*/ 62 h 67"/>
                      <a:gd name="T4" fmla="*/ 6 w 50"/>
                      <a:gd name="T5" fmla="*/ 0 h 67"/>
                      <a:gd name="T6" fmla="*/ 0 w 50"/>
                      <a:gd name="T7" fmla="*/ 4 h 67"/>
                      <a:gd name="T8" fmla="*/ 44 w 50"/>
                      <a:gd name="T9" fmla="*/ 67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0" h="67">
                        <a:moveTo>
                          <a:pt x="44" y="67"/>
                        </a:moveTo>
                        <a:cubicBezTo>
                          <a:pt x="46" y="65"/>
                          <a:pt x="48" y="64"/>
                          <a:pt x="50" y="62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4"/>
                        </a:cubicBezTo>
                        <a:lnTo>
                          <a:pt x="44" y="6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6" name="Freeform 26">
                    <a:extLst>
                      <a:ext uri="{FF2B5EF4-FFF2-40B4-BE49-F238E27FC236}">
                        <a16:creationId xmlns:a16="http://schemas.microsoft.com/office/drawing/2014/main" id="{23167862-2D43-AEE2-12B3-70DD2D10B5A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271963" y="2960688"/>
                    <a:ext cx="109538" cy="111125"/>
                  </a:xfrm>
                  <a:custGeom>
                    <a:avLst/>
                    <a:gdLst>
                      <a:gd name="T0" fmla="*/ 5 w 59"/>
                      <a:gd name="T1" fmla="*/ 60 h 60"/>
                      <a:gd name="T2" fmla="*/ 59 w 59"/>
                      <a:gd name="T3" fmla="*/ 6 h 60"/>
                      <a:gd name="T4" fmla="*/ 56 w 59"/>
                      <a:gd name="T5" fmla="*/ 3 h 60"/>
                      <a:gd name="T6" fmla="*/ 54 w 59"/>
                      <a:gd name="T7" fmla="*/ 0 h 60"/>
                      <a:gd name="T8" fmla="*/ 0 w 59"/>
                      <a:gd name="T9" fmla="*/ 54 h 60"/>
                      <a:gd name="T10" fmla="*/ 5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" y="60"/>
                        </a:moveTo>
                        <a:cubicBezTo>
                          <a:pt x="59" y="6"/>
                          <a:pt x="59" y="6"/>
                          <a:pt x="59" y="6"/>
                        </a:cubicBezTo>
                        <a:cubicBezTo>
                          <a:pt x="58" y="5"/>
                          <a:pt x="57" y="4"/>
                          <a:pt x="56" y="3"/>
                        </a:cubicBezTo>
                        <a:cubicBezTo>
                          <a:pt x="55" y="2"/>
                          <a:pt x="55" y="1"/>
                          <a:pt x="54" y="0"/>
                        </a:cubicBezTo>
                        <a:cubicBezTo>
                          <a:pt x="0" y="54"/>
                          <a:pt x="0" y="54"/>
                          <a:pt x="0" y="54"/>
                        </a:cubicBezTo>
                        <a:cubicBezTo>
                          <a:pt x="2" y="56"/>
                          <a:pt x="4" y="58"/>
                          <a:pt x="5" y="6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7" name="Freeform 27">
                    <a:extLst>
                      <a:ext uri="{FF2B5EF4-FFF2-40B4-BE49-F238E27FC236}">
                        <a16:creationId xmlns:a16="http://schemas.microsoft.com/office/drawing/2014/main" id="{5567EB64-AE1E-0BFB-4DBB-7E3512B84B9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79513" y="2963863"/>
                    <a:ext cx="109538" cy="111125"/>
                  </a:xfrm>
                  <a:custGeom>
                    <a:avLst/>
                    <a:gdLst>
                      <a:gd name="T0" fmla="*/ 54 w 59"/>
                      <a:gd name="T1" fmla="*/ 60 h 60"/>
                      <a:gd name="T2" fmla="*/ 59 w 59"/>
                      <a:gd name="T3" fmla="*/ 54 h 60"/>
                      <a:gd name="T4" fmla="*/ 6 w 59"/>
                      <a:gd name="T5" fmla="*/ 0 h 60"/>
                      <a:gd name="T6" fmla="*/ 5 w 59"/>
                      <a:gd name="T7" fmla="*/ 1 h 60"/>
                      <a:gd name="T8" fmla="*/ 0 w 59"/>
                      <a:gd name="T9" fmla="*/ 6 h 60"/>
                      <a:gd name="T10" fmla="*/ 54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4" y="60"/>
                        </a:moveTo>
                        <a:cubicBezTo>
                          <a:pt x="56" y="58"/>
                          <a:pt x="57" y="56"/>
                          <a:pt x="59" y="54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5" y="1"/>
                          <a:pt x="5" y="1"/>
                          <a:pt x="5" y="1"/>
                        </a:cubicBezTo>
                        <a:cubicBezTo>
                          <a:pt x="3" y="3"/>
                          <a:pt x="2" y="4"/>
                          <a:pt x="0" y="6"/>
                        </a:cubicBezTo>
                        <a:lnTo>
                          <a:pt x="54" y="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8" name="Freeform 28">
                    <a:extLst>
                      <a:ext uri="{FF2B5EF4-FFF2-40B4-BE49-F238E27FC236}">
                        <a16:creationId xmlns:a16="http://schemas.microsoft.com/office/drawing/2014/main" id="{08802DF7-9BBC-F2AC-DA62-F0A91F31B98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28638" y="4557713"/>
                    <a:ext cx="138113" cy="14288"/>
                  </a:xfrm>
                  <a:custGeom>
                    <a:avLst/>
                    <a:gdLst>
                      <a:gd name="T0" fmla="*/ 75 w 75"/>
                      <a:gd name="T1" fmla="*/ 0 h 8"/>
                      <a:gd name="T2" fmla="*/ 0 w 75"/>
                      <a:gd name="T3" fmla="*/ 0 h 8"/>
                      <a:gd name="T4" fmla="*/ 0 w 75"/>
                      <a:gd name="T5" fmla="*/ 8 h 8"/>
                      <a:gd name="T6" fmla="*/ 75 w 75"/>
                      <a:gd name="T7" fmla="*/ 8 h 8"/>
                      <a:gd name="T8" fmla="*/ 75 w 75"/>
                      <a:gd name="T9" fmla="*/ 0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8">
                        <a:moveTo>
                          <a:pt x="75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cubicBezTo>
                          <a:pt x="75" y="8"/>
                          <a:pt x="75" y="8"/>
                          <a:pt x="75" y="8"/>
                        </a:cubicBezTo>
                        <a:cubicBezTo>
                          <a:pt x="75" y="5"/>
                          <a:pt x="75" y="3"/>
                          <a:pt x="75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9" name="Freeform 29">
                    <a:extLst>
                      <a:ext uri="{FF2B5EF4-FFF2-40B4-BE49-F238E27FC236}">
                        <a16:creationId xmlns:a16="http://schemas.microsoft.com/office/drawing/2014/main" id="{2FA053D5-E09C-AE1E-9937-15CE6F86B46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133850" y="2828926"/>
                    <a:ext cx="103188" cy="115888"/>
                  </a:xfrm>
                  <a:custGeom>
                    <a:avLst/>
                    <a:gdLst>
                      <a:gd name="T0" fmla="*/ 0 w 55"/>
                      <a:gd name="T1" fmla="*/ 58 h 63"/>
                      <a:gd name="T2" fmla="*/ 6 w 55"/>
                      <a:gd name="T3" fmla="*/ 63 h 63"/>
                      <a:gd name="T4" fmla="*/ 55 w 55"/>
                      <a:gd name="T5" fmla="*/ 5 h 63"/>
                      <a:gd name="T6" fmla="*/ 49 w 55"/>
                      <a:gd name="T7" fmla="*/ 0 h 63"/>
                      <a:gd name="T8" fmla="*/ 0 w 55"/>
                      <a:gd name="T9" fmla="*/ 58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0" y="58"/>
                        </a:moveTo>
                        <a:cubicBezTo>
                          <a:pt x="2" y="60"/>
                          <a:pt x="4" y="62"/>
                          <a:pt x="6" y="63"/>
                        </a:cubicBezTo>
                        <a:cubicBezTo>
                          <a:pt x="55" y="5"/>
                          <a:pt x="55" y="5"/>
                          <a:pt x="55" y="5"/>
                        </a:cubicBezTo>
                        <a:cubicBezTo>
                          <a:pt x="53" y="3"/>
                          <a:pt x="51" y="2"/>
                          <a:pt x="49" y="0"/>
                        </a:cubicBezTo>
                        <a:lnTo>
                          <a:pt x="0" y="58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0" name="Freeform 30">
                    <a:extLst>
                      <a:ext uri="{FF2B5EF4-FFF2-40B4-BE49-F238E27FC236}">
                        <a16:creationId xmlns:a16="http://schemas.microsoft.com/office/drawing/2014/main" id="{5194AAD6-D80A-4F44-1E6B-BC72FABF1E0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58813" y="3787776"/>
                    <a:ext cx="136525" cy="60325"/>
                  </a:xfrm>
                  <a:custGeom>
                    <a:avLst/>
                    <a:gdLst>
                      <a:gd name="T0" fmla="*/ 71 w 74"/>
                      <a:gd name="T1" fmla="*/ 33 h 33"/>
                      <a:gd name="T2" fmla="*/ 74 w 74"/>
                      <a:gd name="T3" fmla="*/ 26 h 33"/>
                      <a:gd name="T4" fmla="*/ 2 w 74"/>
                      <a:gd name="T5" fmla="*/ 0 h 33"/>
                      <a:gd name="T6" fmla="*/ 0 w 74"/>
                      <a:gd name="T7" fmla="*/ 7 h 33"/>
                      <a:gd name="T8" fmla="*/ 71 w 74"/>
                      <a:gd name="T9" fmla="*/ 33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4" h="33">
                        <a:moveTo>
                          <a:pt x="71" y="33"/>
                        </a:moveTo>
                        <a:cubicBezTo>
                          <a:pt x="72" y="31"/>
                          <a:pt x="73" y="28"/>
                          <a:pt x="74" y="26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2" y="2"/>
                          <a:pt x="1" y="5"/>
                          <a:pt x="0" y="7"/>
                        </a:cubicBezTo>
                        <a:lnTo>
                          <a:pt x="71" y="3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1" name="Freeform 31">
                    <a:extLst>
                      <a:ext uri="{FF2B5EF4-FFF2-40B4-BE49-F238E27FC236}">
                        <a16:creationId xmlns:a16="http://schemas.microsoft.com/office/drawing/2014/main" id="{5C8AC062-5E81-FD3A-929A-CF0DEB8976F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832225" y="2605088"/>
                    <a:ext cx="84138" cy="128588"/>
                  </a:xfrm>
                  <a:custGeom>
                    <a:avLst/>
                    <a:gdLst>
                      <a:gd name="T0" fmla="*/ 0 w 45"/>
                      <a:gd name="T1" fmla="*/ 65 h 70"/>
                      <a:gd name="T2" fmla="*/ 7 w 45"/>
                      <a:gd name="T3" fmla="*/ 70 h 70"/>
                      <a:gd name="T4" fmla="*/ 45 w 45"/>
                      <a:gd name="T5" fmla="*/ 4 h 70"/>
                      <a:gd name="T6" fmla="*/ 38 w 45"/>
                      <a:gd name="T7" fmla="*/ 0 h 70"/>
                      <a:gd name="T8" fmla="*/ 0 w 45"/>
                      <a:gd name="T9" fmla="*/ 65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0" y="65"/>
                        </a:moveTo>
                        <a:cubicBezTo>
                          <a:pt x="3" y="67"/>
                          <a:pt x="5" y="68"/>
                          <a:pt x="7" y="70"/>
                        </a:cubicBezTo>
                        <a:cubicBezTo>
                          <a:pt x="45" y="4"/>
                          <a:pt x="45" y="4"/>
                          <a:pt x="45" y="4"/>
                        </a:cubicBezTo>
                        <a:cubicBezTo>
                          <a:pt x="43" y="2"/>
                          <a:pt x="41" y="1"/>
                          <a:pt x="38" y="0"/>
                        </a:cubicBezTo>
                        <a:lnTo>
                          <a:pt x="0" y="65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2" name="Freeform 32">
                    <a:extLst>
                      <a:ext uri="{FF2B5EF4-FFF2-40B4-BE49-F238E27FC236}">
                        <a16:creationId xmlns:a16="http://schemas.microsoft.com/office/drawing/2014/main" id="{524AA572-E666-68F3-DB43-D7CD9E3EDEA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987800" y="2708276"/>
                    <a:ext cx="95250" cy="123825"/>
                  </a:xfrm>
                  <a:custGeom>
                    <a:avLst/>
                    <a:gdLst>
                      <a:gd name="T0" fmla="*/ 0 w 51"/>
                      <a:gd name="T1" fmla="*/ 63 h 67"/>
                      <a:gd name="T2" fmla="*/ 7 w 51"/>
                      <a:gd name="T3" fmla="*/ 67 h 67"/>
                      <a:gd name="T4" fmla="*/ 51 w 51"/>
                      <a:gd name="T5" fmla="*/ 5 h 67"/>
                      <a:gd name="T6" fmla="*/ 44 w 51"/>
                      <a:gd name="T7" fmla="*/ 0 h 67"/>
                      <a:gd name="T8" fmla="*/ 0 w 51"/>
                      <a:gd name="T9" fmla="*/ 63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1" h="67">
                        <a:moveTo>
                          <a:pt x="0" y="63"/>
                        </a:moveTo>
                        <a:cubicBezTo>
                          <a:pt x="2" y="64"/>
                          <a:pt x="5" y="66"/>
                          <a:pt x="7" y="67"/>
                        </a:cubicBezTo>
                        <a:cubicBezTo>
                          <a:pt x="51" y="5"/>
                          <a:pt x="51" y="5"/>
                          <a:pt x="51" y="5"/>
                        </a:cubicBezTo>
                        <a:cubicBezTo>
                          <a:pt x="48" y="3"/>
                          <a:pt x="46" y="2"/>
                          <a:pt x="44" y="0"/>
                        </a:cubicBezTo>
                        <a:lnTo>
                          <a:pt x="0" y="63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3" name="Freeform 33">
                    <a:extLst>
                      <a:ext uri="{FF2B5EF4-FFF2-40B4-BE49-F238E27FC236}">
                        <a16:creationId xmlns:a16="http://schemas.microsoft.com/office/drawing/2014/main" id="{34473C55-63FE-BE3D-2FDD-28C98B5F223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61988" y="5280026"/>
                    <a:ext cx="139700" cy="60325"/>
                  </a:xfrm>
                  <a:custGeom>
                    <a:avLst/>
                    <a:gdLst>
                      <a:gd name="T0" fmla="*/ 75 w 75"/>
                      <a:gd name="T1" fmla="*/ 7 h 33"/>
                      <a:gd name="T2" fmla="*/ 72 w 75"/>
                      <a:gd name="T3" fmla="*/ 0 h 33"/>
                      <a:gd name="T4" fmla="*/ 0 w 75"/>
                      <a:gd name="T5" fmla="*/ 26 h 33"/>
                      <a:gd name="T6" fmla="*/ 3 w 75"/>
                      <a:gd name="T7" fmla="*/ 33 h 33"/>
                      <a:gd name="T8" fmla="*/ 75 w 75"/>
                      <a:gd name="T9" fmla="*/ 7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33">
                        <a:moveTo>
                          <a:pt x="75" y="7"/>
                        </a:moveTo>
                        <a:cubicBezTo>
                          <a:pt x="74" y="5"/>
                          <a:pt x="73" y="2"/>
                          <a:pt x="72" y="0"/>
                        </a:cubicBezTo>
                        <a:cubicBezTo>
                          <a:pt x="0" y="26"/>
                          <a:pt x="0" y="26"/>
                          <a:pt x="0" y="26"/>
                        </a:cubicBezTo>
                        <a:cubicBezTo>
                          <a:pt x="1" y="28"/>
                          <a:pt x="2" y="31"/>
                          <a:pt x="3" y="33"/>
                        </a:cubicBezTo>
                        <a:lnTo>
                          <a:pt x="75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4" name="Freeform 34">
                    <a:extLst>
                      <a:ext uri="{FF2B5EF4-FFF2-40B4-BE49-F238E27FC236}">
                        <a16:creationId xmlns:a16="http://schemas.microsoft.com/office/drawing/2014/main" id="{089A42E9-6A6E-E1E5-6F66-041F436062E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04838" y="5103813"/>
                    <a:ext cx="138113" cy="50800"/>
                  </a:xfrm>
                  <a:custGeom>
                    <a:avLst/>
                    <a:gdLst>
                      <a:gd name="T0" fmla="*/ 75 w 75"/>
                      <a:gd name="T1" fmla="*/ 8 h 27"/>
                      <a:gd name="T2" fmla="*/ 73 w 75"/>
                      <a:gd name="T3" fmla="*/ 0 h 27"/>
                      <a:gd name="T4" fmla="*/ 0 w 75"/>
                      <a:gd name="T5" fmla="*/ 20 h 27"/>
                      <a:gd name="T6" fmla="*/ 2 w 75"/>
                      <a:gd name="T7" fmla="*/ 27 h 27"/>
                      <a:gd name="T8" fmla="*/ 75 w 75"/>
                      <a:gd name="T9" fmla="*/ 8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27">
                        <a:moveTo>
                          <a:pt x="75" y="8"/>
                        </a:moveTo>
                        <a:cubicBezTo>
                          <a:pt x="74" y="5"/>
                          <a:pt x="74" y="3"/>
                          <a:pt x="73" y="0"/>
                        </a:cubicBezTo>
                        <a:cubicBezTo>
                          <a:pt x="0" y="20"/>
                          <a:pt x="0" y="20"/>
                          <a:pt x="0" y="20"/>
                        </a:cubicBezTo>
                        <a:cubicBezTo>
                          <a:pt x="0" y="22"/>
                          <a:pt x="1" y="25"/>
                          <a:pt x="2" y="27"/>
                        </a:cubicBezTo>
                        <a:lnTo>
                          <a:pt x="75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5" name="Freeform 35">
                    <a:extLst>
                      <a:ext uri="{FF2B5EF4-FFF2-40B4-BE49-F238E27FC236}">
                        <a16:creationId xmlns:a16="http://schemas.microsoft.com/office/drawing/2014/main" id="{9E681ECF-748D-EA80-E25C-1A9FEA0FE01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8675" y="5613401"/>
                    <a:ext cx="130175" cy="82550"/>
                  </a:xfrm>
                  <a:custGeom>
                    <a:avLst/>
                    <a:gdLst>
                      <a:gd name="T0" fmla="*/ 70 w 70"/>
                      <a:gd name="T1" fmla="*/ 7 h 45"/>
                      <a:gd name="T2" fmla="*/ 66 w 70"/>
                      <a:gd name="T3" fmla="*/ 0 h 45"/>
                      <a:gd name="T4" fmla="*/ 0 w 70"/>
                      <a:gd name="T5" fmla="*/ 38 h 45"/>
                      <a:gd name="T6" fmla="*/ 4 w 70"/>
                      <a:gd name="T7" fmla="*/ 45 h 45"/>
                      <a:gd name="T8" fmla="*/ 70 w 70"/>
                      <a:gd name="T9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70" y="7"/>
                        </a:moveTo>
                        <a:cubicBezTo>
                          <a:pt x="69" y="4"/>
                          <a:pt x="67" y="2"/>
                          <a:pt x="66" y="0"/>
                        </a:cubicBezTo>
                        <a:cubicBezTo>
                          <a:pt x="0" y="38"/>
                          <a:pt x="0" y="38"/>
                          <a:pt x="0" y="38"/>
                        </a:cubicBezTo>
                        <a:cubicBezTo>
                          <a:pt x="1" y="40"/>
                          <a:pt x="3" y="42"/>
                          <a:pt x="4" y="45"/>
                        </a:cubicBezTo>
                        <a:lnTo>
                          <a:pt x="70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6" name="Freeform 36">
                    <a:extLst>
                      <a:ext uri="{FF2B5EF4-FFF2-40B4-BE49-F238E27FC236}">
                        <a16:creationId xmlns:a16="http://schemas.microsoft.com/office/drawing/2014/main" id="{CC502500-9313-579C-1A87-72848B74F19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61975" y="4924426"/>
                    <a:ext cx="141288" cy="38100"/>
                  </a:xfrm>
                  <a:custGeom>
                    <a:avLst/>
                    <a:gdLst>
                      <a:gd name="T0" fmla="*/ 76 w 76"/>
                      <a:gd name="T1" fmla="*/ 8 h 21"/>
                      <a:gd name="T2" fmla="*/ 74 w 76"/>
                      <a:gd name="T3" fmla="*/ 0 h 21"/>
                      <a:gd name="T4" fmla="*/ 0 w 76"/>
                      <a:gd name="T5" fmla="*/ 13 h 21"/>
                      <a:gd name="T6" fmla="*/ 1 w 76"/>
                      <a:gd name="T7" fmla="*/ 21 h 21"/>
                      <a:gd name="T8" fmla="*/ 76 w 76"/>
                      <a:gd name="T9" fmla="*/ 8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21">
                        <a:moveTo>
                          <a:pt x="76" y="8"/>
                        </a:moveTo>
                        <a:cubicBezTo>
                          <a:pt x="75" y="5"/>
                          <a:pt x="75" y="3"/>
                          <a:pt x="74" y="0"/>
                        </a:cubicBez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0" y="16"/>
                          <a:pt x="1" y="18"/>
                          <a:pt x="1" y="21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7" name="Freeform 37">
                    <a:extLst>
                      <a:ext uri="{FF2B5EF4-FFF2-40B4-BE49-F238E27FC236}">
                        <a16:creationId xmlns:a16="http://schemas.microsoft.com/office/drawing/2014/main" id="{444B14D4-B8CB-295A-3E66-AA8F7D0721F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8188" y="5449888"/>
                    <a:ext cx="133350" cy="73025"/>
                  </a:xfrm>
                  <a:custGeom>
                    <a:avLst/>
                    <a:gdLst>
                      <a:gd name="T0" fmla="*/ 72 w 72"/>
                      <a:gd name="T1" fmla="*/ 7 h 39"/>
                      <a:gd name="T2" fmla="*/ 69 w 72"/>
                      <a:gd name="T3" fmla="*/ 0 h 39"/>
                      <a:gd name="T4" fmla="*/ 0 w 72"/>
                      <a:gd name="T5" fmla="*/ 32 h 39"/>
                      <a:gd name="T6" fmla="*/ 3 w 72"/>
                      <a:gd name="T7" fmla="*/ 39 h 39"/>
                      <a:gd name="T8" fmla="*/ 72 w 72"/>
                      <a:gd name="T9" fmla="*/ 7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72" y="7"/>
                        </a:moveTo>
                        <a:cubicBezTo>
                          <a:pt x="71" y="4"/>
                          <a:pt x="70" y="2"/>
                          <a:pt x="69" y="0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1" y="34"/>
                          <a:pt x="2" y="37"/>
                          <a:pt x="3" y="39"/>
                        </a:cubicBezTo>
                        <a:lnTo>
                          <a:pt x="72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8" name="Freeform 39">
                    <a:extLst>
                      <a:ext uri="{FF2B5EF4-FFF2-40B4-BE49-F238E27FC236}">
                        <a16:creationId xmlns:a16="http://schemas.microsoft.com/office/drawing/2014/main" id="{2AECBD74-71D7-EE85-F576-50562F5084E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740276"/>
                    <a:ext cx="139700" cy="28575"/>
                  </a:xfrm>
                  <a:custGeom>
                    <a:avLst/>
                    <a:gdLst>
                      <a:gd name="T0" fmla="*/ 76 w 76"/>
                      <a:gd name="T1" fmla="*/ 8 h 15"/>
                      <a:gd name="T2" fmla="*/ 75 w 76"/>
                      <a:gd name="T3" fmla="*/ 0 h 15"/>
                      <a:gd name="T4" fmla="*/ 0 w 76"/>
                      <a:gd name="T5" fmla="*/ 7 h 15"/>
                      <a:gd name="T6" fmla="*/ 1 w 76"/>
                      <a:gd name="T7" fmla="*/ 15 h 15"/>
                      <a:gd name="T8" fmla="*/ 76 w 76"/>
                      <a:gd name="T9" fmla="*/ 8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15">
                        <a:moveTo>
                          <a:pt x="76" y="8"/>
                        </a:moveTo>
                        <a:cubicBezTo>
                          <a:pt x="76" y="6"/>
                          <a:pt x="76" y="3"/>
                          <a:pt x="75" y="0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10"/>
                          <a:pt x="1" y="12"/>
                          <a:pt x="1" y="15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9" name="Freeform 40">
                    <a:extLst>
                      <a:ext uri="{FF2B5EF4-FFF2-40B4-BE49-F238E27FC236}">
                        <a16:creationId xmlns:a16="http://schemas.microsoft.com/office/drawing/2014/main" id="{2C814BC5-95CE-D9C2-F4B5-03BADC3B9AE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360863"/>
                    <a:ext cx="138113" cy="28575"/>
                  </a:xfrm>
                  <a:custGeom>
                    <a:avLst/>
                    <a:gdLst>
                      <a:gd name="T0" fmla="*/ 75 w 75"/>
                      <a:gd name="T1" fmla="*/ 15 h 15"/>
                      <a:gd name="T2" fmla="*/ 75 w 75"/>
                      <a:gd name="T3" fmla="*/ 7 h 15"/>
                      <a:gd name="T4" fmla="*/ 0 w 75"/>
                      <a:gd name="T5" fmla="*/ 0 h 15"/>
                      <a:gd name="T6" fmla="*/ 0 w 75"/>
                      <a:gd name="T7" fmla="*/ 8 h 15"/>
                      <a:gd name="T8" fmla="*/ 75 w 75"/>
                      <a:gd name="T9" fmla="*/ 15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5">
                        <a:moveTo>
                          <a:pt x="75" y="15"/>
                        </a:moveTo>
                        <a:cubicBezTo>
                          <a:pt x="75" y="12"/>
                          <a:pt x="75" y="9"/>
                          <a:pt x="75" y="7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lnTo>
                          <a:pt x="75" y="1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0" name="Freeform 41">
                    <a:extLst>
                      <a:ext uri="{FF2B5EF4-FFF2-40B4-BE49-F238E27FC236}">
                        <a16:creationId xmlns:a16="http://schemas.microsoft.com/office/drawing/2014/main" id="{B4B2C2CB-2895-BB65-746C-30BE9EC9958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644900" y="2508251"/>
                    <a:ext cx="107950" cy="171450"/>
                  </a:xfrm>
                  <a:custGeom>
                    <a:avLst/>
                    <a:gdLst>
                      <a:gd name="T0" fmla="*/ 39 w 58"/>
                      <a:gd name="T1" fmla="*/ 0 h 93"/>
                      <a:gd name="T2" fmla="*/ 0 w 58"/>
                      <a:gd name="T3" fmla="*/ 85 h 93"/>
                      <a:gd name="T4" fmla="*/ 10 w 58"/>
                      <a:gd name="T5" fmla="*/ 89 h 93"/>
                      <a:gd name="T6" fmla="*/ 19 w 58"/>
                      <a:gd name="T7" fmla="*/ 93 h 93"/>
                      <a:gd name="T8" fmla="*/ 58 w 58"/>
                      <a:gd name="T9" fmla="*/ 8 h 93"/>
                      <a:gd name="T10" fmla="*/ 49 w 58"/>
                      <a:gd name="T11" fmla="*/ 4 h 93"/>
                      <a:gd name="T12" fmla="*/ 39 w 58"/>
                      <a:gd name="T13" fmla="*/ 0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39" y="0"/>
                        </a:moveTo>
                        <a:cubicBezTo>
                          <a:pt x="0" y="85"/>
                          <a:pt x="0" y="85"/>
                          <a:pt x="0" y="85"/>
                        </a:cubicBezTo>
                        <a:cubicBezTo>
                          <a:pt x="2" y="85"/>
                          <a:pt x="8" y="88"/>
                          <a:pt x="10" y="89"/>
                        </a:cubicBezTo>
                        <a:cubicBezTo>
                          <a:pt x="11" y="90"/>
                          <a:pt x="17" y="93"/>
                          <a:pt x="19" y="93"/>
                        </a:cubicBezTo>
                        <a:cubicBezTo>
                          <a:pt x="58" y="8"/>
                          <a:pt x="58" y="8"/>
                          <a:pt x="58" y="8"/>
                        </a:cubicBezTo>
                        <a:cubicBezTo>
                          <a:pt x="56" y="8"/>
                          <a:pt x="50" y="4"/>
                          <a:pt x="49" y="4"/>
                        </a:cubicBezTo>
                        <a:cubicBezTo>
                          <a:pt x="47" y="3"/>
                          <a:pt x="41" y="0"/>
                          <a:pt x="39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1" name="Freeform 42">
                    <a:extLst>
                      <a:ext uri="{FF2B5EF4-FFF2-40B4-BE49-F238E27FC236}">
                        <a16:creationId xmlns:a16="http://schemas.microsoft.com/office/drawing/2014/main" id="{8CA7B9A5-F0FA-906B-D842-8203FF454ED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364038" y="3095626"/>
                    <a:ext cx="157163" cy="139700"/>
                  </a:xfrm>
                  <a:custGeom>
                    <a:avLst/>
                    <a:gdLst>
                      <a:gd name="T0" fmla="*/ 72 w 85"/>
                      <a:gd name="T1" fmla="*/ 0 h 76"/>
                      <a:gd name="T2" fmla="*/ 0 w 85"/>
                      <a:gd name="T3" fmla="*/ 60 h 76"/>
                      <a:gd name="T4" fmla="*/ 6 w 85"/>
                      <a:gd name="T5" fmla="*/ 68 h 76"/>
                      <a:gd name="T6" fmla="*/ 13 w 85"/>
                      <a:gd name="T7" fmla="*/ 76 h 76"/>
                      <a:gd name="T8" fmla="*/ 85 w 85"/>
                      <a:gd name="T9" fmla="*/ 16 h 76"/>
                      <a:gd name="T10" fmla="*/ 78 w 85"/>
                      <a:gd name="T11" fmla="*/ 8 h 76"/>
                      <a:gd name="T12" fmla="*/ 72 w 85"/>
                      <a:gd name="T13" fmla="*/ 0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6">
                        <a:moveTo>
                          <a:pt x="72" y="0"/>
                        </a:move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1" y="61"/>
                          <a:pt x="6" y="67"/>
                          <a:pt x="6" y="68"/>
                        </a:cubicBezTo>
                        <a:cubicBezTo>
                          <a:pt x="7" y="69"/>
                          <a:pt x="12" y="75"/>
                          <a:pt x="13" y="76"/>
                        </a:cubicBezTo>
                        <a:cubicBezTo>
                          <a:pt x="85" y="16"/>
                          <a:pt x="85" y="16"/>
                          <a:pt x="85" y="16"/>
                        </a:cubicBezTo>
                        <a:cubicBezTo>
                          <a:pt x="84" y="15"/>
                          <a:pt x="79" y="9"/>
                          <a:pt x="78" y="8"/>
                        </a:cubicBezTo>
                        <a:cubicBezTo>
                          <a:pt x="78" y="7"/>
                          <a:pt x="73" y="1"/>
                          <a:pt x="72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2" name="Freeform 43">
                    <a:extLst>
                      <a:ext uri="{FF2B5EF4-FFF2-40B4-BE49-F238E27FC236}">
                        <a16:creationId xmlns:a16="http://schemas.microsoft.com/office/drawing/2014/main" id="{D16A4ED1-1EF1-96A9-F954-244945C0BBC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814513" y="2506663"/>
                    <a:ext cx="107950" cy="171450"/>
                  </a:xfrm>
                  <a:custGeom>
                    <a:avLst/>
                    <a:gdLst>
                      <a:gd name="T0" fmla="*/ 0 w 58"/>
                      <a:gd name="T1" fmla="*/ 9 h 93"/>
                      <a:gd name="T2" fmla="*/ 40 w 58"/>
                      <a:gd name="T3" fmla="*/ 93 h 93"/>
                      <a:gd name="T4" fmla="*/ 49 w 58"/>
                      <a:gd name="T5" fmla="*/ 89 h 93"/>
                      <a:gd name="T6" fmla="*/ 58 w 58"/>
                      <a:gd name="T7" fmla="*/ 85 h 93"/>
                      <a:gd name="T8" fmla="*/ 18 w 58"/>
                      <a:gd name="T9" fmla="*/ 0 h 93"/>
                      <a:gd name="T10" fmla="*/ 9 w 58"/>
                      <a:gd name="T11" fmla="*/ 4 h 93"/>
                      <a:gd name="T12" fmla="*/ 0 w 58"/>
                      <a:gd name="T13" fmla="*/ 9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0" y="9"/>
                        </a:moveTo>
                        <a:cubicBezTo>
                          <a:pt x="40" y="93"/>
                          <a:pt x="40" y="93"/>
                          <a:pt x="40" y="93"/>
                        </a:cubicBezTo>
                        <a:cubicBezTo>
                          <a:pt x="41" y="93"/>
                          <a:pt x="47" y="90"/>
                          <a:pt x="49" y="89"/>
                        </a:cubicBezTo>
                        <a:cubicBezTo>
                          <a:pt x="50" y="88"/>
                          <a:pt x="57" y="85"/>
                          <a:pt x="58" y="85"/>
                        </a:cubicBezTo>
                        <a:cubicBezTo>
                          <a:pt x="18" y="0"/>
                          <a:pt x="18" y="0"/>
                          <a:pt x="18" y="0"/>
                        </a:cubicBezTo>
                        <a:cubicBezTo>
                          <a:pt x="17" y="1"/>
                          <a:pt x="10" y="4"/>
                          <a:pt x="9" y="4"/>
                        </a:cubicBezTo>
                        <a:cubicBezTo>
                          <a:pt x="7" y="5"/>
                          <a:pt x="1" y="8"/>
                          <a:pt x="0" y="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3" name="Freeform 44">
                    <a:extLst>
                      <a:ext uri="{FF2B5EF4-FFF2-40B4-BE49-F238E27FC236}">
                        <a16:creationId xmlns:a16="http://schemas.microsoft.com/office/drawing/2014/main" id="{E9D86D26-7F93-8075-2A6A-71D63317195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225" y="3100388"/>
                    <a:ext cx="157163" cy="139700"/>
                  </a:xfrm>
                  <a:custGeom>
                    <a:avLst/>
                    <a:gdLst>
                      <a:gd name="T0" fmla="*/ 0 w 85"/>
                      <a:gd name="T1" fmla="*/ 16 h 75"/>
                      <a:gd name="T2" fmla="*/ 72 w 85"/>
                      <a:gd name="T3" fmla="*/ 75 h 75"/>
                      <a:gd name="T4" fmla="*/ 78 w 85"/>
                      <a:gd name="T5" fmla="*/ 67 h 75"/>
                      <a:gd name="T6" fmla="*/ 85 w 85"/>
                      <a:gd name="T7" fmla="*/ 59 h 75"/>
                      <a:gd name="T8" fmla="*/ 12 w 85"/>
                      <a:gd name="T9" fmla="*/ 0 h 75"/>
                      <a:gd name="T10" fmla="*/ 6 w 85"/>
                      <a:gd name="T11" fmla="*/ 8 h 75"/>
                      <a:gd name="T12" fmla="*/ 0 w 85"/>
                      <a:gd name="T13" fmla="*/ 16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5">
                        <a:moveTo>
                          <a:pt x="0" y="16"/>
                        </a:moveTo>
                        <a:cubicBezTo>
                          <a:pt x="72" y="75"/>
                          <a:pt x="72" y="75"/>
                          <a:pt x="72" y="75"/>
                        </a:cubicBezTo>
                        <a:cubicBezTo>
                          <a:pt x="73" y="74"/>
                          <a:pt x="78" y="68"/>
                          <a:pt x="78" y="67"/>
                        </a:cubicBezTo>
                        <a:cubicBezTo>
                          <a:pt x="79" y="66"/>
                          <a:pt x="84" y="60"/>
                          <a:pt x="85" y="59"/>
                        </a:cubicBezTo>
                        <a:cubicBezTo>
                          <a:pt x="12" y="0"/>
                          <a:pt x="12" y="0"/>
                          <a:pt x="12" y="0"/>
                        </a:cubicBezTo>
                        <a:cubicBezTo>
                          <a:pt x="11" y="1"/>
                          <a:pt x="7" y="7"/>
                          <a:pt x="6" y="8"/>
                        </a:cubicBezTo>
                        <a:cubicBezTo>
                          <a:pt x="5" y="9"/>
                          <a:pt x="0" y="14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4" name="Freeform 46">
                    <a:extLst>
                      <a:ext uri="{FF2B5EF4-FFF2-40B4-BE49-F238E27FC236}">
                        <a16:creationId xmlns:a16="http://schemas.microsoft.com/office/drawing/2014/main" id="{AC98D84E-6CC4-6FB0-C538-C78DE7C358A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58800" y="4906963"/>
                    <a:ext cx="177800" cy="69850"/>
                  </a:xfrm>
                  <a:custGeom>
                    <a:avLst/>
                    <a:gdLst>
                      <a:gd name="T0" fmla="*/ 4 w 96"/>
                      <a:gd name="T1" fmla="*/ 37 h 37"/>
                      <a:gd name="T2" fmla="*/ 96 w 96"/>
                      <a:gd name="T3" fmla="*/ 20 h 37"/>
                      <a:gd name="T4" fmla="*/ 94 w 96"/>
                      <a:gd name="T5" fmla="*/ 10 h 37"/>
                      <a:gd name="T6" fmla="*/ 92 w 96"/>
                      <a:gd name="T7" fmla="*/ 0 h 37"/>
                      <a:gd name="T8" fmla="*/ 0 w 96"/>
                      <a:gd name="T9" fmla="*/ 17 h 37"/>
                      <a:gd name="T10" fmla="*/ 2 w 96"/>
                      <a:gd name="T11" fmla="*/ 27 h 37"/>
                      <a:gd name="T12" fmla="*/ 4 w 96"/>
                      <a:gd name="T13" fmla="*/ 37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6" h="37">
                        <a:moveTo>
                          <a:pt x="4" y="37"/>
                        </a:moveTo>
                        <a:cubicBezTo>
                          <a:pt x="96" y="20"/>
                          <a:pt x="96" y="20"/>
                          <a:pt x="96" y="20"/>
                        </a:cubicBezTo>
                        <a:cubicBezTo>
                          <a:pt x="96" y="19"/>
                          <a:pt x="94" y="12"/>
                          <a:pt x="94" y="10"/>
                        </a:cubicBezTo>
                        <a:cubicBezTo>
                          <a:pt x="94" y="9"/>
                          <a:pt x="93" y="2"/>
                          <a:pt x="92" y="0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1" y="18"/>
                          <a:pt x="2" y="25"/>
                          <a:pt x="2" y="27"/>
                        </a:cubicBezTo>
                        <a:cubicBezTo>
                          <a:pt x="2" y="28"/>
                          <a:pt x="4" y="35"/>
                          <a:pt x="4" y="3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98" name="Group 1019">
                <a:extLst>
                  <a:ext uri="{FF2B5EF4-FFF2-40B4-BE49-F238E27FC236}">
                    <a16:creationId xmlns:a16="http://schemas.microsoft.com/office/drawing/2014/main" id="{A1BC8FDF-37FA-ED9A-8B86-7EB22B61C8B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486427" y="2263024"/>
                <a:ext cx="1699667" cy="2477857"/>
                <a:chOff x="1866900" y="3224213"/>
                <a:chExt cx="2184400" cy="3184525"/>
              </a:xfrm>
            </p:grpSpPr>
            <p:sp>
              <p:nvSpPr>
                <p:cNvPr id="223" name="Freeform 47">
                  <a:extLst>
                    <a:ext uri="{FF2B5EF4-FFF2-40B4-BE49-F238E27FC236}">
                      <a16:creationId xmlns:a16="http://schemas.microsoft.com/office/drawing/2014/main" id="{466C28E9-44FE-DAD4-7898-A3156DC2274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933575" y="3373438"/>
                  <a:ext cx="2117725" cy="3035300"/>
                </a:xfrm>
                <a:custGeom>
                  <a:avLst/>
                  <a:gdLst>
                    <a:gd name="T0" fmla="*/ 1142 w 1142"/>
                    <a:gd name="T1" fmla="*/ 0 h 1640"/>
                    <a:gd name="T2" fmla="*/ 883 w 1142"/>
                    <a:gd name="T3" fmla="*/ 142 h 1640"/>
                    <a:gd name="T4" fmla="*/ 947 w 1142"/>
                    <a:gd name="T5" fmla="*/ 186 h 1640"/>
                    <a:gd name="T6" fmla="*/ 619 w 1142"/>
                    <a:gd name="T7" fmla="*/ 667 h 1640"/>
                    <a:gd name="T8" fmla="*/ 588 w 1142"/>
                    <a:gd name="T9" fmla="*/ 663 h 1640"/>
                    <a:gd name="T10" fmla="*/ 465 w 1142"/>
                    <a:gd name="T11" fmla="*/ 729 h 1640"/>
                    <a:gd name="T12" fmla="*/ 463 w 1142"/>
                    <a:gd name="T13" fmla="*/ 895 h 1640"/>
                    <a:gd name="T14" fmla="*/ 0 w 1142"/>
                    <a:gd name="T15" fmla="*/ 1576 h 1640"/>
                    <a:gd name="T16" fmla="*/ 93 w 1142"/>
                    <a:gd name="T17" fmla="*/ 1640 h 1640"/>
                    <a:gd name="T18" fmla="*/ 558 w 1142"/>
                    <a:gd name="T19" fmla="*/ 959 h 1640"/>
                    <a:gd name="T20" fmla="*/ 588 w 1142"/>
                    <a:gd name="T21" fmla="*/ 963 h 1640"/>
                    <a:gd name="T22" fmla="*/ 712 w 1142"/>
                    <a:gd name="T23" fmla="*/ 897 h 1640"/>
                    <a:gd name="T24" fmla="*/ 713 w 1142"/>
                    <a:gd name="T25" fmla="*/ 731 h 1640"/>
                    <a:gd name="T26" fmla="*/ 1041 w 1142"/>
                    <a:gd name="T27" fmla="*/ 250 h 1640"/>
                    <a:gd name="T28" fmla="*/ 1105 w 1142"/>
                    <a:gd name="T29" fmla="*/ 293 h 1640"/>
                    <a:gd name="T30" fmla="*/ 1142 w 1142"/>
                    <a:gd name="T31" fmla="*/ 0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142" h="1640">
                      <a:moveTo>
                        <a:pt x="1142" y="0"/>
                      </a:move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619" y="667"/>
                        <a:pt x="619" y="667"/>
                        <a:pt x="619" y="667"/>
                      </a:cubicBezTo>
                      <a:cubicBezTo>
                        <a:pt x="609" y="665"/>
                        <a:pt x="599" y="663"/>
                        <a:pt x="588" y="663"/>
                      </a:cubicBezTo>
                      <a:cubicBezTo>
                        <a:pt x="541" y="663"/>
                        <a:pt x="494" y="686"/>
                        <a:pt x="465" y="729"/>
                      </a:cubicBezTo>
                      <a:cubicBezTo>
                        <a:pt x="430" y="780"/>
                        <a:pt x="431" y="846"/>
                        <a:pt x="463" y="895"/>
                      </a:cubicBezTo>
                      <a:cubicBezTo>
                        <a:pt x="463" y="895"/>
                        <a:pt x="56" y="1493"/>
                        <a:pt x="0" y="1576"/>
                      </a:cubicBezTo>
                      <a:cubicBezTo>
                        <a:pt x="93" y="1640"/>
                        <a:pt x="93" y="1640"/>
                        <a:pt x="93" y="1640"/>
                      </a:cubicBezTo>
                      <a:cubicBezTo>
                        <a:pt x="153" y="1551"/>
                        <a:pt x="558" y="959"/>
                        <a:pt x="558" y="959"/>
                      </a:cubicBezTo>
                      <a:cubicBezTo>
                        <a:pt x="568" y="961"/>
                        <a:pt x="578" y="963"/>
                        <a:pt x="588" y="963"/>
                      </a:cubicBezTo>
                      <a:cubicBezTo>
                        <a:pt x="636" y="963"/>
                        <a:pt x="683" y="940"/>
                        <a:pt x="712" y="897"/>
                      </a:cubicBezTo>
                      <a:cubicBezTo>
                        <a:pt x="747" y="846"/>
                        <a:pt x="745" y="780"/>
                        <a:pt x="713" y="731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142" y="0"/>
                        <a:pt x="1142" y="0"/>
                        <a:pt x="1142" y="0"/>
                      </a:cubicBezTo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 48">
                  <a:extLst>
                    <a:ext uri="{FF2B5EF4-FFF2-40B4-BE49-F238E27FC236}">
                      <a16:creationId xmlns:a16="http://schemas.microsoft.com/office/drawing/2014/main" id="{F92511C7-D54B-013E-295F-7172962FBCB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866900" y="3224213"/>
                  <a:ext cx="2117725" cy="3036888"/>
                </a:xfrm>
                <a:custGeom>
                  <a:avLst/>
                  <a:gdLst>
                    <a:gd name="T0" fmla="*/ 0 w 1142"/>
                    <a:gd name="T1" fmla="*/ 1576 h 1640"/>
                    <a:gd name="T2" fmla="*/ 463 w 1142"/>
                    <a:gd name="T3" fmla="*/ 895 h 1640"/>
                    <a:gd name="T4" fmla="*/ 465 w 1142"/>
                    <a:gd name="T5" fmla="*/ 729 h 1640"/>
                    <a:gd name="T6" fmla="*/ 619 w 1142"/>
                    <a:gd name="T7" fmla="*/ 667 h 1640"/>
                    <a:gd name="T8" fmla="*/ 947 w 1142"/>
                    <a:gd name="T9" fmla="*/ 186 h 1640"/>
                    <a:gd name="T10" fmla="*/ 883 w 1142"/>
                    <a:gd name="T11" fmla="*/ 142 h 1640"/>
                    <a:gd name="T12" fmla="*/ 1142 w 1142"/>
                    <a:gd name="T13" fmla="*/ 0 h 1640"/>
                    <a:gd name="T14" fmla="*/ 1105 w 1142"/>
                    <a:gd name="T15" fmla="*/ 293 h 1640"/>
                    <a:gd name="T16" fmla="*/ 1041 w 1142"/>
                    <a:gd name="T17" fmla="*/ 250 h 1640"/>
                    <a:gd name="T18" fmla="*/ 713 w 1142"/>
                    <a:gd name="T19" fmla="*/ 731 h 1640"/>
                    <a:gd name="T20" fmla="*/ 712 w 1142"/>
                    <a:gd name="T21" fmla="*/ 897 h 1640"/>
                    <a:gd name="T22" fmla="*/ 558 w 1142"/>
                    <a:gd name="T23" fmla="*/ 959 h 1640"/>
                    <a:gd name="T24" fmla="*/ 93 w 1142"/>
                    <a:gd name="T25" fmla="*/ 1640 h 1640"/>
                    <a:gd name="T26" fmla="*/ 0 w 1142"/>
                    <a:gd name="T27" fmla="*/ 1576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42" h="1640">
                      <a:moveTo>
                        <a:pt x="0" y="1576"/>
                      </a:moveTo>
                      <a:cubicBezTo>
                        <a:pt x="56" y="1493"/>
                        <a:pt x="463" y="895"/>
                        <a:pt x="463" y="895"/>
                      </a:cubicBezTo>
                      <a:cubicBezTo>
                        <a:pt x="431" y="846"/>
                        <a:pt x="430" y="780"/>
                        <a:pt x="465" y="729"/>
                      </a:cubicBezTo>
                      <a:cubicBezTo>
                        <a:pt x="500" y="677"/>
                        <a:pt x="562" y="655"/>
                        <a:pt x="619" y="667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1142" y="0"/>
                        <a:pt x="1142" y="0"/>
                        <a:pt x="1142" y="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713" y="731"/>
                        <a:pt x="713" y="731"/>
                        <a:pt x="713" y="731"/>
                      </a:cubicBezTo>
                      <a:cubicBezTo>
                        <a:pt x="745" y="780"/>
                        <a:pt x="747" y="846"/>
                        <a:pt x="712" y="897"/>
                      </a:cubicBezTo>
                      <a:cubicBezTo>
                        <a:pt x="677" y="949"/>
                        <a:pt x="615" y="971"/>
                        <a:pt x="558" y="959"/>
                      </a:cubicBezTo>
                      <a:cubicBezTo>
                        <a:pt x="558" y="959"/>
                        <a:pt x="153" y="1551"/>
                        <a:pt x="93" y="1640"/>
                      </a:cubicBezTo>
                      <a:lnTo>
                        <a:pt x="0" y="157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 49">
                  <a:extLst>
                    <a:ext uri="{FF2B5EF4-FFF2-40B4-BE49-F238E27FC236}">
                      <a16:creationId xmlns:a16="http://schemas.microsoft.com/office/drawing/2014/main" id="{25A2C54A-9B14-35ED-3042-2008D8910BC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849563" y="4622801"/>
                  <a:ext cx="215900" cy="214313"/>
                </a:xfrm>
                <a:custGeom>
                  <a:avLst/>
                  <a:gdLst>
                    <a:gd name="T0" fmla="*/ 100 w 116"/>
                    <a:gd name="T1" fmla="*/ 87 h 116"/>
                    <a:gd name="T2" fmla="*/ 30 w 116"/>
                    <a:gd name="T3" fmla="*/ 100 h 116"/>
                    <a:gd name="T4" fmla="*/ 16 w 116"/>
                    <a:gd name="T5" fmla="*/ 29 h 116"/>
                    <a:gd name="T6" fmla="*/ 87 w 116"/>
                    <a:gd name="T7" fmla="*/ 16 h 116"/>
                    <a:gd name="T8" fmla="*/ 100 w 116"/>
                    <a:gd name="T9" fmla="*/ 87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" h="116">
                      <a:moveTo>
                        <a:pt x="100" y="87"/>
                      </a:moveTo>
                      <a:cubicBezTo>
                        <a:pt x="85" y="110"/>
                        <a:pt x="53" y="116"/>
                        <a:pt x="30" y="100"/>
                      </a:cubicBezTo>
                      <a:cubicBezTo>
                        <a:pt x="6" y="84"/>
                        <a:pt x="0" y="53"/>
                        <a:pt x="16" y="29"/>
                      </a:cubicBezTo>
                      <a:cubicBezTo>
                        <a:pt x="32" y="6"/>
                        <a:pt x="64" y="0"/>
                        <a:pt x="87" y="16"/>
                      </a:cubicBezTo>
                      <a:cubicBezTo>
                        <a:pt x="110" y="32"/>
                        <a:pt x="116" y="63"/>
                        <a:pt x="100" y="87"/>
                      </a:cubicBezTo>
                      <a:close/>
                    </a:path>
                  </a:pathLst>
                </a:custGeom>
                <a:solidFill>
                  <a:srgbClr val="002B6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Oval 50">
                  <a:extLst>
                    <a:ext uri="{FF2B5EF4-FFF2-40B4-BE49-F238E27FC236}">
                      <a16:creationId xmlns:a16="http://schemas.microsoft.com/office/drawing/2014/main" id="{B6146A99-2398-BE30-E1FB-BD97A918CA0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2919413" y="4694238"/>
                  <a:ext cx="73025" cy="73025"/>
                </a:xfrm>
                <a:prstGeom prst="ellipse">
                  <a:avLst/>
                </a:prstGeom>
                <a:solidFill>
                  <a:srgbClr val="56B9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99" name="Group 1020">
                <a:extLst>
                  <a:ext uri="{FF2B5EF4-FFF2-40B4-BE49-F238E27FC236}">
                    <a16:creationId xmlns:a16="http://schemas.microsoft.com/office/drawing/2014/main" id="{289C76A4-7F4C-C2EC-2E6B-3155234FBE6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163860" y="3516775"/>
                <a:ext cx="839952" cy="104994"/>
                <a:chOff x="4022725" y="4835526"/>
                <a:chExt cx="1079500" cy="134938"/>
              </a:xfrm>
            </p:grpSpPr>
            <p:sp>
              <p:nvSpPr>
                <p:cNvPr id="100" name="Rectangle 53">
                  <a:extLst>
                    <a:ext uri="{FF2B5EF4-FFF2-40B4-BE49-F238E27FC236}">
                      <a16:creationId xmlns:a16="http://schemas.microsoft.com/office/drawing/2014/main" id="{715EE734-E29C-7B25-B6A2-1209013765F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Rectangle 54">
                  <a:extLst>
                    <a:ext uri="{FF2B5EF4-FFF2-40B4-BE49-F238E27FC236}">
                      <a16:creationId xmlns:a16="http://schemas.microsoft.com/office/drawing/2014/main" id="{325918D0-9D02-4206-6921-2BA87740445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Rectangle 55">
                  <a:extLst>
                    <a:ext uri="{FF2B5EF4-FFF2-40B4-BE49-F238E27FC236}">
                      <a16:creationId xmlns:a16="http://schemas.microsoft.com/office/drawing/2014/main" id="{143C1CBB-E9C7-8E88-BFA0-2317079CA40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Rectangle 56">
                  <a:extLst>
                    <a:ext uri="{FF2B5EF4-FFF2-40B4-BE49-F238E27FC236}">
                      <a16:creationId xmlns:a16="http://schemas.microsoft.com/office/drawing/2014/main" id="{CE48B981-E360-E489-0451-DF164363CE5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Rectangle 57">
                  <a:extLst>
                    <a:ext uri="{FF2B5EF4-FFF2-40B4-BE49-F238E27FC236}">
                      <a16:creationId xmlns:a16="http://schemas.microsoft.com/office/drawing/2014/main" id="{050C94D0-C35F-9ED8-06F2-C39FF6493CA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Rectangle 58">
                  <a:extLst>
                    <a:ext uri="{FF2B5EF4-FFF2-40B4-BE49-F238E27FC236}">
                      <a16:creationId xmlns:a16="http://schemas.microsoft.com/office/drawing/2014/main" id="{02551EC1-DC2E-70A5-DABE-EE7378C06EE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 59">
                  <a:extLst>
                    <a:ext uri="{FF2B5EF4-FFF2-40B4-BE49-F238E27FC236}">
                      <a16:creationId xmlns:a16="http://schemas.microsoft.com/office/drawing/2014/main" id="{8FA8A750-4F2E-9AA2-959F-D9F6D4FE78B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 60">
                  <a:extLst>
                    <a:ext uri="{FF2B5EF4-FFF2-40B4-BE49-F238E27FC236}">
                      <a16:creationId xmlns:a16="http://schemas.microsoft.com/office/drawing/2014/main" id="{2D4EFCA7-80A8-B56B-03F2-22596480EA2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reeform 61">
                  <a:extLst>
                    <a:ext uri="{FF2B5EF4-FFF2-40B4-BE49-F238E27FC236}">
                      <a16:creationId xmlns:a16="http://schemas.microsoft.com/office/drawing/2014/main" id="{60BE2F67-E57A-2B93-04B9-BDC8E812D79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 62">
                  <a:extLst>
                    <a:ext uri="{FF2B5EF4-FFF2-40B4-BE49-F238E27FC236}">
                      <a16:creationId xmlns:a16="http://schemas.microsoft.com/office/drawing/2014/main" id="{57FE5940-078A-4BF3-BD5E-23170ADC99A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Rectangle 63">
                  <a:extLst>
                    <a:ext uri="{FF2B5EF4-FFF2-40B4-BE49-F238E27FC236}">
                      <a16:creationId xmlns:a16="http://schemas.microsoft.com/office/drawing/2014/main" id="{B7415E5C-6523-A647-8480-440516C9D57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Rectangle 64">
                  <a:extLst>
                    <a:ext uri="{FF2B5EF4-FFF2-40B4-BE49-F238E27FC236}">
                      <a16:creationId xmlns:a16="http://schemas.microsoft.com/office/drawing/2014/main" id="{37A84C3C-3571-41C6-4122-361B333F2E0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Rectangle 65">
                  <a:extLst>
                    <a:ext uri="{FF2B5EF4-FFF2-40B4-BE49-F238E27FC236}">
                      <a16:creationId xmlns:a16="http://schemas.microsoft.com/office/drawing/2014/main" id="{4BC0A61F-780E-82F1-9BF2-8FEC5BA5D15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Rectangle 66">
                  <a:extLst>
                    <a:ext uri="{FF2B5EF4-FFF2-40B4-BE49-F238E27FC236}">
                      <a16:creationId xmlns:a16="http://schemas.microsoft.com/office/drawing/2014/main" id="{C27B3294-D463-4D9C-01B8-97D7069611B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4" name="Rectangle 67">
                  <a:extLst>
                    <a:ext uri="{FF2B5EF4-FFF2-40B4-BE49-F238E27FC236}">
                      <a16:creationId xmlns:a16="http://schemas.microsoft.com/office/drawing/2014/main" id="{15A3C586-45FF-0CD0-5BAB-C3E2DA7D55F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Rectangle 68">
                  <a:extLst>
                    <a:ext uri="{FF2B5EF4-FFF2-40B4-BE49-F238E27FC236}">
                      <a16:creationId xmlns:a16="http://schemas.microsoft.com/office/drawing/2014/main" id="{E01C9FEC-A5F5-6C93-3951-9A7739D8804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Rectangle 69">
                  <a:extLst>
                    <a:ext uri="{FF2B5EF4-FFF2-40B4-BE49-F238E27FC236}">
                      <a16:creationId xmlns:a16="http://schemas.microsoft.com/office/drawing/2014/main" id="{A4EB5DEE-C9C2-06EB-D212-510DA116294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Rectangle 70">
                  <a:extLst>
                    <a:ext uri="{FF2B5EF4-FFF2-40B4-BE49-F238E27FC236}">
                      <a16:creationId xmlns:a16="http://schemas.microsoft.com/office/drawing/2014/main" id="{BDD8766F-5420-20BF-5AFC-9144B68F9E8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Rectangle 71">
                  <a:extLst>
                    <a:ext uri="{FF2B5EF4-FFF2-40B4-BE49-F238E27FC236}">
                      <a16:creationId xmlns:a16="http://schemas.microsoft.com/office/drawing/2014/main" id="{4B188E5A-8689-8993-E401-BA998E2D35F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Rectangle 72">
                  <a:extLst>
                    <a:ext uri="{FF2B5EF4-FFF2-40B4-BE49-F238E27FC236}">
                      <a16:creationId xmlns:a16="http://schemas.microsoft.com/office/drawing/2014/main" id="{66B9700A-EADC-26EF-EE30-858B984E2A3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Rectangle 73">
                  <a:extLst>
                    <a:ext uri="{FF2B5EF4-FFF2-40B4-BE49-F238E27FC236}">
                      <a16:creationId xmlns:a16="http://schemas.microsoft.com/office/drawing/2014/main" id="{17B66113-C265-41BE-1230-8836761F4E6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Rectangle 74">
                  <a:extLst>
                    <a:ext uri="{FF2B5EF4-FFF2-40B4-BE49-F238E27FC236}">
                      <a16:creationId xmlns:a16="http://schemas.microsoft.com/office/drawing/2014/main" id="{78ED0698-EA0E-F6A4-8095-F2BD31B10B1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Rectangle 75">
                  <a:extLst>
                    <a:ext uri="{FF2B5EF4-FFF2-40B4-BE49-F238E27FC236}">
                      <a16:creationId xmlns:a16="http://schemas.microsoft.com/office/drawing/2014/main" id="{7FE51BCD-0F15-E4B3-F1D2-8EBA11F9CE3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Rectangle 76">
                  <a:extLst>
                    <a:ext uri="{FF2B5EF4-FFF2-40B4-BE49-F238E27FC236}">
                      <a16:creationId xmlns:a16="http://schemas.microsoft.com/office/drawing/2014/main" id="{DE272D77-EF92-7FA2-AD59-6935C238628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Rectangle 77">
                  <a:extLst>
                    <a:ext uri="{FF2B5EF4-FFF2-40B4-BE49-F238E27FC236}">
                      <a16:creationId xmlns:a16="http://schemas.microsoft.com/office/drawing/2014/main" id="{1FD51D34-3C05-E7CE-E285-FAF6F175F22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Rectangle 78">
                  <a:extLst>
                    <a:ext uri="{FF2B5EF4-FFF2-40B4-BE49-F238E27FC236}">
                      <a16:creationId xmlns:a16="http://schemas.microsoft.com/office/drawing/2014/main" id="{9D2BB696-8612-F9C4-08D6-E9E948A0327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Rectangle 79">
                  <a:extLst>
                    <a:ext uri="{FF2B5EF4-FFF2-40B4-BE49-F238E27FC236}">
                      <a16:creationId xmlns:a16="http://schemas.microsoft.com/office/drawing/2014/main" id="{B94CA213-DA34-25C8-FDB6-049FB25B716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Rectangle 80">
                  <a:extLst>
                    <a:ext uri="{FF2B5EF4-FFF2-40B4-BE49-F238E27FC236}">
                      <a16:creationId xmlns:a16="http://schemas.microsoft.com/office/drawing/2014/main" id="{5DB85031-9407-D205-86BC-07FCCEE934F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Rectangle 81">
                  <a:extLst>
                    <a:ext uri="{FF2B5EF4-FFF2-40B4-BE49-F238E27FC236}">
                      <a16:creationId xmlns:a16="http://schemas.microsoft.com/office/drawing/2014/main" id="{341FD0AA-7077-D171-9E57-1D4718E33E1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Rectangle 82">
                  <a:extLst>
                    <a:ext uri="{FF2B5EF4-FFF2-40B4-BE49-F238E27FC236}">
                      <a16:creationId xmlns:a16="http://schemas.microsoft.com/office/drawing/2014/main" id="{88CECD12-780F-2EFF-DCC4-803062FE46E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Rectangle 83">
                  <a:extLst>
                    <a:ext uri="{FF2B5EF4-FFF2-40B4-BE49-F238E27FC236}">
                      <a16:creationId xmlns:a16="http://schemas.microsoft.com/office/drawing/2014/main" id="{96CFCD00-1634-0856-36B4-21F0614D55B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Rectangle 84">
                  <a:extLst>
                    <a:ext uri="{FF2B5EF4-FFF2-40B4-BE49-F238E27FC236}">
                      <a16:creationId xmlns:a16="http://schemas.microsoft.com/office/drawing/2014/main" id="{93FF2817-F4BF-6809-A6E2-05507D7F42F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Rectangle 85">
                  <a:extLst>
                    <a:ext uri="{FF2B5EF4-FFF2-40B4-BE49-F238E27FC236}">
                      <a16:creationId xmlns:a16="http://schemas.microsoft.com/office/drawing/2014/main" id="{AADE2A39-AE7F-AB30-56BA-DEAB5389711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Rectangle 86">
                  <a:extLst>
                    <a:ext uri="{FF2B5EF4-FFF2-40B4-BE49-F238E27FC236}">
                      <a16:creationId xmlns:a16="http://schemas.microsoft.com/office/drawing/2014/main" id="{57287306-DE2C-9640-B892-80C02A2715E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Rectangle 87">
                  <a:extLst>
                    <a:ext uri="{FF2B5EF4-FFF2-40B4-BE49-F238E27FC236}">
                      <a16:creationId xmlns:a16="http://schemas.microsoft.com/office/drawing/2014/main" id="{22279DA1-E80E-5C5A-3113-659DA183005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Rectangle 88">
                  <a:extLst>
                    <a:ext uri="{FF2B5EF4-FFF2-40B4-BE49-F238E27FC236}">
                      <a16:creationId xmlns:a16="http://schemas.microsoft.com/office/drawing/2014/main" id="{00630A1E-F917-7F7B-0F70-5EF4ED1EC20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 89">
                  <a:extLst>
                    <a:ext uri="{FF2B5EF4-FFF2-40B4-BE49-F238E27FC236}">
                      <a16:creationId xmlns:a16="http://schemas.microsoft.com/office/drawing/2014/main" id="{428179A5-9B79-CC18-CB05-B378DA81825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Freeform 90">
                  <a:extLst>
                    <a:ext uri="{FF2B5EF4-FFF2-40B4-BE49-F238E27FC236}">
                      <a16:creationId xmlns:a16="http://schemas.microsoft.com/office/drawing/2014/main" id="{51C42B57-6D35-06EF-B43A-52C968BB99A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Freeform 91">
                  <a:extLst>
                    <a:ext uri="{FF2B5EF4-FFF2-40B4-BE49-F238E27FC236}">
                      <a16:creationId xmlns:a16="http://schemas.microsoft.com/office/drawing/2014/main" id="{C96BE804-A7ED-9FCC-7B2B-7B5926FBF51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951413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Rectangle 92">
                  <a:extLst>
                    <a:ext uri="{FF2B5EF4-FFF2-40B4-BE49-F238E27FC236}">
                      <a16:creationId xmlns:a16="http://schemas.microsoft.com/office/drawing/2014/main" id="{1C0A1B66-1D59-326B-242F-1675559F080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Rectangle 93">
                  <a:extLst>
                    <a:ext uri="{FF2B5EF4-FFF2-40B4-BE49-F238E27FC236}">
                      <a16:creationId xmlns:a16="http://schemas.microsoft.com/office/drawing/2014/main" id="{D87BEABD-B31C-4C76-E202-059FB93CA6D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Rectangle 94">
                  <a:extLst>
                    <a:ext uri="{FF2B5EF4-FFF2-40B4-BE49-F238E27FC236}">
                      <a16:creationId xmlns:a16="http://schemas.microsoft.com/office/drawing/2014/main" id="{4A932B6C-CF8B-5ABB-F820-EB86297759B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Rectangle 95">
                  <a:extLst>
                    <a:ext uri="{FF2B5EF4-FFF2-40B4-BE49-F238E27FC236}">
                      <a16:creationId xmlns:a16="http://schemas.microsoft.com/office/drawing/2014/main" id="{C0CBF361-F717-BFFA-9E43-3401875C9A9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3" name="Freeform 96">
                  <a:extLst>
                    <a:ext uri="{FF2B5EF4-FFF2-40B4-BE49-F238E27FC236}">
                      <a16:creationId xmlns:a16="http://schemas.microsoft.com/office/drawing/2014/main" id="{BCA75AEA-A851-6EB7-29A6-9757C7B7011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Freeform 97">
                  <a:extLst>
                    <a:ext uri="{FF2B5EF4-FFF2-40B4-BE49-F238E27FC236}">
                      <a16:creationId xmlns:a16="http://schemas.microsoft.com/office/drawing/2014/main" id="{65E8E615-03E0-943B-4B63-47A52726E78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Rectangle 98">
                  <a:extLst>
                    <a:ext uri="{FF2B5EF4-FFF2-40B4-BE49-F238E27FC236}">
                      <a16:creationId xmlns:a16="http://schemas.microsoft.com/office/drawing/2014/main" id="{678B5E12-0657-F140-8639-D5C9BE7C3D1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Rectangle 99">
                  <a:extLst>
                    <a:ext uri="{FF2B5EF4-FFF2-40B4-BE49-F238E27FC236}">
                      <a16:creationId xmlns:a16="http://schemas.microsoft.com/office/drawing/2014/main" id="{451CECDA-BF1A-0825-DED3-201665D0DE8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eform 100">
                  <a:extLst>
                    <a:ext uri="{FF2B5EF4-FFF2-40B4-BE49-F238E27FC236}">
                      <a16:creationId xmlns:a16="http://schemas.microsoft.com/office/drawing/2014/main" id="{C7C12AA4-2CC2-A74A-4A45-163B4B5302E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 101">
                  <a:extLst>
                    <a:ext uri="{FF2B5EF4-FFF2-40B4-BE49-F238E27FC236}">
                      <a16:creationId xmlns:a16="http://schemas.microsoft.com/office/drawing/2014/main" id="{E8D2600A-A026-9EF1-995E-75CA709CAF9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 102">
                  <a:extLst>
                    <a:ext uri="{FF2B5EF4-FFF2-40B4-BE49-F238E27FC236}">
                      <a16:creationId xmlns:a16="http://schemas.microsoft.com/office/drawing/2014/main" id="{70EE739C-CBD3-E34F-A3B7-F589E8FE8BA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Freeform 103">
                  <a:extLst>
                    <a:ext uri="{FF2B5EF4-FFF2-40B4-BE49-F238E27FC236}">
                      <a16:creationId xmlns:a16="http://schemas.microsoft.com/office/drawing/2014/main" id="{FE2933E2-3753-AFDC-4B47-EB4269E3C81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Rectangle 104">
                  <a:extLst>
                    <a:ext uri="{FF2B5EF4-FFF2-40B4-BE49-F238E27FC236}">
                      <a16:creationId xmlns:a16="http://schemas.microsoft.com/office/drawing/2014/main" id="{294BF669-EB16-2E65-DB8A-756FC3A48B6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Rectangle 105">
                  <a:extLst>
                    <a:ext uri="{FF2B5EF4-FFF2-40B4-BE49-F238E27FC236}">
                      <a16:creationId xmlns:a16="http://schemas.microsoft.com/office/drawing/2014/main" id="{26B65CFC-9481-22EE-E200-2B3B165A863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Rectangle 106">
                  <a:extLst>
                    <a:ext uri="{FF2B5EF4-FFF2-40B4-BE49-F238E27FC236}">
                      <a16:creationId xmlns:a16="http://schemas.microsoft.com/office/drawing/2014/main" id="{8A16E4A5-90F0-014F-2B3B-BEF4DF4E058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Rectangle 107">
                  <a:extLst>
                    <a:ext uri="{FF2B5EF4-FFF2-40B4-BE49-F238E27FC236}">
                      <a16:creationId xmlns:a16="http://schemas.microsoft.com/office/drawing/2014/main" id="{6CE5168D-4164-13C8-9228-8B470C39C03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Rectangle 108">
                  <a:extLst>
                    <a:ext uri="{FF2B5EF4-FFF2-40B4-BE49-F238E27FC236}">
                      <a16:creationId xmlns:a16="http://schemas.microsoft.com/office/drawing/2014/main" id="{3A58D2BE-BBFD-7371-D85A-101516F5E78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Rectangle 109">
                  <a:extLst>
                    <a:ext uri="{FF2B5EF4-FFF2-40B4-BE49-F238E27FC236}">
                      <a16:creationId xmlns:a16="http://schemas.microsoft.com/office/drawing/2014/main" id="{3B9A8417-6526-798B-61E7-25662ED5B17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reeform 110">
                  <a:extLst>
                    <a:ext uri="{FF2B5EF4-FFF2-40B4-BE49-F238E27FC236}">
                      <a16:creationId xmlns:a16="http://schemas.microsoft.com/office/drawing/2014/main" id="{73DEB81C-92E2-B6CF-430D-49CBD0890DA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 111">
                  <a:extLst>
                    <a:ext uri="{FF2B5EF4-FFF2-40B4-BE49-F238E27FC236}">
                      <a16:creationId xmlns:a16="http://schemas.microsoft.com/office/drawing/2014/main" id="{15D72165-EBC0-D2FC-0CF5-7AD1E2D6E40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Rectangle 112">
                  <a:extLst>
                    <a:ext uri="{FF2B5EF4-FFF2-40B4-BE49-F238E27FC236}">
                      <a16:creationId xmlns:a16="http://schemas.microsoft.com/office/drawing/2014/main" id="{F09BEA76-34C7-96E1-8E28-2A195E5BE62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Rectangle 113">
                  <a:extLst>
                    <a:ext uri="{FF2B5EF4-FFF2-40B4-BE49-F238E27FC236}">
                      <a16:creationId xmlns:a16="http://schemas.microsoft.com/office/drawing/2014/main" id="{74EF1058-8806-EFFF-4E3D-F416FE909FF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Rectangle 114">
                  <a:extLst>
                    <a:ext uri="{FF2B5EF4-FFF2-40B4-BE49-F238E27FC236}">
                      <a16:creationId xmlns:a16="http://schemas.microsoft.com/office/drawing/2014/main" id="{99298A86-2320-CEE1-AC74-AF0FE76C4EC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Rectangle 115">
                  <a:extLst>
                    <a:ext uri="{FF2B5EF4-FFF2-40B4-BE49-F238E27FC236}">
                      <a16:creationId xmlns:a16="http://schemas.microsoft.com/office/drawing/2014/main" id="{59DE8C9F-BD6F-618A-987F-0937C892B28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 116">
                  <a:extLst>
                    <a:ext uri="{FF2B5EF4-FFF2-40B4-BE49-F238E27FC236}">
                      <a16:creationId xmlns:a16="http://schemas.microsoft.com/office/drawing/2014/main" id="{74876E03-E976-4115-6278-9FC89F4EBA5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 117">
                  <a:extLst>
                    <a:ext uri="{FF2B5EF4-FFF2-40B4-BE49-F238E27FC236}">
                      <a16:creationId xmlns:a16="http://schemas.microsoft.com/office/drawing/2014/main" id="{87839637-68F3-B7EF-4472-89A48784A77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Rectangle 118">
                  <a:extLst>
                    <a:ext uri="{FF2B5EF4-FFF2-40B4-BE49-F238E27FC236}">
                      <a16:creationId xmlns:a16="http://schemas.microsoft.com/office/drawing/2014/main" id="{FFA4ED38-AF66-2502-0791-83BD855AC4D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Rectangle 119">
                  <a:extLst>
                    <a:ext uri="{FF2B5EF4-FFF2-40B4-BE49-F238E27FC236}">
                      <a16:creationId xmlns:a16="http://schemas.microsoft.com/office/drawing/2014/main" id="{603ABD77-79C8-2D11-2234-9B7524CBA71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Rectangle 120">
                  <a:extLst>
                    <a:ext uri="{FF2B5EF4-FFF2-40B4-BE49-F238E27FC236}">
                      <a16:creationId xmlns:a16="http://schemas.microsoft.com/office/drawing/2014/main" id="{3B7DE683-44F7-B1A0-1E8C-719299EE3E7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Rectangle 121">
                  <a:extLst>
                    <a:ext uri="{FF2B5EF4-FFF2-40B4-BE49-F238E27FC236}">
                      <a16:creationId xmlns:a16="http://schemas.microsoft.com/office/drawing/2014/main" id="{45FC50E9-BA22-AF94-34C0-468739E8DAA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Rectangle 122">
                  <a:extLst>
                    <a:ext uri="{FF2B5EF4-FFF2-40B4-BE49-F238E27FC236}">
                      <a16:creationId xmlns:a16="http://schemas.microsoft.com/office/drawing/2014/main" id="{2E8ACF2A-EF2B-307C-5BA0-3DE08812723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Rectangle 123">
                  <a:extLst>
                    <a:ext uri="{FF2B5EF4-FFF2-40B4-BE49-F238E27FC236}">
                      <a16:creationId xmlns:a16="http://schemas.microsoft.com/office/drawing/2014/main" id="{B8EABC4B-A0B2-CB87-0439-555DA3DB45C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 124">
                  <a:extLst>
                    <a:ext uri="{FF2B5EF4-FFF2-40B4-BE49-F238E27FC236}">
                      <a16:creationId xmlns:a16="http://schemas.microsoft.com/office/drawing/2014/main" id="{450C2507-EBDD-2EC1-1304-7FC7FE48DCE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Freeform 125">
                  <a:extLst>
                    <a:ext uri="{FF2B5EF4-FFF2-40B4-BE49-F238E27FC236}">
                      <a16:creationId xmlns:a16="http://schemas.microsoft.com/office/drawing/2014/main" id="{64B961BE-B577-980C-ADA9-58B411995E3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Rectangle 126">
                  <a:extLst>
                    <a:ext uri="{FF2B5EF4-FFF2-40B4-BE49-F238E27FC236}">
                      <a16:creationId xmlns:a16="http://schemas.microsoft.com/office/drawing/2014/main" id="{86EE5113-F731-E0BF-667B-B8403AACDFF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Rectangle 127">
                  <a:extLst>
                    <a:ext uri="{FF2B5EF4-FFF2-40B4-BE49-F238E27FC236}">
                      <a16:creationId xmlns:a16="http://schemas.microsoft.com/office/drawing/2014/main" id="{9FCD9598-18EE-2FBD-8771-B8E18723DDC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Rectangle 128">
                  <a:extLst>
                    <a:ext uri="{FF2B5EF4-FFF2-40B4-BE49-F238E27FC236}">
                      <a16:creationId xmlns:a16="http://schemas.microsoft.com/office/drawing/2014/main" id="{861BBAFA-156F-646A-A179-D6CB64B6E2C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Rectangle 129">
                  <a:extLst>
                    <a:ext uri="{FF2B5EF4-FFF2-40B4-BE49-F238E27FC236}">
                      <a16:creationId xmlns:a16="http://schemas.microsoft.com/office/drawing/2014/main" id="{126880BF-4D44-FFB1-BE63-3E716733BF4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 130">
                  <a:extLst>
                    <a:ext uri="{FF2B5EF4-FFF2-40B4-BE49-F238E27FC236}">
                      <a16:creationId xmlns:a16="http://schemas.microsoft.com/office/drawing/2014/main" id="{BDA86638-5839-106B-FF05-FE5CA834BBB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Freeform 131">
                  <a:extLst>
                    <a:ext uri="{FF2B5EF4-FFF2-40B4-BE49-F238E27FC236}">
                      <a16:creationId xmlns:a16="http://schemas.microsoft.com/office/drawing/2014/main" id="{04ED1349-471D-A264-B727-07B46CE48D9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 132">
                  <a:extLst>
                    <a:ext uri="{FF2B5EF4-FFF2-40B4-BE49-F238E27FC236}">
                      <a16:creationId xmlns:a16="http://schemas.microsoft.com/office/drawing/2014/main" id="{1849D2B9-2848-666B-EAF3-4447D267F50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40288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Rectangle 133">
                  <a:extLst>
                    <a:ext uri="{FF2B5EF4-FFF2-40B4-BE49-F238E27FC236}">
                      <a16:creationId xmlns:a16="http://schemas.microsoft.com/office/drawing/2014/main" id="{5F0BF34D-0BFD-A353-8B41-E530C87B7D8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Rectangle 134">
                  <a:extLst>
                    <a:ext uri="{FF2B5EF4-FFF2-40B4-BE49-F238E27FC236}">
                      <a16:creationId xmlns:a16="http://schemas.microsoft.com/office/drawing/2014/main" id="{0BBE472E-6E9B-F70D-8E41-D6C041F6429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Rectangle 135">
                  <a:extLst>
                    <a:ext uri="{FF2B5EF4-FFF2-40B4-BE49-F238E27FC236}">
                      <a16:creationId xmlns:a16="http://schemas.microsoft.com/office/drawing/2014/main" id="{44F552C7-7090-A841-068B-A9FF4A45ADF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Rectangle 136">
                  <a:extLst>
                    <a:ext uri="{FF2B5EF4-FFF2-40B4-BE49-F238E27FC236}">
                      <a16:creationId xmlns:a16="http://schemas.microsoft.com/office/drawing/2014/main" id="{A9476D3A-37F7-BAC6-719D-DF4DE818D32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Rectangle 137">
                  <a:extLst>
                    <a:ext uri="{FF2B5EF4-FFF2-40B4-BE49-F238E27FC236}">
                      <a16:creationId xmlns:a16="http://schemas.microsoft.com/office/drawing/2014/main" id="{8EC373B5-00BE-E5AE-D661-17CD1418BD3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Rectangle 138">
                  <a:extLst>
                    <a:ext uri="{FF2B5EF4-FFF2-40B4-BE49-F238E27FC236}">
                      <a16:creationId xmlns:a16="http://schemas.microsoft.com/office/drawing/2014/main" id="{22E1C20C-8B13-4366-883F-CD5C033C638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Rectangle 139">
                  <a:extLst>
                    <a:ext uri="{FF2B5EF4-FFF2-40B4-BE49-F238E27FC236}">
                      <a16:creationId xmlns:a16="http://schemas.microsoft.com/office/drawing/2014/main" id="{8BA84040-D88F-D830-421F-A51306D4292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Rectangle 140">
                  <a:extLst>
                    <a:ext uri="{FF2B5EF4-FFF2-40B4-BE49-F238E27FC236}">
                      <a16:creationId xmlns:a16="http://schemas.microsoft.com/office/drawing/2014/main" id="{073CDC27-4B3F-D8F4-35F6-B6EFDD922F3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Rectangle 141">
                  <a:extLst>
                    <a:ext uri="{FF2B5EF4-FFF2-40B4-BE49-F238E27FC236}">
                      <a16:creationId xmlns:a16="http://schemas.microsoft.com/office/drawing/2014/main" id="{4127BDEB-8C1B-331C-4B2A-A63AF96BF77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Rectangle 142">
                  <a:extLst>
                    <a:ext uri="{FF2B5EF4-FFF2-40B4-BE49-F238E27FC236}">
                      <a16:creationId xmlns:a16="http://schemas.microsoft.com/office/drawing/2014/main" id="{F46A31B6-D217-7223-6FFB-1B1DD756EA7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Freeform 143">
                  <a:extLst>
                    <a:ext uri="{FF2B5EF4-FFF2-40B4-BE49-F238E27FC236}">
                      <a16:creationId xmlns:a16="http://schemas.microsoft.com/office/drawing/2014/main" id="{C2887CC5-B5F4-E12F-39B0-27B9828D2D7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Freeform 144">
                  <a:extLst>
                    <a:ext uri="{FF2B5EF4-FFF2-40B4-BE49-F238E27FC236}">
                      <a16:creationId xmlns:a16="http://schemas.microsoft.com/office/drawing/2014/main" id="{777851F0-34A5-11CC-BCBC-A093A28E7A0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Rectangle 145">
                  <a:extLst>
                    <a:ext uri="{FF2B5EF4-FFF2-40B4-BE49-F238E27FC236}">
                      <a16:creationId xmlns:a16="http://schemas.microsoft.com/office/drawing/2014/main" id="{D4C3CA81-4041-E082-786F-843146024E3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Rectangle 146">
                  <a:extLst>
                    <a:ext uri="{FF2B5EF4-FFF2-40B4-BE49-F238E27FC236}">
                      <a16:creationId xmlns:a16="http://schemas.microsoft.com/office/drawing/2014/main" id="{FC05A97F-6C2C-7CF5-9F4D-707ECE19FC6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4" name="Freeform 147">
                  <a:extLst>
                    <a:ext uri="{FF2B5EF4-FFF2-40B4-BE49-F238E27FC236}">
                      <a16:creationId xmlns:a16="http://schemas.microsoft.com/office/drawing/2014/main" id="{694C5755-0F50-B2EE-D789-DEEBCAAC4D5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Freeform 148">
                  <a:extLst>
                    <a:ext uri="{FF2B5EF4-FFF2-40B4-BE49-F238E27FC236}">
                      <a16:creationId xmlns:a16="http://schemas.microsoft.com/office/drawing/2014/main" id="{AD94332D-12CF-E5B4-9C85-CA7CED6D157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Freeform 149">
                  <a:extLst>
                    <a:ext uri="{FF2B5EF4-FFF2-40B4-BE49-F238E27FC236}">
                      <a16:creationId xmlns:a16="http://schemas.microsoft.com/office/drawing/2014/main" id="{79D335E6-1A44-5DFC-74FA-80668140C31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Freeform 150">
                  <a:extLst>
                    <a:ext uri="{FF2B5EF4-FFF2-40B4-BE49-F238E27FC236}">
                      <a16:creationId xmlns:a16="http://schemas.microsoft.com/office/drawing/2014/main" id="{EA13B6A0-2059-6336-E8A4-4594A7A0995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Rectangle 151">
                  <a:extLst>
                    <a:ext uri="{FF2B5EF4-FFF2-40B4-BE49-F238E27FC236}">
                      <a16:creationId xmlns:a16="http://schemas.microsoft.com/office/drawing/2014/main" id="{5B0E1284-41AD-5DF3-8220-74AF8A1AEFC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Rectangle 152">
                  <a:extLst>
                    <a:ext uri="{FF2B5EF4-FFF2-40B4-BE49-F238E27FC236}">
                      <a16:creationId xmlns:a16="http://schemas.microsoft.com/office/drawing/2014/main" id="{FBC2481A-6BA2-82A3-D3B5-D8F65E39ED8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Rectangle 153">
                  <a:extLst>
                    <a:ext uri="{FF2B5EF4-FFF2-40B4-BE49-F238E27FC236}">
                      <a16:creationId xmlns:a16="http://schemas.microsoft.com/office/drawing/2014/main" id="{AA5B4DF2-E7E2-50D6-31E0-35ACFEA4D97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Rectangle 154">
                  <a:extLst>
                    <a:ext uri="{FF2B5EF4-FFF2-40B4-BE49-F238E27FC236}">
                      <a16:creationId xmlns:a16="http://schemas.microsoft.com/office/drawing/2014/main" id="{26990046-7917-F714-3FB2-78375C185C8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Rectangle 155">
                  <a:extLst>
                    <a:ext uri="{FF2B5EF4-FFF2-40B4-BE49-F238E27FC236}">
                      <a16:creationId xmlns:a16="http://schemas.microsoft.com/office/drawing/2014/main" id="{EF54C277-3BEC-C2B2-96C8-7697328A8A8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Rectangle 156">
                  <a:extLst>
                    <a:ext uri="{FF2B5EF4-FFF2-40B4-BE49-F238E27FC236}">
                      <a16:creationId xmlns:a16="http://schemas.microsoft.com/office/drawing/2014/main" id="{5834E7ED-85A9-9A3F-6861-09BB9E5D1C7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Freeform 157">
                  <a:extLst>
                    <a:ext uri="{FF2B5EF4-FFF2-40B4-BE49-F238E27FC236}">
                      <a16:creationId xmlns:a16="http://schemas.microsoft.com/office/drawing/2014/main" id="{A9C00597-63BC-7A95-C96A-C39C330E40D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Freeform 158">
                  <a:extLst>
                    <a:ext uri="{FF2B5EF4-FFF2-40B4-BE49-F238E27FC236}">
                      <a16:creationId xmlns:a16="http://schemas.microsoft.com/office/drawing/2014/main" id="{27DBD177-00AE-1EAA-402C-A3EBBC7D39F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6" name="Rectangle 159">
                  <a:extLst>
                    <a:ext uri="{FF2B5EF4-FFF2-40B4-BE49-F238E27FC236}">
                      <a16:creationId xmlns:a16="http://schemas.microsoft.com/office/drawing/2014/main" id="{A7A8D06F-27CD-EC06-AA6B-19BA809553B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7" name="Rectangle 160">
                  <a:extLst>
                    <a:ext uri="{FF2B5EF4-FFF2-40B4-BE49-F238E27FC236}">
                      <a16:creationId xmlns:a16="http://schemas.microsoft.com/office/drawing/2014/main" id="{1FAE333E-B130-18BC-C83D-63B75D7D3B4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Rectangle 161">
                  <a:extLst>
                    <a:ext uri="{FF2B5EF4-FFF2-40B4-BE49-F238E27FC236}">
                      <a16:creationId xmlns:a16="http://schemas.microsoft.com/office/drawing/2014/main" id="{09E9B5B2-B933-DEAE-9B2F-2F9FA657664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Rectangle 162">
                  <a:extLst>
                    <a:ext uri="{FF2B5EF4-FFF2-40B4-BE49-F238E27FC236}">
                      <a16:creationId xmlns:a16="http://schemas.microsoft.com/office/drawing/2014/main" id="{CB56A6A7-0372-BA86-1B6F-CAE7B2E097E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Rectangle 163">
                  <a:extLst>
                    <a:ext uri="{FF2B5EF4-FFF2-40B4-BE49-F238E27FC236}">
                      <a16:creationId xmlns:a16="http://schemas.microsoft.com/office/drawing/2014/main" id="{0E03760C-0B4D-5AEE-916B-B8989988C96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Rectangle 164">
                  <a:extLst>
                    <a:ext uri="{FF2B5EF4-FFF2-40B4-BE49-F238E27FC236}">
                      <a16:creationId xmlns:a16="http://schemas.microsoft.com/office/drawing/2014/main" id="{2F47A1B6-368F-E4FB-6C8B-01E7549E739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Rectangle 165">
                  <a:extLst>
                    <a:ext uri="{FF2B5EF4-FFF2-40B4-BE49-F238E27FC236}">
                      <a16:creationId xmlns:a16="http://schemas.microsoft.com/office/drawing/2014/main" id="{A05E19AF-D65E-72AB-906E-AA531AD2D88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Rectangle 166">
                  <a:extLst>
                    <a:ext uri="{FF2B5EF4-FFF2-40B4-BE49-F238E27FC236}">
                      <a16:creationId xmlns:a16="http://schemas.microsoft.com/office/drawing/2014/main" id="{3D0849A2-4DCD-7CD5-DDD7-04BFFE65B8B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Rectangle 167">
                  <a:extLst>
                    <a:ext uri="{FF2B5EF4-FFF2-40B4-BE49-F238E27FC236}">
                      <a16:creationId xmlns:a16="http://schemas.microsoft.com/office/drawing/2014/main" id="{F89F1BB9-45D4-7237-437F-27AC58F4459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Rectangle 168">
                  <a:extLst>
                    <a:ext uri="{FF2B5EF4-FFF2-40B4-BE49-F238E27FC236}">
                      <a16:creationId xmlns:a16="http://schemas.microsoft.com/office/drawing/2014/main" id="{C6AE40C1-C3B8-B32A-E887-C4ED8DB8D51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Rectangle 169">
                  <a:extLst>
                    <a:ext uri="{FF2B5EF4-FFF2-40B4-BE49-F238E27FC236}">
                      <a16:creationId xmlns:a16="http://schemas.microsoft.com/office/drawing/2014/main" id="{F298CD3B-0FFF-8187-02C7-BCD0733EF55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7" name="Rectangle 170">
                  <a:extLst>
                    <a:ext uri="{FF2B5EF4-FFF2-40B4-BE49-F238E27FC236}">
                      <a16:creationId xmlns:a16="http://schemas.microsoft.com/office/drawing/2014/main" id="{8F615C78-F89E-CBD6-C8C0-4E3189B818F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8" name="Freeform 171">
                  <a:extLst>
                    <a:ext uri="{FF2B5EF4-FFF2-40B4-BE49-F238E27FC236}">
                      <a16:creationId xmlns:a16="http://schemas.microsoft.com/office/drawing/2014/main" id="{68A14100-B994-2642-D7BE-9C9A7E19CD6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9" name="Freeform 172">
                  <a:extLst>
                    <a:ext uri="{FF2B5EF4-FFF2-40B4-BE49-F238E27FC236}">
                      <a16:creationId xmlns:a16="http://schemas.microsoft.com/office/drawing/2014/main" id="{5BD02DCA-2682-0E0E-82EA-CAF833F501B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Rectangle 173">
                  <a:extLst>
                    <a:ext uri="{FF2B5EF4-FFF2-40B4-BE49-F238E27FC236}">
                      <a16:creationId xmlns:a16="http://schemas.microsoft.com/office/drawing/2014/main" id="{0E80E42C-DD57-FD35-2B77-EFFFDB07E12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19563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Rectangle 174">
                  <a:extLst>
                    <a:ext uri="{FF2B5EF4-FFF2-40B4-BE49-F238E27FC236}">
                      <a16:creationId xmlns:a16="http://schemas.microsoft.com/office/drawing/2014/main" id="{3EF0ABB1-34DF-CE33-376A-3E4706BA1D7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1938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 175">
                  <a:extLst>
                    <a:ext uri="{FF2B5EF4-FFF2-40B4-BE49-F238E27FC236}">
                      <a16:creationId xmlns:a16="http://schemas.microsoft.com/office/drawing/2014/main" id="{A3D73C59-3096-78A3-4DF5-C0EC68A65F5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022725" y="4899026"/>
                  <a:ext cx="20638" cy="17463"/>
                </a:xfrm>
                <a:custGeom>
                  <a:avLst/>
                  <a:gdLst>
                    <a:gd name="T0" fmla="*/ 1 w 13"/>
                    <a:gd name="T1" fmla="*/ 11 h 11"/>
                    <a:gd name="T2" fmla="*/ 13 w 13"/>
                    <a:gd name="T3" fmla="*/ 11 h 11"/>
                    <a:gd name="T4" fmla="*/ 13 w 13"/>
                    <a:gd name="T5" fmla="*/ 0 h 11"/>
                    <a:gd name="T6" fmla="*/ 0 w 13"/>
                    <a:gd name="T7" fmla="*/ 0 h 11"/>
                    <a:gd name="T8" fmla="*/ 1 w 13"/>
                    <a:gd name="T9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1">
                      <a:moveTo>
                        <a:pt x="1" y="11"/>
                      </a:moveTo>
                      <a:lnTo>
                        <a:pt x="13" y="11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1" y="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8" name="Group 6">
              <a:extLst>
                <a:ext uri="{FF2B5EF4-FFF2-40B4-BE49-F238E27FC236}">
                  <a16:creationId xmlns:a16="http://schemas.microsoft.com/office/drawing/2014/main" id="{B05DEACE-9825-FEC2-CD76-BF4BF7A803B4}"/>
                </a:ext>
              </a:extLst>
            </p:cNvPr>
            <p:cNvGrpSpPr/>
            <p:nvPr/>
          </p:nvGrpSpPr>
          <p:grpSpPr>
            <a:xfrm>
              <a:off x="1868421" y="3874372"/>
              <a:ext cx="2908640" cy="1223224"/>
              <a:chOff x="1868421" y="3874372"/>
              <a:chExt cx="2908640" cy="1223224"/>
            </a:xfrm>
          </p:grpSpPr>
          <p:grpSp>
            <p:nvGrpSpPr>
              <p:cNvPr id="9" name="Group 2">
                <a:extLst>
                  <a:ext uri="{FF2B5EF4-FFF2-40B4-BE49-F238E27FC236}">
                    <a16:creationId xmlns:a16="http://schemas.microsoft.com/office/drawing/2014/main" id="{77B6374F-2210-C47E-94E0-21649EE21047}"/>
                  </a:ext>
                </a:extLst>
              </p:cNvPr>
              <p:cNvGrpSpPr/>
              <p:nvPr/>
            </p:nvGrpSpPr>
            <p:grpSpPr>
              <a:xfrm>
                <a:off x="1868421" y="3874372"/>
                <a:ext cx="1112318" cy="1215895"/>
                <a:chOff x="1868421" y="3874372"/>
                <a:chExt cx="1112318" cy="1215895"/>
              </a:xfrm>
            </p:grpSpPr>
            <p:sp>
              <p:nvSpPr>
                <p:cNvPr id="72" name="Freeform 177">
                  <a:extLst>
                    <a:ext uri="{FF2B5EF4-FFF2-40B4-BE49-F238E27FC236}">
                      <a16:creationId xmlns:a16="http://schemas.microsoft.com/office/drawing/2014/main" id="{0B7F7AF5-353A-F7AC-9025-51BC106B9A2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163948" y="4817283"/>
                  <a:ext cx="124002" cy="272984"/>
                </a:xfrm>
                <a:custGeom>
                  <a:avLst/>
                  <a:gdLst>
                    <a:gd name="T0" fmla="*/ 20 w 119"/>
                    <a:gd name="T1" fmla="*/ 0 h 262"/>
                    <a:gd name="T2" fmla="*/ 3 w 119"/>
                    <a:gd name="T3" fmla="*/ 0 h 262"/>
                    <a:gd name="T4" fmla="*/ 4 w 119"/>
                    <a:gd name="T5" fmla="*/ 6 h 262"/>
                    <a:gd name="T6" fmla="*/ 22 w 119"/>
                    <a:gd name="T7" fmla="*/ 13 h 262"/>
                    <a:gd name="T8" fmla="*/ 42 w 119"/>
                    <a:gd name="T9" fmla="*/ 23 h 262"/>
                    <a:gd name="T10" fmla="*/ 46 w 119"/>
                    <a:gd name="T11" fmla="*/ 26 h 262"/>
                    <a:gd name="T12" fmla="*/ 35 w 119"/>
                    <a:gd name="T13" fmla="*/ 28 h 262"/>
                    <a:gd name="T14" fmla="*/ 37 w 119"/>
                    <a:gd name="T15" fmla="*/ 262 h 262"/>
                    <a:gd name="T16" fmla="*/ 119 w 119"/>
                    <a:gd name="T17" fmla="*/ 262 h 262"/>
                    <a:gd name="T18" fmla="*/ 69 w 119"/>
                    <a:gd name="T19" fmla="*/ 23 h 262"/>
                    <a:gd name="T20" fmla="*/ 68 w 119"/>
                    <a:gd name="T21" fmla="*/ 23 h 262"/>
                    <a:gd name="T22" fmla="*/ 69 w 119"/>
                    <a:gd name="T23" fmla="*/ 1 h 262"/>
                    <a:gd name="T24" fmla="*/ 49 w 119"/>
                    <a:gd name="T25" fmla="*/ 1 h 262"/>
                    <a:gd name="T26" fmla="*/ 48 w 119"/>
                    <a:gd name="T27" fmla="*/ 9 h 262"/>
                    <a:gd name="T28" fmla="*/ 20 w 119"/>
                    <a:gd name="T29" fmla="*/ 0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9" h="262">
                      <a:moveTo>
                        <a:pt x="20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0" y="5"/>
                        <a:pt x="4" y="6"/>
                      </a:cubicBezTo>
                      <a:cubicBezTo>
                        <a:pt x="6" y="7"/>
                        <a:pt x="22" y="13"/>
                        <a:pt x="22" y="13"/>
                      </a:cubicBezTo>
                      <a:cubicBezTo>
                        <a:pt x="42" y="23"/>
                        <a:pt x="42" y="23"/>
                        <a:pt x="42" y="23"/>
                      </a:cubicBezTo>
                      <a:cubicBezTo>
                        <a:pt x="46" y="26"/>
                        <a:pt x="46" y="26"/>
                        <a:pt x="46" y="26"/>
                      </a:cubicBezTo>
                      <a:cubicBezTo>
                        <a:pt x="35" y="28"/>
                        <a:pt x="35" y="28"/>
                        <a:pt x="35" y="28"/>
                      </a:cubicBezTo>
                      <a:cubicBezTo>
                        <a:pt x="37" y="262"/>
                        <a:pt x="37" y="262"/>
                        <a:pt x="37" y="262"/>
                      </a:cubicBezTo>
                      <a:cubicBezTo>
                        <a:pt x="119" y="262"/>
                        <a:pt x="119" y="262"/>
                        <a:pt x="119" y="262"/>
                      </a:cubicBezTo>
                      <a:cubicBezTo>
                        <a:pt x="105" y="159"/>
                        <a:pt x="69" y="23"/>
                        <a:pt x="69" y="23"/>
                      </a:cubicBezTo>
                      <a:cubicBezTo>
                        <a:pt x="68" y="23"/>
                        <a:pt x="68" y="23"/>
                        <a:pt x="68" y="23"/>
                      </a:cubicBezTo>
                      <a:cubicBezTo>
                        <a:pt x="69" y="1"/>
                        <a:pt x="69" y="1"/>
                        <a:pt x="69" y="1"/>
                      </a:cubicBezTo>
                      <a:cubicBezTo>
                        <a:pt x="49" y="1"/>
                        <a:pt x="49" y="1"/>
                        <a:pt x="49" y="1"/>
                      </a:cubicBezTo>
                      <a:cubicBezTo>
                        <a:pt x="48" y="9"/>
                        <a:pt x="48" y="9"/>
                        <a:pt x="48" y="9"/>
                      </a:cubicBezTo>
                      <a:cubicBezTo>
                        <a:pt x="20" y="0"/>
                        <a:pt x="20" y="0"/>
                        <a:pt x="20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grpSp>
              <p:nvGrpSpPr>
                <p:cNvPr id="73" name="Group 1087">
                  <a:extLst>
                    <a:ext uri="{FF2B5EF4-FFF2-40B4-BE49-F238E27FC236}">
                      <a16:creationId xmlns:a16="http://schemas.microsoft.com/office/drawing/2014/main" id="{0002EC55-6787-340B-E50C-DB1C47277931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1868421" y="3874372"/>
                  <a:ext cx="1112318" cy="907889"/>
                  <a:chOff x="10205244" y="514350"/>
                  <a:chExt cx="1429544" cy="1166813"/>
                </a:xfrm>
              </p:grpSpPr>
              <p:sp>
                <p:nvSpPr>
                  <p:cNvPr id="74" name="Freeform 254">
                    <a:extLst>
                      <a:ext uri="{FF2B5EF4-FFF2-40B4-BE49-F238E27FC236}">
                        <a16:creationId xmlns:a16="http://schemas.microsoft.com/office/drawing/2014/main" id="{50A0C13F-05A7-6CC4-410A-526FEE08B06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05244" y="950913"/>
                    <a:ext cx="88900" cy="63500"/>
                  </a:xfrm>
                  <a:custGeom>
                    <a:avLst/>
                    <a:gdLst>
                      <a:gd name="T0" fmla="*/ 47 w 48"/>
                      <a:gd name="T1" fmla="*/ 8 h 35"/>
                      <a:gd name="T2" fmla="*/ 47 w 48"/>
                      <a:gd name="T3" fmla="*/ 0 h 35"/>
                      <a:gd name="T4" fmla="*/ 16 w 48"/>
                      <a:gd name="T5" fmla="*/ 3 h 35"/>
                      <a:gd name="T6" fmla="*/ 21 w 48"/>
                      <a:gd name="T7" fmla="*/ 6 h 35"/>
                      <a:gd name="T8" fmla="*/ 29 w 48"/>
                      <a:gd name="T9" fmla="*/ 7 h 35"/>
                      <a:gd name="T10" fmla="*/ 14 w 48"/>
                      <a:gd name="T11" fmla="*/ 24 h 35"/>
                      <a:gd name="T12" fmla="*/ 2 w 48"/>
                      <a:gd name="T13" fmla="*/ 24 h 35"/>
                      <a:gd name="T14" fmla="*/ 0 w 48"/>
                      <a:gd name="T15" fmla="*/ 28 h 35"/>
                      <a:gd name="T16" fmla="*/ 15 w 48"/>
                      <a:gd name="T17" fmla="*/ 29 h 35"/>
                      <a:gd name="T18" fmla="*/ 5 w 48"/>
                      <a:gd name="T19" fmla="*/ 33 h 35"/>
                      <a:gd name="T20" fmla="*/ 6 w 48"/>
                      <a:gd name="T21" fmla="*/ 35 h 35"/>
                      <a:gd name="T22" fmla="*/ 27 w 48"/>
                      <a:gd name="T23" fmla="*/ 31 h 35"/>
                      <a:gd name="T24" fmla="*/ 31 w 48"/>
                      <a:gd name="T25" fmla="*/ 27 h 35"/>
                      <a:gd name="T26" fmla="*/ 39 w 48"/>
                      <a:gd name="T27" fmla="*/ 19 h 35"/>
                      <a:gd name="T28" fmla="*/ 44 w 48"/>
                      <a:gd name="T29" fmla="*/ 14 h 35"/>
                      <a:gd name="T30" fmla="*/ 48 w 48"/>
                      <a:gd name="T31" fmla="*/ 14 h 35"/>
                      <a:gd name="T32" fmla="*/ 47 w 48"/>
                      <a:gd name="T33" fmla="*/ 8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48" h="35">
                        <a:moveTo>
                          <a:pt x="47" y="8"/>
                        </a:moveTo>
                        <a:cubicBezTo>
                          <a:pt x="47" y="4"/>
                          <a:pt x="47" y="2"/>
                          <a:pt x="47" y="0"/>
                        </a:cubicBezTo>
                        <a:cubicBezTo>
                          <a:pt x="36" y="0"/>
                          <a:pt x="16" y="3"/>
                          <a:pt x="16" y="3"/>
                        </a:cubicBezTo>
                        <a:cubicBezTo>
                          <a:pt x="16" y="3"/>
                          <a:pt x="16" y="6"/>
                          <a:pt x="21" y="6"/>
                        </a:cubicBezTo>
                        <a:cubicBezTo>
                          <a:pt x="26" y="6"/>
                          <a:pt x="29" y="7"/>
                          <a:pt x="29" y="7"/>
                        </a:cubicBezTo>
                        <a:cubicBezTo>
                          <a:pt x="14" y="24"/>
                          <a:pt x="14" y="24"/>
                          <a:pt x="14" y="24"/>
                        </a:cubicBezTo>
                        <a:cubicBezTo>
                          <a:pt x="14" y="24"/>
                          <a:pt x="4" y="24"/>
                          <a:pt x="2" y="24"/>
                        </a:cubicBezTo>
                        <a:cubicBezTo>
                          <a:pt x="1" y="25"/>
                          <a:pt x="0" y="27"/>
                          <a:pt x="0" y="28"/>
                        </a:cubicBezTo>
                        <a:cubicBezTo>
                          <a:pt x="4" y="28"/>
                          <a:pt x="15" y="29"/>
                          <a:pt x="15" y="29"/>
                        </a:cubicBezTo>
                        <a:cubicBezTo>
                          <a:pt x="15" y="29"/>
                          <a:pt x="7" y="31"/>
                          <a:pt x="5" y="33"/>
                        </a:cubicBezTo>
                        <a:cubicBezTo>
                          <a:pt x="5" y="33"/>
                          <a:pt x="4" y="35"/>
                          <a:pt x="6" y="35"/>
                        </a:cubicBezTo>
                        <a:cubicBezTo>
                          <a:pt x="15" y="34"/>
                          <a:pt x="26" y="32"/>
                          <a:pt x="27" y="31"/>
                        </a:cubicBezTo>
                        <a:cubicBezTo>
                          <a:pt x="29" y="29"/>
                          <a:pt x="31" y="27"/>
                          <a:pt x="31" y="27"/>
                        </a:cubicBezTo>
                        <a:cubicBezTo>
                          <a:pt x="31" y="27"/>
                          <a:pt x="35" y="23"/>
                          <a:pt x="39" y="19"/>
                        </a:cubicBezTo>
                        <a:cubicBezTo>
                          <a:pt x="43" y="16"/>
                          <a:pt x="44" y="14"/>
                          <a:pt x="44" y="14"/>
                        </a:cubicBezTo>
                        <a:cubicBezTo>
                          <a:pt x="48" y="14"/>
                          <a:pt x="48" y="14"/>
                          <a:pt x="48" y="14"/>
                        </a:cubicBezTo>
                        <a:cubicBezTo>
                          <a:pt x="48" y="14"/>
                          <a:pt x="47" y="11"/>
                          <a:pt x="47" y="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" name="Freeform 235">
                    <a:extLst>
                      <a:ext uri="{FF2B5EF4-FFF2-40B4-BE49-F238E27FC236}">
                        <a16:creationId xmlns:a16="http://schemas.microsoft.com/office/drawing/2014/main" id="{F4E09C38-38D1-ADD4-9CE5-E9259059513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20438" y="976313"/>
                    <a:ext cx="206375" cy="155575"/>
                  </a:xfrm>
                  <a:custGeom>
                    <a:avLst/>
                    <a:gdLst>
                      <a:gd name="T0" fmla="*/ 112 w 112"/>
                      <a:gd name="T1" fmla="*/ 84 h 84"/>
                      <a:gd name="T2" fmla="*/ 30 w 112"/>
                      <a:gd name="T3" fmla="*/ 73 h 84"/>
                      <a:gd name="T4" fmla="*/ 0 w 112"/>
                      <a:gd name="T5" fmla="*/ 0 h 84"/>
                      <a:gd name="T6" fmla="*/ 68 w 112"/>
                      <a:gd name="T7" fmla="*/ 23 h 84"/>
                      <a:gd name="T8" fmla="*/ 112 w 112"/>
                      <a:gd name="T9" fmla="*/ 84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2" h="84">
                        <a:moveTo>
                          <a:pt x="112" y="84"/>
                        </a:moveTo>
                        <a:cubicBezTo>
                          <a:pt x="112" y="84"/>
                          <a:pt x="80" y="48"/>
                          <a:pt x="30" y="73"/>
                        </a:cubicBezTo>
                        <a:cubicBezTo>
                          <a:pt x="9" y="83"/>
                          <a:pt x="0" y="0"/>
                          <a:pt x="0" y="0"/>
                        </a:cubicBezTo>
                        <a:cubicBezTo>
                          <a:pt x="0" y="0"/>
                          <a:pt x="11" y="5"/>
                          <a:pt x="68" y="23"/>
                        </a:cubicBezTo>
                        <a:cubicBezTo>
                          <a:pt x="83" y="28"/>
                          <a:pt x="112" y="84"/>
                          <a:pt x="112" y="84"/>
                        </a:cubicBezTo>
                        <a:close/>
                      </a:path>
                    </a:pathLst>
                  </a:custGeom>
                  <a:solidFill>
                    <a:srgbClr val="5D819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Freeform 236">
                    <a:extLst>
                      <a:ext uri="{FF2B5EF4-FFF2-40B4-BE49-F238E27FC236}">
                        <a16:creationId xmlns:a16="http://schemas.microsoft.com/office/drawing/2014/main" id="{357B3079-31DE-AD7E-2702-8BAE193A4CF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555413" y="1190625"/>
                    <a:ext cx="79375" cy="52388"/>
                  </a:xfrm>
                  <a:custGeom>
                    <a:avLst/>
                    <a:gdLst>
                      <a:gd name="T0" fmla="*/ 0 w 43"/>
                      <a:gd name="T1" fmla="*/ 12 h 28"/>
                      <a:gd name="T2" fmla="*/ 7 w 43"/>
                      <a:gd name="T3" fmla="*/ 0 h 28"/>
                      <a:gd name="T4" fmla="*/ 19 w 43"/>
                      <a:gd name="T5" fmla="*/ 7 h 28"/>
                      <a:gd name="T6" fmla="*/ 16 w 43"/>
                      <a:gd name="T7" fmla="*/ 12 h 28"/>
                      <a:gd name="T8" fmla="*/ 35 w 43"/>
                      <a:gd name="T9" fmla="*/ 18 h 28"/>
                      <a:gd name="T10" fmla="*/ 43 w 43"/>
                      <a:gd name="T11" fmla="*/ 24 h 28"/>
                      <a:gd name="T12" fmla="*/ 40 w 43"/>
                      <a:gd name="T13" fmla="*/ 27 h 28"/>
                      <a:gd name="T14" fmla="*/ 29 w 43"/>
                      <a:gd name="T15" fmla="*/ 25 h 28"/>
                      <a:gd name="T16" fmla="*/ 12 w 43"/>
                      <a:gd name="T17" fmla="*/ 24 h 28"/>
                      <a:gd name="T18" fmla="*/ 0 w 43"/>
                      <a:gd name="T19" fmla="*/ 12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3" h="28">
                        <a:moveTo>
                          <a:pt x="0" y="12"/>
                        </a:move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19" y="7"/>
                          <a:pt x="19" y="7"/>
                          <a:pt x="19" y="7"/>
                        </a:cubicBezTo>
                        <a:cubicBezTo>
                          <a:pt x="16" y="12"/>
                          <a:pt x="16" y="12"/>
                          <a:pt x="16" y="12"/>
                        </a:cubicBezTo>
                        <a:cubicBezTo>
                          <a:pt x="35" y="18"/>
                          <a:pt x="35" y="18"/>
                          <a:pt x="35" y="18"/>
                        </a:cubicBezTo>
                        <a:cubicBezTo>
                          <a:pt x="43" y="24"/>
                          <a:pt x="43" y="24"/>
                          <a:pt x="43" y="24"/>
                        </a:cubicBezTo>
                        <a:cubicBezTo>
                          <a:pt x="43" y="24"/>
                          <a:pt x="43" y="28"/>
                          <a:pt x="40" y="27"/>
                        </a:cubicBezTo>
                        <a:cubicBezTo>
                          <a:pt x="39" y="27"/>
                          <a:pt x="29" y="25"/>
                          <a:pt x="29" y="25"/>
                        </a:cubicBezTo>
                        <a:cubicBezTo>
                          <a:pt x="12" y="24"/>
                          <a:pt x="12" y="24"/>
                          <a:pt x="12" y="24"/>
                        </a:cubicBez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" name="Freeform 237">
                    <a:extLst>
                      <a:ext uri="{FF2B5EF4-FFF2-40B4-BE49-F238E27FC236}">
                        <a16:creationId xmlns:a16="http://schemas.microsoft.com/office/drawing/2014/main" id="{1DD765F2-52E3-BF96-B80D-315BBA45E22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049000" y="1157288"/>
                    <a:ext cx="534988" cy="444500"/>
                  </a:xfrm>
                  <a:custGeom>
                    <a:avLst/>
                    <a:gdLst>
                      <a:gd name="T0" fmla="*/ 13 w 288"/>
                      <a:gd name="T1" fmla="*/ 30 h 240"/>
                      <a:gd name="T2" fmla="*/ 97 w 288"/>
                      <a:gd name="T3" fmla="*/ 29 h 240"/>
                      <a:gd name="T4" fmla="*/ 121 w 288"/>
                      <a:gd name="T5" fmla="*/ 154 h 240"/>
                      <a:gd name="T6" fmla="*/ 269 w 288"/>
                      <a:gd name="T7" fmla="*/ 26 h 240"/>
                      <a:gd name="T8" fmla="*/ 288 w 288"/>
                      <a:gd name="T9" fmla="*/ 44 h 240"/>
                      <a:gd name="T10" fmla="*/ 145 w 288"/>
                      <a:gd name="T11" fmla="*/ 206 h 240"/>
                      <a:gd name="T12" fmla="*/ 78 w 288"/>
                      <a:gd name="T13" fmla="*/ 202 h 240"/>
                      <a:gd name="T14" fmla="*/ 0 w 288"/>
                      <a:gd name="T15" fmla="*/ 68 h 240"/>
                      <a:gd name="T16" fmla="*/ 13 w 288"/>
                      <a:gd name="T17" fmla="*/ 30 h 2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88" h="240">
                        <a:moveTo>
                          <a:pt x="13" y="30"/>
                        </a:moveTo>
                        <a:cubicBezTo>
                          <a:pt x="13" y="30"/>
                          <a:pt x="86" y="0"/>
                          <a:pt x="97" y="29"/>
                        </a:cubicBezTo>
                        <a:cubicBezTo>
                          <a:pt x="114" y="69"/>
                          <a:pt x="119" y="127"/>
                          <a:pt x="121" y="154"/>
                        </a:cubicBezTo>
                        <a:cubicBezTo>
                          <a:pt x="269" y="26"/>
                          <a:pt x="269" y="26"/>
                          <a:pt x="269" y="26"/>
                        </a:cubicBezTo>
                        <a:cubicBezTo>
                          <a:pt x="288" y="44"/>
                          <a:pt x="288" y="44"/>
                          <a:pt x="288" y="44"/>
                        </a:cubicBezTo>
                        <a:cubicBezTo>
                          <a:pt x="288" y="44"/>
                          <a:pt x="154" y="192"/>
                          <a:pt x="145" y="206"/>
                        </a:cubicBezTo>
                        <a:cubicBezTo>
                          <a:pt x="135" y="220"/>
                          <a:pt x="102" y="240"/>
                          <a:pt x="78" y="202"/>
                        </a:cubicBezTo>
                        <a:cubicBezTo>
                          <a:pt x="55" y="163"/>
                          <a:pt x="14" y="93"/>
                          <a:pt x="0" y="68"/>
                        </a:cubicBezTo>
                        <a:cubicBezTo>
                          <a:pt x="107" y="63"/>
                          <a:pt x="13" y="30"/>
                          <a:pt x="13" y="3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" name="Freeform 238">
                    <a:extLst>
                      <a:ext uri="{FF2B5EF4-FFF2-40B4-BE49-F238E27FC236}">
                        <a16:creationId xmlns:a16="http://schemas.microsoft.com/office/drawing/2014/main" id="{C18A807F-C704-A0C8-E667-90E7ADD6905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50513" y="677863"/>
                    <a:ext cx="373063" cy="328613"/>
                  </a:xfrm>
                  <a:custGeom>
                    <a:avLst/>
                    <a:gdLst>
                      <a:gd name="T0" fmla="*/ 179 w 201"/>
                      <a:gd name="T1" fmla="*/ 0 h 177"/>
                      <a:gd name="T2" fmla="*/ 134 w 201"/>
                      <a:gd name="T3" fmla="*/ 67 h 177"/>
                      <a:gd name="T4" fmla="*/ 99 w 201"/>
                      <a:gd name="T5" fmla="*/ 122 h 177"/>
                      <a:gd name="T6" fmla="*/ 9 w 201"/>
                      <a:gd name="T7" fmla="*/ 39 h 177"/>
                      <a:gd name="T8" fmla="*/ 0 w 201"/>
                      <a:gd name="T9" fmla="*/ 48 h 177"/>
                      <a:gd name="T10" fmla="*/ 65 w 201"/>
                      <a:gd name="T11" fmla="*/ 141 h 177"/>
                      <a:gd name="T12" fmla="*/ 116 w 201"/>
                      <a:gd name="T13" fmla="*/ 177 h 177"/>
                      <a:gd name="T14" fmla="*/ 201 w 201"/>
                      <a:gd name="T15" fmla="*/ 87 h 177"/>
                      <a:gd name="T16" fmla="*/ 179 w 201"/>
                      <a:gd name="T17" fmla="*/ 0 h 1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1" h="177">
                        <a:moveTo>
                          <a:pt x="179" y="0"/>
                        </a:moveTo>
                        <a:cubicBezTo>
                          <a:pt x="179" y="0"/>
                          <a:pt x="155" y="11"/>
                          <a:pt x="134" y="67"/>
                        </a:cubicBezTo>
                        <a:cubicBezTo>
                          <a:pt x="121" y="98"/>
                          <a:pt x="99" y="122"/>
                          <a:pt x="99" y="122"/>
                        </a:cubicBezTo>
                        <a:cubicBezTo>
                          <a:pt x="9" y="39"/>
                          <a:pt x="9" y="39"/>
                          <a:pt x="9" y="39"/>
                        </a:cubicBezTo>
                        <a:cubicBezTo>
                          <a:pt x="0" y="48"/>
                          <a:pt x="0" y="48"/>
                          <a:pt x="0" y="48"/>
                        </a:cubicBezTo>
                        <a:cubicBezTo>
                          <a:pt x="0" y="48"/>
                          <a:pt x="41" y="108"/>
                          <a:pt x="65" y="141"/>
                        </a:cubicBezTo>
                        <a:cubicBezTo>
                          <a:pt x="86" y="172"/>
                          <a:pt x="116" y="177"/>
                          <a:pt x="116" y="177"/>
                        </a:cubicBezTo>
                        <a:cubicBezTo>
                          <a:pt x="201" y="87"/>
                          <a:pt x="201" y="87"/>
                          <a:pt x="201" y="87"/>
                        </a:cubicBezTo>
                        <a:lnTo>
                          <a:pt x="179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" name="Freeform 239">
                    <a:extLst>
                      <a:ext uri="{FF2B5EF4-FFF2-40B4-BE49-F238E27FC236}">
                        <a16:creationId xmlns:a16="http://schemas.microsoft.com/office/drawing/2014/main" id="{20A5CEBB-8063-BF15-BB5B-CD1321DBCA5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7525" y="700088"/>
                    <a:ext cx="284163" cy="404813"/>
                  </a:xfrm>
                  <a:custGeom>
                    <a:avLst/>
                    <a:gdLst>
                      <a:gd name="T0" fmla="*/ 154 w 154"/>
                      <a:gd name="T1" fmla="*/ 219 h 219"/>
                      <a:gd name="T2" fmla="*/ 32 w 154"/>
                      <a:gd name="T3" fmla="*/ 117 h 219"/>
                      <a:gd name="T4" fmla="*/ 43 w 154"/>
                      <a:gd name="T5" fmla="*/ 0 h 219"/>
                      <a:gd name="T6" fmla="*/ 154 w 154"/>
                      <a:gd name="T7" fmla="*/ 219 h 2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54" h="219">
                        <a:moveTo>
                          <a:pt x="154" y="219"/>
                        </a:moveTo>
                        <a:cubicBezTo>
                          <a:pt x="154" y="219"/>
                          <a:pt x="59" y="173"/>
                          <a:pt x="32" y="117"/>
                        </a:cubicBezTo>
                        <a:cubicBezTo>
                          <a:pt x="0" y="47"/>
                          <a:pt x="43" y="0"/>
                          <a:pt x="43" y="0"/>
                        </a:cubicBezTo>
                        <a:cubicBezTo>
                          <a:pt x="154" y="219"/>
                          <a:pt x="154" y="219"/>
                          <a:pt x="154" y="219"/>
                        </a:cubicBezTo>
                      </a:path>
                    </a:pathLst>
                  </a:custGeom>
                  <a:solidFill>
                    <a:srgbClr val="9FCDD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" name="Freeform 240">
                    <a:extLst>
                      <a:ext uri="{FF2B5EF4-FFF2-40B4-BE49-F238E27FC236}">
                        <a16:creationId xmlns:a16="http://schemas.microsoft.com/office/drawing/2014/main" id="{8E3F2CF0-90BC-7C2B-CEB4-11429026C8A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18800" y="666750"/>
                    <a:ext cx="525463" cy="481013"/>
                  </a:xfrm>
                  <a:custGeom>
                    <a:avLst/>
                    <a:gdLst>
                      <a:gd name="T0" fmla="*/ 135 w 283"/>
                      <a:gd name="T1" fmla="*/ 260 h 260"/>
                      <a:gd name="T2" fmla="*/ 32 w 283"/>
                      <a:gd name="T3" fmla="*/ 116 h 260"/>
                      <a:gd name="T4" fmla="*/ 13 w 283"/>
                      <a:gd name="T5" fmla="*/ 25 h 260"/>
                      <a:gd name="T6" fmla="*/ 45 w 283"/>
                      <a:gd name="T7" fmla="*/ 0 h 260"/>
                      <a:gd name="T8" fmla="*/ 174 w 283"/>
                      <a:gd name="T9" fmla="*/ 74 h 260"/>
                      <a:gd name="T10" fmla="*/ 283 w 283"/>
                      <a:gd name="T11" fmla="*/ 245 h 260"/>
                      <a:gd name="T12" fmla="*/ 135 w 283"/>
                      <a:gd name="T13" fmla="*/ 26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3" h="260">
                        <a:moveTo>
                          <a:pt x="135" y="260"/>
                        </a:moveTo>
                        <a:cubicBezTo>
                          <a:pt x="135" y="260"/>
                          <a:pt x="85" y="180"/>
                          <a:pt x="32" y="116"/>
                        </a:cubicBezTo>
                        <a:cubicBezTo>
                          <a:pt x="0" y="76"/>
                          <a:pt x="13" y="25"/>
                          <a:pt x="13" y="25"/>
                        </a:cubicBezTo>
                        <a:cubicBezTo>
                          <a:pt x="13" y="25"/>
                          <a:pt x="30" y="1"/>
                          <a:pt x="45" y="0"/>
                        </a:cubicBezTo>
                        <a:cubicBezTo>
                          <a:pt x="71" y="7"/>
                          <a:pt x="133" y="22"/>
                          <a:pt x="174" y="74"/>
                        </a:cubicBezTo>
                        <a:cubicBezTo>
                          <a:pt x="232" y="148"/>
                          <a:pt x="283" y="245"/>
                          <a:pt x="283" y="245"/>
                        </a:cubicBezTo>
                        <a:cubicBezTo>
                          <a:pt x="135" y="260"/>
                          <a:pt x="135" y="260"/>
                          <a:pt x="135" y="260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" name="Freeform 241">
                    <a:extLst>
                      <a:ext uri="{FF2B5EF4-FFF2-40B4-BE49-F238E27FC236}">
                        <a16:creationId xmlns:a16="http://schemas.microsoft.com/office/drawing/2014/main" id="{174AB621-C313-12AC-A287-4F02D68E5DC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01350" y="911225"/>
                    <a:ext cx="23813" cy="30163"/>
                  </a:xfrm>
                  <a:custGeom>
                    <a:avLst/>
                    <a:gdLst>
                      <a:gd name="T0" fmla="*/ 0 w 13"/>
                      <a:gd name="T1" fmla="*/ 0 h 16"/>
                      <a:gd name="T2" fmla="*/ 13 w 13"/>
                      <a:gd name="T3" fmla="*/ 16 h 16"/>
                      <a:gd name="T4" fmla="*/ 6 w 13"/>
                      <a:gd name="T5" fmla="*/ 5 h 16"/>
                      <a:gd name="T6" fmla="*/ 0 w 13"/>
                      <a:gd name="T7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3" h="16">
                        <a:moveTo>
                          <a:pt x="0" y="0"/>
                        </a:moveTo>
                        <a:cubicBezTo>
                          <a:pt x="0" y="0"/>
                          <a:pt x="5" y="7"/>
                          <a:pt x="13" y="16"/>
                        </a:cubicBezTo>
                        <a:cubicBezTo>
                          <a:pt x="11" y="12"/>
                          <a:pt x="8" y="9"/>
                          <a:pt x="6" y="5"/>
                        </a:cubicBezTo>
                        <a:cubicBezTo>
                          <a:pt x="2" y="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" name="Freeform 242">
                    <a:extLst>
                      <a:ext uri="{FF2B5EF4-FFF2-40B4-BE49-F238E27FC236}">
                        <a16:creationId xmlns:a16="http://schemas.microsoft.com/office/drawing/2014/main" id="{3C6CA563-7F81-7C9D-654E-7D273A54382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2463" y="920750"/>
                    <a:ext cx="252413" cy="200025"/>
                  </a:xfrm>
                  <a:custGeom>
                    <a:avLst/>
                    <a:gdLst>
                      <a:gd name="T0" fmla="*/ 0 w 136"/>
                      <a:gd name="T1" fmla="*/ 0 h 108"/>
                      <a:gd name="T2" fmla="*/ 7 w 136"/>
                      <a:gd name="T3" fmla="*/ 11 h 108"/>
                      <a:gd name="T4" fmla="*/ 63 w 136"/>
                      <a:gd name="T5" fmla="*/ 48 h 108"/>
                      <a:gd name="T6" fmla="*/ 124 w 136"/>
                      <a:gd name="T7" fmla="*/ 107 h 108"/>
                      <a:gd name="T8" fmla="*/ 136 w 136"/>
                      <a:gd name="T9" fmla="*/ 108 h 108"/>
                      <a:gd name="T10" fmla="*/ 62 w 136"/>
                      <a:gd name="T11" fmla="*/ 43 h 108"/>
                      <a:gd name="T12" fmla="*/ 0 w 136"/>
                      <a:gd name="T13" fmla="*/ 0 h 1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36" h="108">
                        <a:moveTo>
                          <a:pt x="0" y="0"/>
                        </a:moveTo>
                        <a:cubicBezTo>
                          <a:pt x="2" y="4"/>
                          <a:pt x="5" y="7"/>
                          <a:pt x="7" y="11"/>
                        </a:cubicBezTo>
                        <a:cubicBezTo>
                          <a:pt x="20" y="24"/>
                          <a:pt x="40" y="41"/>
                          <a:pt x="63" y="48"/>
                        </a:cubicBezTo>
                        <a:cubicBezTo>
                          <a:pt x="97" y="58"/>
                          <a:pt x="124" y="107"/>
                          <a:pt x="124" y="107"/>
                        </a:cubicBezTo>
                        <a:cubicBezTo>
                          <a:pt x="136" y="108"/>
                          <a:pt x="136" y="108"/>
                          <a:pt x="136" y="108"/>
                        </a:cubicBezTo>
                        <a:cubicBezTo>
                          <a:pt x="136" y="108"/>
                          <a:pt x="100" y="63"/>
                          <a:pt x="62" y="43"/>
                        </a:cubicBezTo>
                        <a:cubicBezTo>
                          <a:pt x="33" y="29"/>
                          <a:pt x="10" y="1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" name="Freeform 243">
                    <a:extLst>
                      <a:ext uri="{FF2B5EF4-FFF2-40B4-BE49-F238E27FC236}">
                        <a16:creationId xmlns:a16="http://schemas.microsoft.com/office/drawing/2014/main" id="{6BF43028-4EDC-8DE7-CBCF-23EDFECCAEE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9438" y="730250"/>
                    <a:ext cx="211138" cy="368300"/>
                  </a:xfrm>
                  <a:custGeom>
                    <a:avLst/>
                    <a:gdLst>
                      <a:gd name="T0" fmla="*/ 5 w 114"/>
                      <a:gd name="T1" fmla="*/ 0 h 199"/>
                      <a:gd name="T2" fmla="*/ 2 w 114"/>
                      <a:gd name="T3" fmla="*/ 9 h 199"/>
                      <a:gd name="T4" fmla="*/ 8 w 114"/>
                      <a:gd name="T5" fmla="*/ 18 h 199"/>
                      <a:gd name="T6" fmla="*/ 17 w 114"/>
                      <a:gd name="T7" fmla="*/ 94 h 199"/>
                      <a:gd name="T8" fmla="*/ 83 w 114"/>
                      <a:gd name="T9" fmla="*/ 194 h 199"/>
                      <a:gd name="T10" fmla="*/ 114 w 114"/>
                      <a:gd name="T11" fmla="*/ 199 h 199"/>
                      <a:gd name="T12" fmla="*/ 111 w 114"/>
                      <a:gd name="T13" fmla="*/ 166 h 199"/>
                      <a:gd name="T14" fmla="*/ 33 w 114"/>
                      <a:gd name="T15" fmla="*/ 84 h 199"/>
                      <a:gd name="T16" fmla="*/ 14 w 114"/>
                      <a:gd name="T17" fmla="*/ 17 h 199"/>
                      <a:gd name="T18" fmla="*/ 17 w 114"/>
                      <a:gd name="T19" fmla="*/ 7 h 199"/>
                      <a:gd name="T20" fmla="*/ 5 w 114"/>
                      <a:gd name="T21" fmla="*/ 0 h 1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14" h="199">
                        <a:moveTo>
                          <a:pt x="5" y="0"/>
                        </a:moveTo>
                        <a:cubicBezTo>
                          <a:pt x="5" y="0"/>
                          <a:pt x="2" y="4"/>
                          <a:pt x="2" y="9"/>
                        </a:cubicBezTo>
                        <a:cubicBezTo>
                          <a:pt x="3" y="14"/>
                          <a:pt x="8" y="18"/>
                          <a:pt x="8" y="18"/>
                        </a:cubicBezTo>
                        <a:cubicBezTo>
                          <a:pt x="8" y="18"/>
                          <a:pt x="0" y="55"/>
                          <a:pt x="17" y="94"/>
                        </a:cubicBezTo>
                        <a:cubicBezTo>
                          <a:pt x="43" y="154"/>
                          <a:pt x="83" y="194"/>
                          <a:pt x="83" y="194"/>
                        </a:cubicBezTo>
                        <a:cubicBezTo>
                          <a:pt x="114" y="199"/>
                          <a:pt x="114" y="199"/>
                          <a:pt x="114" y="199"/>
                        </a:cubicBezTo>
                        <a:cubicBezTo>
                          <a:pt x="111" y="166"/>
                          <a:pt x="111" y="166"/>
                          <a:pt x="111" y="166"/>
                        </a:cubicBezTo>
                        <a:cubicBezTo>
                          <a:pt x="111" y="166"/>
                          <a:pt x="65" y="139"/>
                          <a:pt x="33" y="84"/>
                        </a:cubicBezTo>
                        <a:cubicBezTo>
                          <a:pt x="11" y="46"/>
                          <a:pt x="14" y="17"/>
                          <a:pt x="14" y="17"/>
                        </a:cubicBezTo>
                        <a:cubicBezTo>
                          <a:pt x="14" y="17"/>
                          <a:pt x="15" y="12"/>
                          <a:pt x="17" y="7"/>
                        </a:cubicBezTo>
                        <a:cubicBezTo>
                          <a:pt x="9" y="4"/>
                          <a:pt x="5" y="0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" name="Freeform 244">
                    <a:extLst>
                      <a:ext uri="{FF2B5EF4-FFF2-40B4-BE49-F238E27FC236}">
                        <a16:creationId xmlns:a16="http://schemas.microsoft.com/office/drawing/2014/main" id="{8B696C01-004F-8B0B-7F45-1C82DC04249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80700" y="617538"/>
                    <a:ext cx="131763" cy="107950"/>
                  </a:xfrm>
                  <a:custGeom>
                    <a:avLst/>
                    <a:gdLst>
                      <a:gd name="T0" fmla="*/ 70 w 71"/>
                      <a:gd name="T1" fmla="*/ 28 h 59"/>
                      <a:gd name="T2" fmla="*/ 71 w 71"/>
                      <a:gd name="T3" fmla="*/ 24 h 59"/>
                      <a:gd name="T4" fmla="*/ 62 w 71"/>
                      <a:gd name="T5" fmla="*/ 0 h 59"/>
                      <a:gd name="T6" fmla="*/ 42 w 71"/>
                      <a:gd name="T7" fmla="*/ 17 h 59"/>
                      <a:gd name="T8" fmla="*/ 21 w 71"/>
                      <a:gd name="T9" fmla="*/ 23 h 59"/>
                      <a:gd name="T10" fmla="*/ 0 w 71"/>
                      <a:gd name="T11" fmla="*/ 11 h 59"/>
                      <a:gd name="T12" fmla="*/ 36 w 71"/>
                      <a:gd name="T13" fmla="*/ 59 h 59"/>
                      <a:gd name="T14" fmla="*/ 70 w 71"/>
                      <a:gd name="T15" fmla="*/ 28 h 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1" h="59">
                        <a:moveTo>
                          <a:pt x="70" y="28"/>
                        </a:moveTo>
                        <a:cubicBezTo>
                          <a:pt x="69" y="26"/>
                          <a:pt x="71" y="24"/>
                          <a:pt x="71" y="24"/>
                        </a:cubicBezTo>
                        <a:cubicBezTo>
                          <a:pt x="62" y="0"/>
                          <a:pt x="62" y="0"/>
                          <a:pt x="62" y="0"/>
                        </a:cubicBezTo>
                        <a:cubicBezTo>
                          <a:pt x="62" y="0"/>
                          <a:pt x="48" y="10"/>
                          <a:pt x="42" y="17"/>
                        </a:cubicBezTo>
                        <a:cubicBezTo>
                          <a:pt x="36" y="24"/>
                          <a:pt x="25" y="24"/>
                          <a:pt x="21" y="23"/>
                        </a:cubicBezTo>
                        <a:cubicBezTo>
                          <a:pt x="13" y="19"/>
                          <a:pt x="0" y="11"/>
                          <a:pt x="0" y="11"/>
                        </a:cubicBezTo>
                        <a:cubicBezTo>
                          <a:pt x="0" y="11"/>
                          <a:pt x="24" y="28"/>
                          <a:pt x="36" y="59"/>
                        </a:cubicBezTo>
                        <a:cubicBezTo>
                          <a:pt x="60" y="44"/>
                          <a:pt x="67" y="33"/>
                          <a:pt x="70" y="2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5" name="Freeform 245">
                    <a:extLst>
                      <a:ext uri="{FF2B5EF4-FFF2-40B4-BE49-F238E27FC236}">
                        <a16:creationId xmlns:a16="http://schemas.microsoft.com/office/drawing/2014/main" id="{4149F137-E2C6-7206-377C-9C034AE9EDD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9113" y="541338"/>
                    <a:ext cx="138113" cy="127000"/>
                  </a:xfrm>
                  <a:custGeom>
                    <a:avLst/>
                    <a:gdLst>
                      <a:gd name="T0" fmla="*/ 1 w 75"/>
                      <a:gd name="T1" fmla="*/ 52 h 69"/>
                      <a:gd name="T2" fmla="*/ 25 w 75"/>
                      <a:gd name="T3" fmla="*/ 65 h 69"/>
                      <a:gd name="T4" fmla="*/ 39 w 75"/>
                      <a:gd name="T5" fmla="*/ 62 h 69"/>
                      <a:gd name="T6" fmla="*/ 52 w 75"/>
                      <a:gd name="T7" fmla="*/ 51 h 69"/>
                      <a:gd name="T8" fmla="*/ 60 w 75"/>
                      <a:gd name="T9" fmla="*/ 50 h 69"/>
                      <a:gd name="T10" fmla="*/ 62 w 75"/>
                      <a:gd name="T11" fmla="*/ 39 h 69"/>
                      <a:gd name="T12" fmla="*/ 75 w 75"/>
                      <a:gd name="T13" fmla="*/ 12 h 69"/>
                      <a:gd name="T14" fmla="*/ 65 w 75"/>
                      <a:gd name="T15" fmla="*/ 1 h 69"/>
                      <a:gd name="T16" fmla="*/ 50 w 75"/>
                      <a:gd name="T17" fmla="*/ 0 h 69"/>
                      <a:gd name="T18" fmla="*/ 12 w 75"/>
                      <a:gd name="T19" fmla="*/ 20 h 69"/>
                      <a:gd name="T20" fmla="*/ 13 w 75"/>
                      <a:gd name="T21" fmla="*/ 23 h 69"/>
                      <a:gd name="T22" fmla="*/ 18 w 75"/>
                      <a:gd name="T23" fmla="*/ 27 h 69"/>
                      <a:gd name="T24" fmla="*/ 1 w 75"/>
                      <a:gd name="T25" fmla="*/ 51 h 69"/>
                      <a:gd name="T26" fmla="*/ 1 w 75"/>
                      <a:gd name="T27" fmla="*/ 52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75" h="69">
                        <a:moveTo>
                          <a:pt x="1" y="52"/>
                        </a:moveTo>
                        <a:cubicBezTo>
                          <a:pt x="7" y="56"/>
                          <a:pt x="19" y="63"/>
                          <a:pt x="25" y="65"/>
                        </a:cubicBezTo>
                        <a:cubicBezTo>
                          <a:pt x="33" y="69"/>
                          <a:pt x="39" y="62"/>
                          <a:pt x="39" y="62"/>
                        </a:cubicBezTo>
                        <a:cubicBezTo>
                          <a:pt x="52" y="51"/>
                          <a:pt x="52" y="51"/>
                          <a:pt x="52" y="51"/>
                        </a:cubicBezTo>
                        <a:cubicBezTo>
                          <a:pt x="52" y="51"/>
                          <a:pt x="56" y="51"/>
                          <a:pt x="60" y="50"/>
                        </a:cubicBezTo>
                        <a:cubicBezTo>
                          <a:pt x="62" y="49"/>
                          <a:pt x="66" y="45"/>
                          <a:pt x="62" y="39"/>
                        </a:cubicBezTo>
                        <a:cubicBezTo>
                          <a:pt x="54" y="30"/>
                          <a:pt x="75" y="12"/>
                          <a:pt x="75" y="12"/>
                        </a:cubicBezTo>
                        <a:cubicBezTo>
                          <a:pt x="65" y="1"/>
                          <a:pt x="65" y="1"/>
                          <a:pt x="65" y="1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12" y="20"/>
                          <a:pt x="12" y="20"/>
                          <a:pt x="12" y="20"/>
                        </a:cubicBezTo>
                        <a:cubicBezTo>
                          <a:pt x="12" y="20"/>
                          <a:pt x="11" y="22"/>
                          <a:pt x="13" y="23"/>
                        </a:cubicBezTo>
                        <a:cubicBezTo>
                          <a:pt x="15" y="25"/>
                          <a:pt x="18" y="27"/>
                          <a:pt x="18" y="27"/>
                        </a:cubicBezTo>
                        <a:cubicBezTo>
                          <a:pt x="18" y="27"/>
                          <a:pt x="2" y="50"/>
                          <a:pt x="1" y="51"/>
                        </a:cubicBezTo>
                        <a:cubicBezTo>
                          <a:pt x="0" y="52"/>
                          <a:pt x="1" y="52"/>
                          <a:pt x="1" y="52"/>
                        </a:cubicBezTo>
                        <a:close/>
                      </a:path>
                    </a:pathLst>
                  </a:custGeom>
                  <a:solidFill>
                    <a:srgbClr val="E9F6F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" name="Freeform 246">
                    <a:extLst>
                      <a:ext uri="{FF2B5EF4-FFF2-40B4-BE49-F238E27FC236}">
                        <a16:creationId xmlns:a16="http://schemas.microsoft.com/office/drawing/2014/main" id="{03299ED0-6FDD-C26F-7139-391D23E7FAD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6263" y="563563"/>
                    <a:ext cx="19050" cy="22225"/>
                  </a:xfrm>
                  <a:custGeom>
                    <a:avLst/>
                    <a:gdLst>
                      <a:gd name="T0" fmla="*/ 1 w 10"/>
                      <a:gd name="T1" fmla="*/ 4 h 12"/>
                      <a:gd name="T2" fmla="*/ 2 w 10"/>
                      <a:gd name="T3" fmla="*/ 7 h 12"/>
                      <a:gd name="T4" fmla="*/ 9 w 10"/>
                      <a:gd name="T5" fmla="*/ 11 h 12"/>
                      <a:gd name="T6" fmla="*/ 4 w 10"/>
                      <a:gd name="T7" fmla="*/ 2 h 12"/>
                      <a:gd name="T8" fmla="*/ 1 w 10"/>
                      <a:gd name="T9" fmla="*/ 4 h 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" h="12">
                        <a:moveTo>
                          <a:pt x="1" y="4"/>
                        </a:moveTo>
                        <a:cubicBezTo>
                          <a:pt x="0" y="6"/>
                          <a:pt x="1" y="6"/>
                          <a:pt x="2" y="7"/>
                        </a:cubicBezTo>
                        <a:cubicBezTo>
                          <a:pt x="4" y="8"/>
                          <a:pt x="10" y="12"/>
                          <a:pt x="9" y="11"/>
                        </a:cubicBezTo>
                        <a:cubicBezTo>
                          <a:pt x="9" y="10"/>
                          <a:pt x="7" y="7"/>
                          <a:pt x="4" y="2"/>
                        </a:cubicBezTo>
                        <a:cubicBezTo>
                          <a:pt x="3" y="0"/>
                          <a:pt x="2" y="2"/>
                          <a:pt x="1" y="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7" name="Freeform 247">
                    <a:extLst>
                      <a:ext uri="{FF2B5EF4-FFF2-40B4-BE49-F238E27FC236}">
                        <a16:creationId xmlns:a16="http://schemas.microsoft.com/office/drawing/2014/main" id="{623DF98E-2150-DFAF-8B77-344A4629FBD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514350"/>
                    <a:ext cx="103188" cy="147638"/>
                  </a:xfrm>
                  <a:custGeom>
                    <a:avLst/>
                    <a:gdLst>
                      <a:gd name="T0" fmla="*/ 56 w 56"/>
                      <a:gd name="T1" fmla="*/ 44 h 79"/>
                      <a:gd name="T2" fmla="*/ 15 w 56"/>
                      <a:gd name="T3" fmla="*/ 6 h 79"/>
                      <a:gd name="T4" fmla="*/ 12 w 56"/>
                      <a:gd name="T5" fmla="*/ 14 h 79"/>
                      <a:gd name="T6" fmla="*/ 26 w 56"/>
                      <a:gd name="T7" fmla="*/ 30 h 79"/>
                      <a:gd name="T8" fmla="*/ 8 w 56"/>
                      <a:gd name="T9" fmla="*/ 55 h 79"/>
                      <a:gd name="T10" fmla="*/ 25 w 56"/>
                      <a:gd name="T11" fmla="*/ 55 h 79"/>
                      <a:gd name="T12" fmla="*/ 34 w 56"/>
                      <a:gd name="T13" fmla="*/ 79 h 79"/>
                      <a:gd name="T14" fmla="*/ 56 w 56"/>
                      <a:gd name="T15" fmla="*/ 44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6" h="79">
                        <a:moveTo>
                          <a:pt x="56" y="44"/>
                        </a:moveTo>
                        <a:cubicBezTo>
                          <a:pt x="35" y="8"/>
                          <a:pt x="23" y="0"/>
                          <a:pt x="15" y="6"/>
                        </a:cubicBezTo>
                        <a:cubicBezTo>
                          <a:pt x="13" y="7"/>
                          <a:pt x="11" y="11"/>
                          <a:pt x="12" y="14"/>
                        </a:cubicBezTo>
                        <a:cubicBezTo>
                          <a:pt x="23" y="19"/>
                          <a:pt x="33" y="25"/>
                          <a:pt x="26" y="30"/>
                        </a:cubicBezTo>
                        <a:cubicBezTo>
                          <a:pt x="24" y="32"/>
                          <a:pt x="0" y="50"/>
                          <a:pt x="8" y="55"/>
                        </a:cubicBezTo>
                        <a:cubicBezTo>
                          <a:pt x="12" y="53"/>
                          <a:pt x="21" y="48"/>
                          <a:pt x="25" y="55"/>
                        </a:cubicBezTo>
                        <a:cubicBezTo>
                          <a:pt x="28" y="60"/>
                          <a:pt x="19" y="66"/>
                          <a:pt x="34" y="79"/>
                        </a:cubicBezTo>
                        <a:cubicBezTo>
                          <a:pt x="43" y="66"/>
                          <a:pt x="55" y="51"/>
                          <a:pt x="56" y="4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8" name="Freeform 248">
                    <a:extLst>
                      <a:ext uri="{FF2B5EF4-FFF2-40B4-BE49-F238E27FC236}">
                        <a16:creationId xmlns:a16="http://schemas.microsoft.com/office/drawing/2014/main" id="{330DE3A5-60BB-0ED9-89D4-B3565EE0942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87038" y="1652588"/>
                    <a:ext cx="85725" cy="28575"/>
                  </a:xfrm>
                  <a:custGeom>
                    <a:avLst/>
                    <a:gdLst>
                      <a:gd name="T0" fmla="*/ 46 w 46"/>
                      <a:gd name="T1" fmla="*/ 0 h 16"/>
                      <a:gd name="T2" fmla="*/ 46 w 46"/>
                      <a:gd name="T3" fmla="*/ 15 h 16"/>
                      <a:gd name="T4" fmla="*/ 33 w 46"/>
                      <a:gd name="T5" fmla="*/ 15 h 16"/>
                      <a:gd name="T6" fmla="*/ 32 w 46"/>
                      <a:gd name="T7" fmla="*/ 10 h 16"/>
                      <a:gd name="T8" fmla="*/ 14 w 46"/>
                      <a:gd name="T9" fmla="*/ 16 h 16"/>
                      <a:gd name="T10" fmla="*/ 2 w 46"/>
                      <a:gd name="T11" fmla="*/ 15 h 16"/>
                      <a:gd name="T12" fmla="*/ 3 w 46"/>
                      <a:gd name="T13" fmla="*/ 11 h 16"/>
                      <a:gd name="T14" fmla="*/ 15 w 46"/>
                      <a:gd name="T15" fmla="*/ 7 h 16"/>
                      <a:gd name="T16" fmla="*/ 28 w 46"/>
                      <a:gd name="T17" fmla="*/ 0 h 16"/>
                      <a:gd name="T18" fmla="*/ 46 w 46"/>
                      <a:gd name="T19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6" h="16">
                        <a:moveTo>
                          <a:pt x="46" y="0"/>
                        </a:moveTo>
                        <a:cubicBezTo>
                          <a:pt x="46" y="15"/>
                          <a:pt x="46" y="15"/>
                          <a:pt x="46" y="15"/>
                        </a:cubicBezTo>
                        <a:cubicBezTo>
                          <a:pt x="33" y="15"/>
                          <a:pt x="33" y="15"/>
                          <a:pt x="33" y="15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14" y="16"/>
                          <a:pt x="14" y="16"/>
                          <a:pt x="14" y="16"/>
                        </a:cubicBezTo>
                        <a:cubicBezTo>
                          <a:pt x="2" y="15"/>
                          <a:pt x="2" y="15"/>
                          <a:pt x="2" y="15"/>
                        </a:cubicBezTo>
                        <a:cubicBezTo>
                          <a:pt x="2" y="15"/>
                          <a:pt x="0" y="12"/>
                          <a:pt x="3" y="11"/>
                        </a:cubicBezTo>
                        <a:cubicBezTo>
                          <a:pt x="4" y="11"/>
                          <a:pt x="15" y="7"/>
                          <a:pt x="15" y="7"/>
                        </a:cubicBezTo>
                        <a:cubicBezTo>
                          <a:pt x="28" y="0"/>
                          <a:pt x="28" y="0"/>
                          <a:pt x="28" y="0"/>
                        </a:cubicBez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9" name="Freeform 249">
                    <a:extLst>
                      <a:ext uri="{FF2B5EF4-FFF2-40B4-BE49-F238E27FC236}">
                        <a16:creationId xmlns:a16="http://schemas.microsoft.com/office/drawing/2014/main" id="{4E76C4E5-4463-88C1-B522-C52CE1B945A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31488" y="1119188"/>
                    <a:ext cx="693738" cy="533400"/>
                  </a:xfrm>
                  <a:custGeom>
                    <a:avLst/>
                    <a:gdLst>
                      <a:gd name="T0" fmla="*/ 0 w 374"/>
                      <a:gd name="T1" fmla="*/ 285 h 288"/>
                      <a:gd name="T2" fmla="*/ 1 w 374"/>
                      <a:gd name="T3" fmla="*/ 52 h 288"/>
                      <a:gd name="T4" fmla="*/ 50 w 374"/>
                      <a:gd name="T5" fmla="*/ 0 h 288"/>
                      <a:gd name="T6" fmla="*/ 330 w 374"/>
                      <a:gd name="T7" fmla="*/ 1 h 288"/>
                      <a:gd name="T8" fmla="*/ 207 w 374"/>
                      <a:gd name="T9" fmla="*/ 81 h 288"/>
                      <a:gd name="T10" fmla="*/ 56 w 374"/>
                      <a:gd name="T11" fmla="*/ 59 h 288"/>
                      <a:gd name="T12" fmla="*/ 22 w 374"/>
                      <a:gd name="T13" fmla="*/ 288 h 288"/>
                      <a:gd name="T14" fmla="*/ 0 w 374"/>
                      <a:gd name="T15" fmla="*/ 285 h 2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74" h="288">
                        <a:moveTo>
                          <a:pt x="0" y="285"/>
                        </a:moveTo>
                        <a:cubicBezTo>
                          <a:pt x="1" y="52"/>
                          <a:pt x="1" y="52"/>
                          <a:pt x="1" y="52"/>
                        </a:cubicBezTo>
                        <a:cubicBezTo>
                          <a:pt x="0" y="11"/>
                          <a:pt x="39" y="0"/>
                          <a:pt x="50" y="0"/>
                        </a:cubicBezTo>
                        <a:cubicBezTo>
                          <a:pt x="61" y="0"/>
                          <a:pt x="330" y="1"/>
                          <a:pt x="330" y="1"/>
                        </a:cubicBezTo>
                        <a:cubicBezTo>
                          <a:pt x="330" y="1"/>
                          <a:pt x="374" y="98"/>
                          <a:pt x="207" y="81"/>
                        </a:cubicBezTo>
                        <a:cubicBezTo>
                          <a:pt x="166" y="77"/>
                          <a:pt x="165" y="71"/>
                          <a:pt x="56" y="59"/>
                        </a:cubicBezTo>
                        <a:cubicBezTo>
                          <a:pt x="72" y="103"/>
                          <a:pt x="22" y="288"/>
                          <a:pt x="22" y="288"/>
                        </a:cubicBezTo>
                        <a:lnTo>
                          <a:pt x="0" y="28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0" name="Freeform 250">
                    <a:extLst>
                      <a:ext uri="{FF2B5EF4-FFF2-40B4-BE49-F238E27FC236}">
                        <a16:creationId xmlns:a16="http://schemas.microsoft.com/office/drawing/2014/main" id="{B1BBE021-A95A-24F8-65B5-1897C80CD6D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668338"/>
                    <a:ext cx="65088" cy="76200"/>
                  </a:xfrm>
                  <a:custGeom>
                    <a:avLst/>
                    <a:gdLst>
                      <a:gd name="T0" fmla="*/ 33 w 35"/>
                      <a:gd name="T1" fmla="*/ 0 h 41"/>
                      <a:gd name="T2" fmla="*/ 35 w 35"/>
                      <a:gd name="T3" fmla="*/ 1 h 41"/>
                      <a:gd name="T4" fmla="*/ 21 w 35"/>
                      <a:gd name="T5" fmla="*/ 41 h 41"/>
                      <a:gd name="T6" fmla="*/ 0 w 35"/>
                      <a:gd name="T7" fmla="*/ 31 h 41"/>
                      <a:gd name="T8" fmla="*/ 33 w 35"/>
                      <a:gd name="T9" fmla="*/ 0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5" h="41">
                        <a:moveTo>
                          <a:pt x="33" y="0"/>
                        </a:moveTo>
                        <a:cubicBezTo>
                          <a:pt x="35" y="1"/>
                          <a:pt x="35" y="1"/>
                          <a:pt x="35" y="1"/>
                        </a:cubicBezTo>
                        <a:cubicBezTo>
                          <a:pt x="21" y="41"/>
                          <a:pt x="21" y="41"/>
                          <a:pt x="21" y="41"/>
                        </a:cubicBezTo>
                        <a:cubicBezTo>
                          <a:pt x="21" y="41"/>
                          <a:pt x="11" y="41"/>
                          <a:pt x="0" y="31"/>
                        </a:cubicBezTo>
                        <a:cubicBezTo>
                          <a:pt x="28" y="12"/>
                          <a:pt x="33" y="0"/>
                          <a:pt x="33" y="0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1" name="Freeform 251">
                    <a:extLst>
                      <a:ext uri="{FF2B5EF4-FFF2-40B4-BE49-F238E27FC236}">
                        <a16:creationId xmlns:a16="http://schemas.microsoft.com/office/drawing/2014/main" id="{851EDAFC-BCA7-179D-9DAC-5FE8D5E6DAA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8813" y="673100"/>
                    <a:ext cx="574675" cy="481013"/>
                  </a:xfrm>
                  <a:custGeom>
                    <a:avLst/>
                    <a:gdLst>
                      <a:gd name="T0" fmla="*/ 0 w 310"/>
                      <a:gd name="T1" fmla="*/ 0 h 260"/>
                      <a:gd name="T2" fmla="*/ 134 w 310"/>
                      <a:gd name="T3" fmla="*/ 182 h 260"/>
                      <a:gd name="T4" fmla="*/ 274 w 310"/>
                      <a:gd name="T5" fmla="*/ 260 h 260"/>
                      <a:gd name="T6" fmla="*/ 194 w 310"/>
                      <a:gd name="T7" fmla="*/ 161 h 260"/>
                      <a:gd name="T8" fmla="*/ 0 w 310"/>
                      <a:gd name="T9" fmla="*/ 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10" h="260">
                        <a:moveTo>
                          <a:pt x="0" y="0"/>
                        </a:moveTo>
                        <a:cubicBezTo>
                          <a:pt x="0" y="0"/>
                          <a:pt x="14" y="153"/>
                          <a:pt x="134" y="182"/>
                        </a:cubicBezTo>
                        <a:cubicBezTo>
                          <a:pt x="250" y="210"/>
                          <a:pt x="274" y="260"/>
                          <a:pt x="274" y="260"/>
                        </a:cubicBezTo>
                        <a:cubicBezTo>
                          <a:pt x="274" y="260"/>
                          <a:pt x="310" y="203"/>
                          <a:pt x="194" y="161"/>
                        </a:cubicBezTo>
                        <a:cubicBezTo>
                          <a:pt x="77" y="118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2" name="Freeform 252">
                    <a:extLst>
                      <a:ext uri="{FF2B5EF4-FFF2-40B4-BE49-F238E27FC236}">
                        <a16:creationId xmlns:a16="http://schemas.microsoft.com/office/drawing/2014/main" id="{42C0D471-1809-D686-1513-6CE34E1A446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93413" y="666750"/>
                    <a:ext cx="369888" cy="306388"/>
                  </a:xfrm>
                  <a:custGeom>
                    <a:avLst/>
                    <a:gdLst>
                      <a:gd name="T0" fmla="*/ 199 w 199"/>
                      <a:gd name="T1" fmla="*/ 165 h 165"/>
                      <a:gd name="T2" fmla="*/ 108 w 199"/>
                      <a:gd name="T3" fmla="*/ 43 h 165"/>
                      <a:gd name="T4" fmla="*/ 9 w 199"/>
                      <a:gd name="T5" fmla="*/ 0 h 165"/>
                      <a:gd name="T6" fmla="*/ 75 w 199"/>
                      <a:gd name="T7" fmla="*/ 119 h 165"/>
                      <a:gd name="T8" fmla="*/ 199 w 199"/>
                      <a:gd name="T9" fmla="*/ 165 h 1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99" h="165">
                        <a:moveTo>
                          <a:pt x="199" y="165"/>
                        </a:moveTo>
                        <a:cubicBezTo>
                          <a:pt x="199" y="165"/>
                          <a:pt x="134" y="65"/>
                          <a:pt x="108" y="43"/>
                        </a:cubicBezTo>
                        <a:cubicBezTo>
                          <a:pt x="82" y="21"/>
                          <a:pt x="9" y="0"/>
                          <a:pt x="9" y="0"/>
                        </a:cubicBezTo>
                        <a:cubicBezTo>
                          <a:pt x="9" y="0"/>
                          <a:pt x="0" y="87"/>
                          <a:pt x="75" y="119"/>
                        </a:cubicBezTo>
                        <a:cubicBezTo>
                          <a:pt x="150" y="151"/>
                          <a:pt x="199" y="165"/>
                          <a:pt x="199" y="165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3" name="Freeform 253">
                    <a:extLst>
                      <a:ext uri="{FF2B5EF4-FFF2-40B4-BE49-F238E27FC236}">
                        <a16:creationId xmlns:a16="http://schemas.microsoft.com/office/drawing/2014/main" id="{1389CB3C-2DB3-BD4B-609D-076E5C42AC7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91763" y="669925"/>
                    <a:ext cx="630238" cy="344488"/>
                  </a:xfrm>
                  <a:custGeom>
                    <a:avLst/>
                    <a:gdLst>
                      <a:gd name="T0" fmla="*/ 337 w 340"/>
                      <a:gd name="T1" fmla="*/ 78 h 186"/>
                      <a:gd name="T2" fmla="*/ 196 w 340"/>
                      <a:gd name="T3" fmla="*/ 184 h 186"/>
                      <a:gd name="T4" fmla="*/ 2 w 340"/>
                      <a:gd name="T5" fmla="*/ 166 h 186"/>
                      <a:gd name="T6" fmla="*/ 0 w 340"/>
                      <a:gd name="T7" fmla="*/ 151 h 186"/>
                      <a:gd name="T8" fmla="*/ 189 w 340"/>
                      <a:gd name="T9" fmla="*/ 144 h 186"/>
                      <a:gd name="T10" fmla="*/ 266 w 340"/>
                      <a:gd name="T11" fmla="*/ 49 h 186"/>
                      <a:gd name="T12" fmla="*/ 337 w 340"/>
                      <a:gd name="T13" fmla="*/ 78 h 1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0" h="186">
                        <a:moveTo>
                          <a:pt x="337" y="78"/>
                        </a:moveTo>
                        <a:cubicBezTo>
                          <a:pt x="301" y="123"/>
                          <a:pt x="230" y="173"/>
                          <a:pt x="196" y="184"/>
                        </a:cubicBezTo>
                        <a:cubicBezTo>
                          <a:pt x="125" y="186"/>
                          <a:pt x="2" y="166"/>
                          <a:pt x="2" y="166"/>
                        </a:cubicBezTo>
                        <a:cubicBezTo>
                          <a:pt x="2" y="166"/>
                          <a:pt x="0" y="159"/>
                          <a:pt x="0" y="151"/>
                        </a:cubicBezTo>
                        <a:cubicBezTo>
                          <a:pt x="52" y="147"/>
                          <a:pt x="159" y="142"/>
                          <a:pt x="189" y="144"/>
                        </a:cubicBezTo>
                        <a:cubicBezTo>
                          <a:pt x="223" y="116"/>
                          <a:pt x="255" y="98"/>
                          <a:pt x="266" y="49"/>
                        </a:cubicBezTo>
                        <a:cubicBezTo>
                          <a:pt x="278" y="0"/>
                          <a:pt x="340" y="16"/>
                          <a:pt x="337" y="78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4" name="Freeform 255">
                    <a:extLst>
                      <a:ext uri="{FF2B5EF4-FFF2-40B4-BE49-F238E27FC236}">
                        <a16:creationId xmlns:a16="http://schemas.microsoft.com/office/drawing/2014/main" id="{C231D577-1D15-4247-73D4-95CA29949443}"/>
                      </a:ext>
                    </a:extLst>
                  </p:cNvPr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10396538" y="666750"/>
                    <a:ext cx="66675" cy="95250"/>
                  </a:xfrm>
                  <a:custGeom>
                    <a:avLst/>
                    <a:gdLst>
                      <a:gd name="T0" fmla="*/ 34 w 36"/>
                      <a:gd name="T1" fmla="*/ 42 h 51"/>
                      <a:gd name="T2" fmla="*/ 30 w 36"/>
                      <a:gd name="T3" fmla="*/ 30 h 51"/>
                      <a:gd name="T4" fmla="*/ 29 w 36"/>
                      <a:gd name="T5" fmla="*/ 20 h 51"/>
                      <a:gd name="T6" fmla="*/ 34 w 36"/>
                      <a:gd name="T7" fmla="*/ 11 h 51"/>
                      <a:gd name="T8" fmla="*/ 30 w 36"/>
                      <a:gd name="T9" fmla="*/ 6 h 51"/>
                      <a:gd name="T10" fmla="*/ 32 w 36"/>
                      <a:gd name="T11" fmla="*/ 1 h 51"/>
                      <a:gd name="T12" fmla="*/ 27 w 36"/>
                      <a:gd name="T13" fmla="*/ 3 h 51"/>
                      <a:gd name="T14" fmla="*/ 19 w 36"/>
                      <a:gd name="T15" fmla="*/ 16 h 51"/>
                      <a:gd name="T16" fmla="*/ 16 w 36"/>
                      <a:gd name="T17" fmla="*/ 31 h 51"/>
                      <a:gd name="T18" fmla="*/ 8 w 36"/>
                      <a:gd name="T19" fmla="*/ 30 h 51"/>
                      <a:gd name="T20" fmla="*/ 0 w 36"/>
                      <a:gd name="T21" fmla="*/ 31 h 51"/>
                      <a:gd name="T22" fmla="*/ 21 w 36"/>
                      <a:gd name="T23" fmla="*/ 46 h 51"/>
                      <a:gd name="T24" fmla="*/ 28 w 36"/>
                      <a:gd name="T25" fmla="*/ 51 h 51"/>
                      <a:gd name="T26" fmla="*/ 36 w 36"/>
                      <a:gd name="T27" fmla="*/ 44 h 51"/>
                      <a:gd name="T28" fmla="*/ 34 w 36"/>
                      <a:gd name="T29" fmla="*/ 42 h 51"/>
                      <a:gd name="T30" fmla="*/ 29 w 36"/>
                      <a:gd name="T31" fmla="*/ 9 h 51"/>
                      <a:gd name="T32" fmla="*/ 31 w 36"/>
                      <a:gd name="T33" fmla="*/ 12 h 51"/>
                      <a:gd name="T34" fmla="*/ 29 w 36"/>
                      <a:gd name="T35" fmla="*/ 14 h 51"/>
                      <a:gd name="T36" fmla="*/ 29 w 36"/>
                      <a:gd name="T37" fmla="*/ 9 h 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36" h="51">
                        <a:moveTo>
                          <a:pt x="34" y="42"/>
                        </a:moveTo>
                        <a:cubicBezTo>
                          <a:pt x="34" y="42"/>
                          <a:pt x="31" y="36"/>
                          <a:pt x="30" y="30"/>
                        </a:cubicBezTo>
                        <a:cubicBezTo>
                          <a:pt x="29" y="25"/>
                          <a:pt x="29" y="20"/>
                          <a:pt x="29" y="20"/>
                        </a:cubicBezTo>
                        <a:cubicBezTo>
                          <a:pt x="29" y="20"/>
                          <a:pt x="36" y="13"/>
                          <a:pt x="34" y="11"/>
                        </a:cubicBezTo>
                        <a:cubicBezTo>
                          <a:pt x="33" y="9"/>
                          <a:pt x="30" y="6"/>
                          <a:pt x="30" y="6"/>
                        </a:cubicBezTo>
                        <a:cubicBezTo>
                          <a:pt x="30" y="6"/>
                          <a:pt x="33" y="1"/>
                          <a:pt x="32" y="1"/>
                        </a:cubicBezTo>
                        <a:cubicBezTo>
                          <a:pt x="32" y="1"/>
                          <a:pt x="29" y="0"/>
                          <a:pt x="27" y="3"/>
                        </a:cubicBezTo>
                        <a:cubicBezTo>
                          <a:pt x="26" y="4"/>
                          <a:pt x="21" y="12"/>
                          <a:pt x="19" y="16"/>
                        </a:cubicBezTo>
                        <a:cubicBezTo>
                          <a:pt x="17" y="20"/>
                          <a:pt x="16" y="31"/>
                          <a:pt x="16" y="31"/>
                        </a:cubicBezTo>
                        <a:cubicBezTo>
                          <a:pt x="16" y="31"/>
                          <a:pt x="11" y="32"/>
                          <a:pt x="8" y="30"/>
                        </a:cubicBezTo>
                        <a:cubicBezTo>
                          <a:pt x="5" y="28"/>
                          <a:pt x="0" y="31"/>
                          <a:pt x="0" y="31"/>
                        </a:cubicBezTo>
                        <a:cubicBezTo>
                          <a:pt x="0" y="31"/>
                          <a:pt x="8" y="35"/>
                          <a:pt x="21" y="46"/>
                        </a:cubicBezTo>
                        <a:cubicBezTo>
                          <a:pt x="23" y="48"/>
                          <a:pt x="28" y="51"/>
                          <a:pt x="28" y="51"/>
                        </a:cubicBezTo>
                        <a:cubicBezTo>
                          <a:pt x="36" y="44"/>
                          <a:pt x="36" y="44"/>
                          <a:pt x="36" y="44"/>
                        </a:cubicBezTo>
                        <a:lnTo>
                          <a:pt x="34" y="42"/>
                        </a:lnTo>
                        <a:close/>
                        <a:moveTo>
                          <a:pt x="29" y="9"/>
                        </a:moveTo>
                        <a:cubicBezTo>
                          <a:pt x="31" y="12"/>
                          <a:pt x="31" y="12"/>
                          <a:pt x="31" y="12"/>
                        </a:cubicBezTo>
                        <a:cubicBezTo>
                          <a:pt x="29" y="14"/>
                          <a:pt x="29" y="14"/>
                          <a:pt x="29" y="14"/>
                        </a:cubicBezTo>
                        <a:lnTo>
                          <a:pt x="29" y="9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0" name="Group 4">
                <a:extLst>
                  <a:ext uri="{FF2B5EF4-FFF2-40B4-BE49-F238E27FC236}">
                    <a16:creationId xmlns:a16="http://schemas.microsoft.com/office/drawing/2014/main" id="{C601BC53-93B6-B69A-3632-07168388634D}"/>
                  </a:ext>
                </a:extLst>
              </p:cNvPr>
              <p:cNvGrpSpPr/>
              <p:nvPr/>
            </p:nvGrpSpPr>
            <p:grpSpPr>
              <a:xfrm>
                <a:off x="2494061" y="3997897"/>
                <a:ext cx="1127759" cy="1089959"/>
                <a:chOff x="2494061" y="3997897"/>
                <a:chExt cx="1127759" cy="1089959"/>
              </a:xfrm>
            </p:grpSpPr>
            <p:grpSp>
              <p:nvGrpSpPr>
                <p:cNvPr id="53" name="Group 1068">
                  <a:extLst>
                    <a:ext uri="{FF2B5EF4-FFF2-40B4-BE49-F238E27FC236}">
                      <a16:creationId xmlns:a16="http://schemas.microsoft.com/office/drawing/2014/main" id="{88714A67-0311-5139-CFD4-FAE90DFEDF76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2494061" y="3997897"/>
                  <a:ext cx="1127759" cy="815248"/>
                  <a:chOff x="10001250" y="2782888"/>
                  <a:chExt cx="1449388" cy="1047750"/>
                </a:xfrm>
              </p:grpSpPr>
              <p:sp>
                <p:nvSpPr>
                  <p:cNvPr id="55" name="Freeform 217">
                    <a:extLst>
                      <a:ext uri="{FF2B5EF4-FFF2-40B4-BE49-F238E27FC236}">
                        <a16:creationId xmlns:a16="http://schemas.microsoft.com/office/drawing/2014/main" id="{844EB31C-A466-6CDB-7A78-692AE4DFE88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5425" y="3303588"/>
                    <a:ext cx="728663" cy="525463"/>
                  </a:xfrm>
                  <a:custGeom>
                    <a:avLst/>
                    <a:gdLst>
                      <a:gd name="T0" fmla="*/ 3 w 393"/>
                      <a:gd name="T1" fmla="*/ 279 h 283"/>
                      <a:gd name="T2" fmla="*/ 12 w 393"/>
                      <a:gd name="T3" fmla="*/ 275 h 283"/>
                      <a:gd name="T4" fmla="*/ 25 w 393"/>
                      <a:gd name="T5" fmla="*/ 258 h 283"/>
                      <a:gd name="T6" fmla="*/ 22 w 393"/>
                      <a:gd name="T7" fmla="*/ 42 h 283"/>
                      <a:gd name="T8" fmla="*/ 22 w 393"/>
                      <a:gd name="T9" fmla="*/ 42 h 283"/>
                      <a:gd name="T10" fmla="*/ 61 w 393"/>
                      <a:gd name="T11" fmla="*/ 0 h 283"/>
                      <a:gd name="T12" fmla="*/ 319 w 393"/>
                      <a:gd name="T13" fmla="*/ 3 h 283"/>
                      <a:gd name="T14" fmla="*/ 236 w 393"/>
                      <a:gd name="T15" fmla="*/ 79 h 283"/>
                      <a:gd name="T16" fmla="*/ 65 w 393"/>
                      <a:gd name="T17" fmla="*/ 46 h 283"/>
                      <a:gd name="T18" fmla="*/ 37 w 393"/>
                      <a:gd name="T19" fmla="*/ 259 h 283"/>
                      <a:gd name="T20" fmla="*/ 37 w 393"/>
                      <a:gd name="T21" fmla="*/ 267 h 283"/>
                      <a:gd name="T22" fmla="*/ 34 w 393"/>
                      <a:gd name="T23" fmla="*/ 283 h 283"/>
                      <a:gd name="T24" fmla="*/ 29 w 393"/>
                      <a:gd name="T25" fmla="*/ 283 h 283"/>
                      <a:gd name="T26" fmla="*/ 28 w 393"/>
                      <a:gd name="T27" fmla="*/ 274 h 283"/>
                      <a:gd name="T28" fmla="*/ 15 w 393"/>
                      <a:gd name="T29" fmla="*/ 283 h 283"/>
                      <a:gd name="T30" fmla="*/ 2 w 393"/>
                      <a:gd name="T31" fmla="*/ 283 h 283"/>
                      <a:gd name="T32" fmla="*/ 3 w 393"/>
                      <a:gd name="T33" fmla="*/ 279 h 2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93" h="283">
                        <a:moveTo>
                          <a:pt x="3" y="279"/>
                        </a:moveTo>
                        <a:cubicBezTo>
                          <a:pt x="4" y="279"/>
                          <a:pt x="12" y="275"/>
                          <a:pt x="12" y="275"/>
                        </a:cubicBezTo>
                        <a:cubicBezTo>
                          <a:pt x="25" y="258"/>
                          <a:pt x="25" y="258"/>
                          <a:pt x="25" y="258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0" y="5"/>
                          <a:pt x="61" y="0"/>
                          <a:pt x="61" y="0"/>
                        </a:cubicBezTo>
                        <a:cubicBezTo>
                          <a:pt x="319" y="3"/>
                          <a:pt x="319" y="3"/>
                          <a:pt x="319" y="3"/>
                        </a:cubicBezTo>
                        <a:cubicBezTo>
                          <a:pt x="319" y="3"/>
                          <a:pt x="393" y="97"/>
                          <a:pt x="236" y="79"/>
                        </a:cubicBezTo>
                        <a:cubicBezTo>
                          <a:pt x="197" y="74"/>
                          <a:pt x="167" y="59"/>
                          <a:pt x="65" y="46"/>
                        </a:cubicBezTo>
                        <a:cubicBezTo>
                          <a:pt x="79" y="87"/>
                          <a:pt x="37" y="259"/>
                          <a:pt x="37" y="259"/>
                        </a:cubicBezTo>
                        <a:cubicBezTo>
                          <a:pt x="37" y="267"/>
                          <a:pt x="37" y="267"/>
                          <a:pt x="37" y="267"/>
                        </a:cubicBezTo>
                        <a:cubicBezTo>
                          <a:pt x="34" y="283"/>
                          <a:pt x="34" y="283"/>
                          <a:pt x="34" y="283"/>
                        </a:cubicBezTo>
                        <a:cubicBezTo>
                          <a:pt x="29" y="283"/>
                          <a:pt x="29" y="283"/>
                          <a:pt x="29" y="283"/>
                        </a:cubicBezTo>
                        <a:cubicBezTo>
                          <a:pt x="28" y="274"/>
                          <a:pt x="28" y="274"/>
                          <a:pt x="28" y="274"/>
                        </a:cubicBezTo>
                        <a:cubicBezTo>
                          <a:pt x="15" y="283"/>
                          <a:pt x="15" y="283"/>
                          <a:pt x="15" y="283"/>
                        </a:cubicBezTo>
                        <a:cubicBezTo>
                          <a:pt x="2" y="283"/>
                          <a:pt x="2" y="283"/>
                          <a:pt x="2" y="283"/>
                        </a:cubicBezTo>
                        <a:cubicBezTo>
                          <a:pt x="2" y="283"/>
                          <a:pt x="0" y="280"/>
                          <a:pt x="3" y="27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" name="Freeform 218">
                    <a:extLst>
                      <a:ext uri="{FF2B5EF4-FFF2-40B4-BE49-F238E27FC236}">
                        <a16:creationId xmlns:a16="http://schemas.microsoft.com/office/drawing/2014/main" id="{322D4BFD-21EE-CE5D-2A24-6D94770BF43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3838" y="3784600"/>
                    <a:ext cx="71438" cy="46038"/>
                  </a:xfrm>
                  <a:custGeom>
                    <a:avLst/>
                    <a:gdLst>
                      <a:gd name="T0" fmla="*/ 13 w 38"/>
                      <a:gd name="T1" fmla="*/ 16 h 25"/>
                      <a:gd name="T2" fmla="*/ 3 w 38"/>
                      <a:gd name="T3" fmla="*/ 20 h 25"/>
                      <a:gd name="T4" fmla="*/ 2 w 38"/>
                      <a:gd name="T5" fmla="*/ 24 h 25"/>
                      <a:gd name="T6" fmla="*/ 18 w 38"/>
                      <a:gd name="T7" fmla="*/ 24 h 25"/>
                      <a:gd name="T8" fmla="*/ 29 w 38"/>
                      <a:gd name="T9" fmla="*/ 15 h 25"/>
                      <a:gd name="T10" fmla="*/ 30 w 38"/>
                      <a:gd name="T11" fmla="*/ 25 h 25"/>
                      <a:gd name="T12" fmla="*/ 35 w 38"/>
                      <a:gd name="T13" fmla="*/ 25 h 25"/>
                      <a:gd name="T14" fmla="*/ 38 w 38"/>
                      <a:gd name="T15" fmla="*/ 8 h 25"/>
                      <a:gd name="T16" fmla="*/ 38 w 38"/>
                      <a:gd name="T17" fmla="*/ 0 h 25"/>
                      <a:gd name="T18" fmla="*/ 28 w 38"/>
                      <a:gd name="T19" fmla="*/ 8 h 25"/>
                      <a:gd name="T20" fmla="*/ 13 w 38"/>
                      <a:gd name="T21" fmla="*/ 16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8" h="25">
                        <a:moveTo>
                          <a:pt x="13" y="16"/>
                        </a:moveTo>
                        <a:cubicBezTo>
                          <a:pt x="11" y="17"/>
                          <a:pt x="4" y="20"/>
                          <a:pt x="3" y="20"/>
                        </a:cubicBezTo>
                        <a:cubicBezTo>
                          <a:pt x="0" y="21"/>
                          <a:pt x="2" y="24"/>
                          <a:pt x="2" y="24"/>
                        </a:cubicBezTo>
                        <a:cubicBezTo>
                          <a:pt x="2" y="24"/>
                          <a:pt x="15" y="24"/>
                          <a:pt x="18" y="24"/>
                        </a:cubicBezTo>
                        <a:cubicBezTo>
                          <a:pt x="21" y="24"/>
                          <a:pt x="29" y="15"/>
                          <a:pt x="29" y="15"/>
                        </a:cubicBezTo>
                        <a:cubicBezTo>
                          <a:pt x="30" y="25"/>
                          <a:pt x="30" y="25"/>
                          <a:pt x="30" y="25"/>
                        </a:cubicBezTo>
                        <a:cubicBezTo>
                          <a:pt x="35" y="25"/>
                          <a:pt x="35" y="25"/>
                          <a:pt x="35" y="25"/>
                        </a:cubicBezTo>
                        <a:cubicBezTo>
                          <a:pt x="35" y="25"/>
                          <a:pt x="36" y="15"/>
                          <a:pt x="38" y="8"/>
                        </a:cubicBezTo>
                        <a:cubicBezTo>
                          <a:pt x="38" y="4"/>
                          <a:pt x="38" y="0"/>
                          <a:pt x="38" y="0"/>
                        </a:cubicBezTo>
                        <a:cubicBezTo>
                          <a:pt x="38" y="0"/>
                          <a:pt x="35" y="0"/>
                          <a:pt x="28" y="8"/>
                        </a:cubicBezTo>
                        <a:cubicBezTo>
                          <a:pt x="22" y="17"/>
                          <a:pt x="16" y="16"/>
                          <a:pt x="13" y="16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" name="Freeform 219">
                    <a:extLst>
                      <a:ext uri="{FF2B5EF4-FFF2-40B4-BE49-F238E27FC236}">
                        <a16:creationId xmlns:a16="http://schemas.microsoft.com/office/drawing/2014/main" id="{FAC71E3D-823B-265E-5025-543FFCA45E0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58488" y="3311525"/>
                    <a:ext cx="692150" cy="390525"/>
                  </a:xfrm>
                  <a:custGeom>
                    <a:avLst/>
                    <a:gdLst>
                      <a:gd name="T0" fmla="*/ 371 w 373"/>
                      <a:gd name="T1" fmla="*/ 182 h 211"/>
                      <a:gd name="T2" fmla="*/ 360 w 373"/>
                      <a:gd name="T3" fmla="*/ 170 h 211"/>
                      <a:gd name="T4" fmla="*/ 370 w 373"/>
                      <a:gd name="T5" fmla="*/ 168 h 211"/>
                      <a:gd name="T6" fmla="*/ 369 w 373"/>
                      <a:gd name="T7" fmla="*/ 164 h 211"/>
                      <a:gd name="T8" fmla="*/ 353 w 373"/>
                      <a:gd name="T9" fmla="*/ 163 h 211"/>
                      <a:gd name="T10" fmla="*/ 345 w 373"/>
                      <a:gd name="T11" fmla="*/ 164 h 211"/>
                      <a:gd name="T12" fmla="*/ 142 w 373"/>
                      <a:gd name="T13" fmla="*/ 172 h 211"/>
                      <a:gd name="T14" fmla="*/ 115 w 373"/>
                      <a:gd name="T15" fmla="*/ 25 h 211"/>
                      <a:gd name="T16" fmla="*/ 0 w 373"/>
                      <a:gd name="T17" fmla="*/ 15 h 211"/>
                      <a:gd name="T18" fmla="*/ 107 w 373"/>
                      <a:gd name="T19" fmla="*/ 191 h 211"/>
                      <a:gd name="T20" fmla="*/ 142 w 373"/>
                      <a:gd name="T21" fmla="*/ 211 h 211"/>
                      <a:gd name="T22" fmla="*/ 211 w 373"/>
                      <a:gd name="T23" fmla="*/ 198 h 211"/>
                      <a:gd name="T24" fmla="*/ 346 w 373"/>
                      <a:gd name="T25" fmla="*/ 176 h 211"/>
                      <a:gd name="T26" fmla="*/ 363 w 373"/>
                      <a:gd name="T27" fmla="*/ 186 h 211"/>
                      <a:gd name="T28" fmla="*/ 369 w 373"/>
                      <a:gd name="T29" fmla="*/ 195 h 211"/>
                      <a:gd name="T30" fmla="*/ 373 w 373"/>
                      <a:gd name="T31" fmla="*/ 196 h 211"/>
                      <a:gd name="T32" fmla="*/ 371 w 373"/>
                      <a:gd name="T33" fmla="*/ 182 h 2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73" h="211">
                        <a:moveTo>
                          <a:pt x="371" y="182"/>
                        </a:moveTo>
                        <a:cubicBezTo>
                          <a:pt x="360" y="170"/>
                          <a:pt x="360" y="170"/>
                          <a:pt x="360" y="170"/>
                        </a:cubicBezTo>
                        <a:cubicBezTo>
                          <a:pt x="370" y="168"/>
                          <a:pt x="370" y="168"/>
                          <a:pt x="370" y="168"/>
                        </a:cubicBezTo>
                        <a:cubicBezTo>
                          <a:pt x="369" y="164"/>
                          <a:pt x="369" y="164"/>
                          <a:pt x="369" y="164"/>
                        </a:cubicBezTo>
                        <a:cubicBezTo>
                          <a:pt x="353" y="163"/>
                          <a:pt x="353" y="163"/>
                          <a:pt x="353" y="163"/>
                        </a:cubicBezTo>
                        <a:cubicBezTo>
                          <a:pt x="353" y="163"/>
                          <a:pt x="348" y="164"/>
                          <a:pt x="345" y="164"/>
                        </a:cubicBezTo>
                        <a:cubicBezTo>
                          <a:pt x="274" y="167"/>
                          <a:pt x="157" y="159"/>
                          <a:pt x="142" y="172"/>
                        </a:cubicBezTo>
                        <a:cubicBezTo>
                          <a:pt x="140" y="136"/>
                          <a:pt x="136" y="58"/>
                          <a:pt x="115" y="25"/>
                        </a:cubicBezTo>
                        <a:cubicBezTo>
                          <a:pt x="100" y="0"/>
                          <a:pt x="0" y="15"/>
                          <a:pt x="0" y="15"/>
                        </a:cubicBezTo>
                        <a:cubicBezTo>
                          <a:pt x="0" y="15"/>
                          <a:pt x="102" y="185"/>
                          <a:pt x="107" y="191"/>
                        </a:cubicBezTo>
                        <a:cubicBezTo>
                          <a:pt x="121" y="210"/>
                          <a:pt x="142" y="211"/>
                          <a:pt x="142" y="211"/>
                        </a:cubicBezTo>
                        <a:cubicBezTo>
                          <a:pt x="211" y="198"/>
                          <a:pt x="211" y="198"/>
                          <a:pt x="211" y="198"/>
                        </a:cubicBezTo>
                        <a:cubicBezTo>
                          <a:pt x="346" y="176"/>
                          <a:pt x="346" y="176"/>
                          <a:pt x="346" y="176"/>
                        </a:cubicBezTo>
                        <a:cubicBezTo>
                          <a:pt x="363" y="186"/>
                          <a:pt x="363" y="186"/>
                          <a:pt x="363" y="186"/>
                        </a:cubicBezTo>
                        <a:cubicBezTo>
                          <a:pt x="363" y="186"/>
                          <a:pt x="369" y="194"/>
                          <a:pt x="369" y="195"/>
                        </a:cubicBezTo>
                        <a:cubicBezTo>
                          <a:pt x="370" y="198"/>
                          <a:pt x="373" y="196"/>
                          <a:pt x="373" y="196"/>
                        </a:cubicBezTo>
                        <a:lnTo>
                          <a:pt x="371" y="182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" name="Freeform 221">
                    <a:extLst>
                      <a:ext uri="{FF2B5EF4-FFF2-40B4-BE49-F238E27FC236}">
                        <a16:creationId xmlns:a16="http://schemas.microsoft.com/office/drawing/2014/main" id="{A0C17001-408C-C090-08D2-DBA0CD19B6C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61600" y="2940050"/>
                    <a:ext cx="304800" cy="269875"/>
                  </a:xfrm>
                  <a:custGeom>
                    <a:avLst/>
                    <a:gdLst>
                      <a:gd name="T0" fmla="*/ 0 w 164"/>
                      <a:gd name="T1" fmla="*/ 113 h 146"/>
                      <a:gd name="T2" fmla="*/ 37 w 164"/>
                      <a:gd name="T3" fmla="*/ 114 h 146"/>
                      <a:gd name="T4" fmla="*/ 66 w 164"/>
                      <a:gd name="T5" fmla="*/ 77 h 146"/>
                      <a:gd name="T6" fmla="*/ 97 w 164"/>
                      <a:gd name="T7" fmla="*/ 41 h 146"/>
                      <a:gd name="T8" fmla="*/ 164 w 164"/>
                      <a:gd name="T9" fmla="*/ 11 h 146"/>
                      <a:gd name="T10" fmla="*/ 133 w 164"/>
                      <a:gd name="T11" fmla="*/ 72 h 146"/>
                      <a:gd name="T12" fmla="*/ 67 w 164"/>
                      <a:gd name="T13" fmla="*/ 130 h 146"/>
                      <a:gd name="T14" fmla="*/ 23 w 164"/>
                      <a:gd name="T15" fmla="*/ 141 h 146"/>
                      <a:gd name="T16" fmla="*/ 0 w 164"/>
                      <a:gd name="T17" fmla="*/ 113 h 1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64" h="146">
                        <a:moveTo>
                          <a:pt x="0" y="113"/>
                        </a:moveTo>
                        <a:cubicBezTo>
                          <a:pt x="37" y="114"/>
                          <a:pt x="37" y="114"/>
                          <a:pt x="37" y="114"/>
                        </a:cubicBezTo>
                        <a:cubicBezTo>
                          <a:pt x="37" y="114"/>
                          <a:pt x="47" y="99"/>
                          <a:pt x="66" y="77"/>
                        </a:cubicBezTo>
                        <a:cubicBezTo>
                          <a:pt x="127" y="79"/>
                          <a:pt x="85" y="55"/>
                          <a:pt x="97" y="41"/>
                        </a:cubicBezTo>
                        <a:cubicBezTo>
                          <a:pt x="135" y="0"/>
                          <a:pt x="164" y="11"/>
                          <a:pt x="164" y="11"/>
                        </a:cubicBezTo>
                        <a:cubicBezTo>
                          <a:pt x="133" y="72"/>
                          <a:pt x="133" y="72"/>
                          <a:pt x="133" y="72"/>
                        </a:cubicBezTo>
                        <a:cubicBezTo>
                          <a:pt x="133" y="72"/>
                          <a:pt x="76" y="122"/>
                          <a:pt x="67" y="130"/>
                        </a:cubicBezTo>
                        <a:cubicBezTo>
                          <a:pt x="58" y="137"/>
                          <a:pt x="46" y="146"/>
                          <a:pt x="23" y="141"/>
                        </a:cubicBezTo>
                        <a:cubicBezTo>
                          <a:pt x="19" y="126"/>
                          <a:pt x="0" y="113"/>
                          <a:pt x="0" y="11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" name="Freeform 222">
                    <a:extLst>
                      <a:ext uri="{FF2B5EF4-FFF2-40B4-BE49-F238E27FC236}">
                        <a16:creationId xmlns:a16="http://schemas.microsoft.com/office/drawing/2014/main" id="{C495B1D7-A06B-4B70-E263-B6A6CF3C634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4638" y="2954338"/>
                    <a:ext cx="317500" cy="319088"/>
                  </a:xfrm>
                  <a:custGeom>
                    <a:avLst/>
                    <a:gdLst>
                      <a:gd name="T0" fmla="*/ 171 w 171"/>
                      <a:gd name="T1" fmla="*/ 172 h 172"/>
                      <a:gd name="T2" fmla="*/ 29 w 171"/>
                      <a:gd name="T3" fmla="*/ 97 h 172"/>
                      <a:gd name="T4" fmla="*/ 33 w 171"/>
                      <a:gd name="T5" fmla="*/ 0 h 172"/>
                      <a:gd name="T6" fmla="*/ 171 w 171"/>
                      <a:gd name="T7" fmla="*/ 172 h 1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71" h="172">
                        <a:moveTo>
                          <a:pt x="171" y="172"/>
                        </a:moveTo>
                        <a:cubicBezTo>
                          <a:pt x="171" y="172"/>
                          <a:pt x="57" y="148"/>
                          <a:pt x="29" y="97"/>
                        </a:cubicBezTo>
                        <a:cubicBezTo>
                          <a:pt x="0" y="43"/>
                          <a:pt x="33" y="0"/>
                          <a:pt x="33" y="0"/>
                        </a:cubicBezTo>
                        <a:lnTo>
                          <a:pt x="171" y="17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" name="Freeform 223">
                    <a:extLst>
                      <a:ext uri="{FF2B5EF4-FFF2-40B4-BE49-F238E27FC236}">
                        <a16:creationId xmlns:a16="http://schemas.microsoft.com/office/drawing/2014/main" id="{7295ADC2-6B7C-EFB5-4172-7EB8E84BA75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67975" y="2906713"/>
                    <a:ext cx="520700" cy="411163"/>
                  </a:xfrm>
                  <a:custGeom>
                    <a:avLst/>
                    <a:gdLst>
                      <a:gd name="T0" fmla="*/ 153 w 281"/>
                      <a:gd name="T1" fmla="*/ 222 h 222"/>
                      <a:gd name="T2" fmla="*/ 62 w 281"/>
                      <a:gd name="T3" fmla="*/ 147 h 222"/>
                      <a:gd name="T4" fmla="*/ 0 w 281"/>
                      <a:gd name="T5" fmla="*/ 23 h 222"/>
                      <a:gd name="T6" fmla="*/ 31 w 281"/>
                      <a:gd name="T7" fmla="*/ 8 h 222"/>
                      <a:gd name="T8" fmla="*/ 158 w 281"/>
                      <a:gd name="T9" fmla="*/ 64 h 222"/>
                      <a:gd name="T10" fmla="*/ 281 w 281"/>
                      <a:gd name="T11" fmla="*/ 219 h 222"/>
                      <a:gd name="T12" fmla="*/ 153 w 281"/>
                      <a:gd name="T13" fmla="*/ 222 h 2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1" h="222">
                        <a:moveTo>
                          <a:pt x="153" y="222"/>
                        </a:moveTo>
                        <a:cubicBezTo>
                          <a:pt x="153" y="222"/>
                          <a:pt x="136" y="170"/>
                          <a:pt x="62" y="147"/>
                        </a:cubicBezTo>
                        <a:cubicBezTo>
                          <a:pt x="16" y="134"/>
                          <a:pt x="0" y="23"/>
                          <a:pt x="0" y="23"/>
                        </a:cubicBezTo>
                        <a:cubicBezTo>
                          <a:pt x="0" y="23"/>
                          <a:pt x="17" y="10"/>
                          <a:pt x="31" y="8"/>
                        </a:cubicBezTo>
                        <a:cubicBezTo>
                          <a:pt x="64" y="0"/>
                          <a:pt x="115" y="18"/>
                          <a:pt x="158" y="64"/>
                        </a:cubicBezTo>
                        <a:cubicBezTo>
                          <a:pt x="219" y="128"/>
                          <a:pt x="281" y="219"/>
                          <a:pt x="281" y="219"/>
                        </a:cubicBezTo>
                        <a:lnTo>
                          <a:pt x="153" y="222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" name="Freeform 224">
                    <a:extLst>
                      <a:ext uri="{FF2B5EF4-FFF2-40B4-BE49-F238E27FC236}">
                        <a16:creationId xmlns:a16="http://schemas.microsoft.com/office/drawing/2014/main" id="{82957B3D-4500-F9F0-E884-4CF4E14AF20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9413" y="3076575"/>
                    <a:ext cx="247650" cy="242888"/>
                  </a:xfrm>
                  <a:custGeom>
                    <a:avLst/>
                    <a:gdLst>
                      <a:gd name="T0" fmla="*/ 121 w 133"/>
                      <a:gd name="T1" fmla="*/ 129 h 131"/>
                      <a:gd name="T2" fmla="*/ 64 w 133"/>
                      <a:gd name="T3" fmla="*/ 62 h 131"/>
                      <a:gd name="T4" fmla="*/ 0 w 133"/>
                      <a:gd name="T5" fmla="*/ 0 h 131"/>
                      <a:gd name="T6" fmla="*/ 64 w 133"/>
                      <a:gd name="T7" fmla="*/ 57 h 131"/>
                      <a:gd name="T8" fmla="*/ 133 w 133"/>
                      <a:gd name="T9" fmla="*/ 131 h 131"/>
                      <a:gd name="T10" fmla="*/ 121 w 133"/>
                      <a:gd name="T11" fmla="*/ 129 h 1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33" h="131">
                        <a:moveTo>
                          <a:pt x="121" y="129"/>
                        </a:moveTo>
                        <a:cubicBezTo>
                          <a:pt x="121" y="129"/>
                          <a:pt x="99" y="76"/>
                          <a:pt x="64" y="62"/>
                        </a:cubicBezTo>
                        <a:cubicBezTo>
                          <a:pt x="27" y="47"/>
                          <a:pt x="0" y="0"/>
                          <a:pt x="0" y="0"/>
                        </a:cubicBezTo>
                        <a:cubicBezTo>
                          <a:pt x="0" y="0"/>
                          <a:pt x="27" y="33"/>
                          <a:pt x="64" y="57"/>
                        </a:cubicBezTo>
                        <a:cubicBezTo>
                          <a:pt x="101" y="81"/>
                          <a:pt x="133" y="131"/>
                          <a:pt x="133" y="131"/>
                        </a:cubicBezTo>
                        <a:lnTo>
                          <a:pt x="121" y="129"/>
                        </a:ln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Freeform 225">
                    <a:extLst>
                      <a:ext uri="{FF2B5EF4-FFF2-40B4-BE49-F238E27FC236}">
                        <a16:creationId xmlns:a16="http://schemas.microsoft.com/office/drawing/2014/main" id="{6504377D-AC40-73D9-E84E-167BFA30AE1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3063" y="2906713"/>
                    <a:ext cx="430213" cy="357188"/>
                  </a:xfrm>
                  <a:custGeom>
                    <a:avLst/>
                    <a:gdLst>
                      <a:gd name="T0" fmla="*/ 232 w 232"/>
                      <a:gd name="T1" fmla="*/ 182 h 193"/>
                      <a:gd name="T2" fmla="*/ 59 w 232"/>
                      <a:gd name="T3" fmla="*/ 13 h 193"/>
                      <a:gd name="T4" fmla="*/ 3 w 232"/>
                      <a:gd name="T5" fmla="*/ 6 h 193"/>
                      <a:gd name="T6" fmla="*/ 129 w 232"/>
                      <a:gd name="T7" fmla="*/ 156 h 193"/>
                      <a:gd name="T8" fmla="*/ 232 w 232"/>
                      <a:gd name="T9" fmla="*/ 182 h 1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2" h="193">
                        <a:moveTo>
                          <a:pt x="232" y="182"/>
                        </a:moveTo>
                        <a:cubicBezTo>
                          <a:pt x="232" y="182"/>
                          <a:pt x="112" y="25"/>
                          <a:pt x="59" y="13"/>
                        </a:cubicBezTo>
                        <a:cubicBezTo>
                          <a:pt x="7" y="0"/>
                          <a:pt x="3" y="6"/>
                          <a:pt x="3" y="6"/>
                        </a:cubicBezTo>
                        <a:cubicBezTo>
                          <a:pt x="3" y="6"/>
                          <a:pt x="0" y="89"/>
                          <a:pt x="129" y="156"/>
                        </a:cubicBezTo>
                        <a:cubicBezTo>
                          <a:pt x="203" y="193"/>
                          <a:pt x="232" y="182"/>
                          <a:pt x="232" y="182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" name="Freeform 226">
                    <a:extLst>
                      <a:ext uri="{FF2B5EF4-FFF2-40B4-BE49-F238E27FC236}">
                        <a16:creationId xmlns:a16="http://schemas.microsoft.com/office/drawing/2014/main" id="{54C12D18-4EE4-6D40-2BD4-EFCCC165C3C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2413" y="2862263"/>
                    <a:ext cx="125413" cy="106363"/>
                  </a:xfrm>
                  <a:custGeom>
                    <a:avLst/>
                    <a:gdLst>
                      <a:gd name="T0" fmla="*/ 68 w 68"/>
                      <a:gd name="T1" fmla="*/ 30 h 58"/>
                      <a:gd name="T2" fmla="*/ 58 w 68"/>
                      <a:gd name="T3" fmla="*/ 14 h 58"/>
                      <a:gd name="T4" fmla="*/ 39 w 68"/>
                      <a:gd name="T5" fmla="*/ 0 h 58"/>
                      <a:gd name="T6" fmla="*/ 31 w 68"/>
                      <a:gd name="T7" fmla="*/ 24 h 58"/>
                      <a:gd name="T8" fmla="*/ 18 w 68"/>
                      <a:gd name="T9" fmla="*/ 37 h 58"/>
                      <a:gd name="T10" fmla="*/ 0 w 68"/>
                      <a:gd name="T11" fmla="*/ 38 h 58"/>
                      <a:gd name="T12" fmla="*/ 36 w 68"/>
                      <a:gd name="T13" fmla="*/ 55 h 58"/>
                      <a:gd name="T14" fmla="*/ 68 w 68"/>
                      <a:gd name="T15" fmla="*/ 30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8" h="58">
                        <a:moveTo>
                          <a:pt x="68" y="30"/>
                        </a:moveTo>
                        <a:cubicBezTo>
                          <a:pt x="58" y="14"/>
                          <a:pt x="58" y="14"/>
                          <a:pt x="58" y="14"/>
                        </a:cubicBezTo>
                        <a:cubicBezTo>
                          <a:pt x="39" y="0"/>
                          <a:pt x="39" y="0"/>
                          <a:pt x="39" y="0"/>
                        </a:cubicBezTo>
                        <a:cubicBezTo>
                          <a:pt x="39" y="0"/>
                          <a:pt x="33" y="15"/>
                          <a:pt x="31" y="24"/>
                        </a:cubicBezTo>
                        <a:cubicBezTo>
                          <a:pt x="30" y="32"/>
                          <a:pt x="21" y="37"/>
                          <a:pt x="18" y="37"/>
                        </a:cubicBezTo>
                        <a:cubicBezTo>
                          <a:pt x="10" y="39"/>
                          <a:pt x="0" y="38"/>
                          <a:pt x="0" y="38"/>
                        </a:cubicBezTo>
                        <a:cubicBezTo>
                          <a:pt x="0" y="38"/>
                          <a:pt x="32" y="50"/>
                          <a:pt x="36" y="55"/>
                        </a:cubicBezTo>
                        <a:cubicBezTo>
                          <a:pt x="41" y="58"/>
                          <a:pt x="68" y="30"/>
                          <a:pt x="68" y="30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4" name="Freeform 227">
                    <a:extLst>
                      <a:ext uri="{FF2B5EF4-FFF2-40B4-BE49-F238E27FC236}">
                        <a16:creationId xmlns:a16="http://schemas.microsoft.com/office/drawing/2014/main" id="{5EA96370-A5EC-9425-CACB-C54B0273BB9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3363" y="2800350"/>
                    <a:ext cx="100013" cy="131763"/>
                  </a:xfrm>
                  <a:custGeom>
                    <a:avLst/>
                    <a:gdLst>
                      <a:gd name="T0" fmla="*/ 13 w 54"/>
                      <a:gd name="T1" fmla="*/ 71 h 71"/>
                      <a:gd name="T2" fmla="*/ 31 w 54"/>
                      <a:gd name="T3" fmla="*/ 70 h 71"/>
                      <a:gd name="T4" fmla="*/ 41 w 54"/>
                      <a:gd name="T5" fmla="*/ 61 h 71"/>
                      <a:gd name="T6" fmla="*/ 45 w 54"/>
                      <a:gd name="T7" fmla="*/ 46 h 71"/>
                      <a:gd name="T8" fmla="*/ 51 w 54"/>
                      <a:gd name="T9" fmla="*/ 41 h 71"/>
                      <a:gd name="T10" fmla="*/ 47 w 54"/>
                      <a:gd name="T11" fmla="*/ 32 h 71"/>
                      <a:gd name="T12" fmla="*/ 44 w 54"/>
                      <a:gd name="T13" fmla="*/ 3 h 71"/>
                      <a:gd name="T14" fmla="*/ 30 w 54"/>
                      <a:gd name="T15" fmla="*/ 0 h 71"/>
                      <a:gd name="T16" fmla="*/ 18 w 54"/>
                      <a:gd name="T17" fmla="*/ 7 h 71"/>
                      <a:gd name="T18" fmla="*/ 0 w 54"/>
                      <a:gd name="T19" fmla="*/ 40 h 71"/>
                      <a:gd name="T20" fmla="*/ 3 w 54"/>
                      <a:gd name="T21" fmla="*/ 42 h 71"/>
                      <a:gd name="T22" fmla="*/ 7 w 54"/>
                      <a:gd name="T23" fmla="*/ 43 h 71"/>
                      <a:gd name="T24" fmla="*/ 8 w 54"/>
                      <a:gd name="T25" fmla="*/ 70 h 71"/>
                      <a:gd name="T26" fmla="*/ 13 w 54"/>
                      <a:gd name="T27" fmla="*/ 71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54" h="71">
                        <a:moveTo>
                          <a:pt x="13" y="71"/>
                        </a:moveTo>
                        <a:cubicBezTo>
                          <a:pt x="17" y="71"/>
                          <a:pt x="25" y="71"/>
                          <a:pt x="31" y="70"/>
                        </a:cubicBezTo>
                        <a:cubicBezTo>
                          <a:pt x="40" y="69"/>
                          <a:pt x="41" y="61"/>
                          <a:pt x="41" y="61"/>
                        </a:cubicBezTo>
                        <a:cubicBezTo>
                          <a:pt x="45" y="46"/>
                          <a:pt x="45" y="46"/>
                          <a:pt x="45" y="46"/>
                        </a:cubicBezTo>
                        <a:cubicBezTo>
                          <a:pt x="45" y="46"/>
                          <a:pt x="48" y="44"/>
                          <a:pt x="51" y="41"/>
                        </a:cubicBezTo>
                        <a:cubicBezTo>
                          <a:pt x="52" y="40"/>
                          <a:pt x="54" y="34"/>
                          <a:pt x="47" y="32"/>
                        </a:cubicBezTo>
                        <a:cubicBezTo>
                          <a:pt x="37" y="28"/>
                          <a:pt x="44" y="3"/>
                          <a:pt x="44" y="3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18" y="7"/>
                          <a:pt x="18" y="7"/>
                          <a:pt x="18" y="7"/>
                        </a:cubicBezTo>
                        <a:cubicBezTo>
                          <a:pt x="0" y="40"/>
                          <a:pt x="0" y="40"/>
                          <a:pt x="0" y="40"/>
                        </a:cubicBezTo>
                        <a:cubicBezTo>
                          <a:pt x="0" y="40"/>
                          <a:pt x="1" y="42"/>
                          <a:pt x="3" y="42"/>
                        </a:cubicBezTo>
                        <a:cubicBezTo>
                          <a:pt x="6" y="42"/>
                          <a:pt x="7" y="43"/>
                          <a:pt x="7" y="43"/>
                        </a:cubicBezTo>
                        <a:cubicBezTo>
                          <a:pt x="7" y="43"/>
                          <a:pt x="8" y="69"/>
                          <a:pt x="8" y="70"/>
                        </a:cubicBezTo>
                        <a:cubicBezTo>
                          <a:pt x="9" y="71"/>
                          <a:pt x="10" y="71"/>
                          <a:pt x="13" y="71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" name="Freeform 228">
                    <a:extLst>
                      <a:ext uri="{FF2B5EF4-FFF2-40B4-BE49-F238E27FC236}">
                        <a16:creationId xmlns:a16="http://schemas.microsoft.com/office/drawing/2014/main" id="{AB6B84E2-3594-821B-BEC0-F5E8E086444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5588" y="2849563"/>
                    <a:ext cx="20638" cy="7938"/>
                  </a:xfrm>
                  <a:custGeom>
                    <a:avLst/>
                    <a:gdLst>
                      <a:gd name="T0" fmla="*/ 1 w 11"/>
                      <a:gd name="T1" fmla="*/ 3 h 5"/>
                      <a:gd name="T2" fmla="*/ 3 w 11"/>
                      <a:gd name="T3" fmla="*/ 5 h 5"/>
                      <a:gd name="T4" fmla="*/ 10 w 11"/>
                      <a:gd name="T5" fmla="*/ 5 h 5"/>
                      <a:gd name="T6" fmla="*/ 2 w 11"/>
                      <a:gd name="T7" fmla="*/ 1 h 5"/>
                      <a:gd name="T8" fmla="*/ 1 w 11"/>
                      <a:gd name="T9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" h="5">
                        <a:moveTo>
                          <a:pt x="1" y="3"/>
                        </a:moveTo>
                        <a:cubicBezTo>
                          <a:pt x="1" y="5"/>
                          <a:pt x="1" y="5"/>
                          <a:pt x="3" y="5"/>
                        </a:cubicBezTo>
                        <a:cubicBezTo>
                          <a:pt x="5" y="5"/>
                          <a:pt x="8" y="5"/>
                          <a:pt x="10" y="5"/>
                        </a:cubicBezTo>
                        <a:cubicBezTo>
                          <a:pt x="11" y="5"/>
                          <a:pt x="7" y="3"/>
                          <a:pt x="2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" name="Freeform 229">
                    <a:extLst>
                      <a:ext uri="{FF2B5EF4-FFF2-40B4-BE49-F238E27FC236}">
                        <a16:creationId xmlns:a16="http://schemas.microsoft.com/office/drawing/2014/main" id="{741F7002-DE3E-A03F-F5E7-FECA0D8D418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2263" y="2951163"/>
                    <a:ext cx="44450" cy="104775"/>
                  </a:xfrm>
                  <a:custGeom>
                    <a:avLst/>
                    <a:gdLst>
                      <a:gd name="T0" fmla="*/ 24 w 24"/>
                      <a:gd name="T1" fmla="*/ 57 h 57"/>
                      <a:gd name="T2" fmla="*/ 22 w 24"/>
                      <a:gd name="T3" fmla="*/ 0 h 57"/>
                      <a:gd name="T4" fmla="*/ 0 w 24"/>
                      <a:gd name="T5" fmla="*/ 8 h 57"/>
                      <a:gd name="T6" fmla="*/ 24 w 24"/>
                      <a:gd name="T7" fmla="*/ 57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4" h="57">
                        <a:moveTo>
                          <a:pt x="24" y="57"/>
                        </a:moveTo>
                        <a:cubicBezTo>
                          <a:pt x="24" y="57"/>
                          <a:pt x="8" y="28"/>
                          <a:pt x="22" y="0"/>
                        </a:cubicBezTo>
                        <a:cubicBezTo>
                          <a:pt x="17" y="5"/>
                          <a:pt x="6" y="6"/>
                          <a:pt x="0" y="8"/>
                        </a:cubicBezTo>
                        <a:cubicBezTo>
                          <a:pt x="0" y="32"/>
                          <a:pt x="24" y="57"/>
                          <a:pt x="24" y="57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Freeform 230">
                    <a:extLst>
                      <a:ext uri="{FF2B5EF4-FFF2-40B4-BE49-F238E27FC236}">
                        <a16:creationId xmlns:a16="http://schemas.microsoft.com/office/drawing/2014/main" id="{067D58D3-BB10-60C6-ECA7-4ABCFA1FC0C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72688" y="2957513"/>
                    <a:ext cx="188913" cy="74613"/>
                  </a:xfrm>
                  <a:custGeom>
                    <a:avLst/>
                    <a:gdLst>
                      <a:gd name="T0" fmla="*/ 94 w 119"/>
                      <a:gd name="T1" fmla="*/ 47 h 47"/>
                      <a:gd name="T2" fmla="*/ 0 w 119"/>
                      <a:gd name="T3" fmla="*/ 12 h 47"/>
                      <a:gd name="T4" fmla="*/ 2 w 119"/>
                      <a:gd name="T5" fmla="*/ 0 h 47"/>
                      <a:gd name="T6" fmla="*/ 119 w 119"/>
                      <a:gd name="T7" fmla="*/ 23 h 47"/>
                      <a:gd name="T8" fmla="*/ 94 w 119"/>
                      <a:gd name="T9" fmla="*/ 47 h 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9" h="47">
                        <a:moveTo>
                          <a:pt x="94" y="47"/>
                        </a:moveTo>
                        <a:lnTo>
                          <a:pt x="0" y="12"/>
                        </a:lnTo>
                        <a:lnTo>
                          <a:pt x="2" y="0"/>
                        </a:lnTo>
                        <a:lnTo>
                          <a:pt x="119" y="23"/>
                        </a:lnTo>
                        <a:lnTo>
                          <a:pt x="94" y="47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" name="Freeform 231">
                    <a:extLst>
                      <a:ext uri="{FF2B5EF4-FFF2-40B4-BE49-F238E27FC236}">
                        <a16:creationId xmlns:a16="http://schemas.microsoft.com/office/drawing/2014/main" id="{C8688395-30E6-1F7B-C134-7EE0F2E91C7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15563" y="2954338"/>
                    <a:ext cx="434975" cy="128588"/>
                  </a:xfrm>
                  <a:custGeom>
                    <a:avLst/>
                    <a:gdLst>
                      <a:gd name="T0" fmla="*/ 2 w 235"/>
                      <a:gd name="T1" fmla="*/ 16 h 69"/>
                      <a:gd name="T2" fmla="*/ 82 w 235"/>
                      <a:gd name="T3" fmla="*/ 33 h 69"/>
                      <a:gd name="T4" fmla="*/ 201 w 235"/>
                      <a:gd name="T5" fmla="*/ 0 h 69"/>
                      <a:gd name="T6" fmla="*/ 235 w 235"/>
                      <a:gd name="T7" fmla="*/ 35 h 69"/>
                      <a:gd name="T8" fmla="*/ 120 w 235"/>
                      <a:gd name="T9" fmla="*/ 65 h 69"/>
                      <a:gd name="T10" fmla="*/ 59 w 235"/>
                      <a:gd name="T11" fmla="*/ 61 h 69"/>
                      <a:gd name="T12" fmla="*/ 0 w 235"/>
                      <a:gd name="T13" fmla="*/ 42 h 69"/>
                      <a:gd name="T14" fmla="*/ 2 w 235"/>
                      <a:gd name="T15" fmla="*/ 16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35" h="69">
                        <a:moveTo>
                          <a:pt x="2" y="16"/>
                        </a:moveTo>
                        <a:cubicBezTo>
                          <a:pt x="82" y="33"/>
                          <a:pt x="82" y="33"/>
                          <a:pt x="82" y="33"/>
                        </a:cubicBezTo>
                        <a:cubicBezTo>
                          <a:pt x="201" y="0"/>
                          <a:pt x="201" y="0"/>
                          <a:pt x="201" y="0"/>
                        </a:cubicBezTo>
                        <a:cubicBezTo>
                          <a:pt x="235" y="35"/>
                          <a:pt x="235" y="35"/>
                          <a:pt x="235" y="35"/>
                        </a:cubicBezTo>
                        <a:cubicBezTo>
                          <a:pt x="235" y="35"/>
                          <a:pt x="132" y="62"/>
                          <a:pt x="120" y="65"/>
                        </a:cubicBezTo>
                        <a:cubicBezTo>
                          <a:pt x="108" y="67"/>
                          <a:pt x="84" y="69"/>
                          <a:pt x="59" y="61"/>
                        </a:cubicBezTo>
                        <a:cubicBezTo>
                          <a:pt x="42" y="56"/>
                          <a:pt x="24" y="50"/>
                          <a:pt x="0" y="42"/>
                        </a:cubicBezTo>
                        <a:lnTo>
                          <a:pt x="2" y="16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" name="Freeform 232">
                    <a:extLst>
                      <a:ext uri="{FF2B5EF4-FFF2-40B4-BE49-F238E27FC236}">
                        <a16:creationId xmlns:a16="http://schemas.microsoft.com/office/drawing/2014/main" id="{45B138EB-DE16-45E9-171A-7B187D50DB8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3525" y="2782888"/>
                    <a:ext cx="134938" cy="225425"/>
                  </a:xfrm>
                  <a:custGeom>
                    <a:avLst/>
                    <a:gdLst>
                      <a:gd name="T0" fmla="*/ 52 w 73"/>
                      <a:gd name="T1" fmla="*/ 19 h 122"/>
                      <a:gd name="T2" fmla="*/ 0 w 73"/>
                      <a:gd name="T3" fmla="*/ 9 h 122"/>
                      <a:gd name="T4" fmla="*/ 2 w 73"/>
                      <a:gd name="T5" fmla="*/ 17 h 122"/>
                      <a:gd name="T6" fmla="*/ 19 w 73"/>
                      <a:gd name="T7" fmla="*/ 56 h 122"/>
                      <a:gd name="T8" fmla="*/ 6 w 73"/>
                      <a:gd name="T9" fmla="*/ 107 h 122"/>
                      <a:gd name="T10" fmla="*/ 70 w 73"/>
                      <a:gd name="T11" fmla="*/ 76 h 122"/>
                      <a:gd name="T12" fmla="*/ 52 w 73"/>
                      <a:gd name="T13" fmla="*/ 19 h 1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3" h="122">
                        <a:moveTo>
                          <a:pt x="52" y="19"/>
                        </a:moveTo>
                        <a:cubicBezTo>
                          <a:pt x="17" y="1"/>
                          <a:pt x="4" y="0"/>
                          <a:pt x="0" y="9"/>
                        </a:cubicBezTo>
                        <a:cubicBezTo>
                          <a:pt x="0" y="11"/>
                          <a:pt x="0" y="15"/>
                          <a:pt x="2" y="17"/>
                        </a:cubicBezTo>
                        <a:cubicBezTo>
                          <a:pt x="12" y="17"/>
                          <a:pt x="19" y="36"/>
                          <a:pt x="19" y="56"/>
                        </a:cubicBezTo>
                        <a:cubicBezTo>
                          <a:pt x="17" y="75"/>
                          <a:pt x="16" y="102"/>
                          <a:pt x="6" y="107"/>
                        </a:cubicBezTo>
                        <a:cubicBezTo>
                          <a:pt x="34" y="117"/>
                          <a:pt x="73" y="122"/>
                          <a:pt x="70" y="76"/>
                        </a:cubicBezTo>
                        <a:cubicBezTo>
                          <a:pt x="70" y="62"/>
                          <a:pt x="55" y="24"/>
                          <a:pt x="52" y="19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0" name="Freeform 233">
                    <a:extLst>
                      <a:ext uri="{FF2B5EF4-FFF2-40B4-BE49-F238E27FC236}">
                        <a16:creationId xmlns:a16="http://schemas.microsoft.com/office/drawing/2014/main" id="{F9532174-1A99-92D1-CE15-F1396CBF083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8613" y="3302000"/>
                    <a:ext cx="563563" cy="241300"/>
                  </a:xfrm>
                  <a:custGeom>
                    <a:avLst/>
                    <a:gdLst>
                      <a:gd name="T0" fmla="*/ 267 w 304"/>
                      <a:gd name="T1" fmla="*/ 0 h 130"/>
                      <a:gd name="T2" fmla="*/ 304 w 304"/>
                      <a:gd name="T3" fmla="*/ 118 h 130"/>
                      <a:gd name="T4" fmla="*/ 26 w 304"/>
                      <a:gd name="T5" fmla="*/ 54 h 130"/>
                      <a:gd name="T6" fmla="*/ 1 w 304"/>
                      <a:gd name="T7" fmla="*/ 1 h 130"/>
                      <a:gd name="T8" fmla="*/ 267 w 304"/>
                      <a:gd name="T9" fmla="*/ 0 h 1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4" h="130">
                        <a:moveTo>
                          <a:pt x="267" y="0"/>
                        </a:moveTo>
                        <a:cubicBezTo>
                          <a:pt x="295" y="26"/>
                          <a:pt x="269" y="75"/>
                          <a:pt x="304" y="118"/>
                        </a:cubicBezTo>
                        <a:cubicBezTo>
                          <a:pt x="264" y="130"/>
                          <a:pt x="87" y="102"/>
                          <a:pt x="26" y="54"/>
                        </a:cubicBezTo>
                        <a:cubicBezTo>
                          <a:pt x="0" y="33"/>
                          <a:pt x="1" y="1"/>
                          <a:pt x="1" y="1"/>
                        </a:cubicBezTo>
                        <a:cubicBezTo>
                          <a:pt x="1" y="1"/>
                          <a:pt x="229" y="1"/>
                          <a:pt x="267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" name="Freeform 234">
                    <a:extLst>
                      <a:ext uri="{FF2B5EF4-FFF2-40B4-BE49-F238E27FC236}">
                        <a16:creationId xmlns:a16="http://schemas.microsoft.com/office/drawing/2014/main" id="{AEABFB90-E9B6-FCB3-055B-934CBA104B5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01250" y="2922588"/>
                    <a:ext cx="79375" cy="60325"/>
                  </a:xfrm>
                  <a:custGeom>
                    <a:avLst/>
                    <a:gdLst>
                      <a:gd name="T0" fmla="*/ 43 w 43"/>
                      <a:gd name="T1" fmla="*/ 20 h 32"/>
                      <a:gd name="T2" fmla="*/ 34 w 43"/>
                      <a:gd name="T3" fmla="*/ 16 h 32"/>
                      <a:gd name="T4" fmla="*/ 26 w 43"/>
                      <a:gd name="T5" fmla="*/ 10 h 32"/>
                      <a:gd name="T6" fmla="*/ 23 w 43"/>
                      <a:gd name="T7" fmla="*/ 7 h 32"/>
                      <a:gd name="T8" fmla="*/ 6 w 43"/>
                      <a:gd name="T9" fmla="*/ 0 h 32"/>
                      <a:gd name="T10" fmla="*/ 7 w 43"/>
                      <a:gd name="T11" fmla="*/ 4 h 32"/>
                      <a:gd name="T12" fmla="*/ 15 w 43"/>
                      <a:gd name="T13" fmla="*/ 9 h 32"/>
                      <a:gd name="T14" fmla="*/ 0 w 43"/>
                      <a:gd name="T15" fmla="*/ 13 h 32"/>
                      <a:gd name="T16" fmla="*/ 2 w 43"/>
                      <a:gd name="T17" fmla="*/ 16 h 32"/>
                      <a:gd name="T18" fmla="*/ 12 w 43"/>
                      <a:gd name="T19" fmla="*/ 15 h 32"/>
                      <a:gd name="T20" fmla="*/ 27 w 43"/>
                      <a:gd name="T21" fmla="*/ 27 h 32"/>
                      <a:gd name="T22" fmla="*/ 24 w 43"/>
                      <a:gd name="T23" fmla="*/ 28 h 32"/>
                      <a:gd name="T24" fmla="*/ 27 w 43"/>
                      <a:gd name="T25" fmla="*/ 32 h 32"/>
                      <a:gd name="T26" fmla="*/ 42 w 43"/>
                      <a:gd name="T27" fmla="*/ 30 h 32"/>
                      <a:gd name="T28" fmla="*/ 43 w 43"/>
                      <a:gd name="T29" fmla="*/ 20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3" h="32">
                        <a:moveTo>
                          <a:pt x="43" y="20"/>
                        </a:moveTo>
                        <a:cubicBezTo>
                          <a:pt x="43" y="20"/>
                          <a:pt x="38" y="18"/>
                          <a:pt x="34" y="16"/>
                        </a:cubicBezTo>
                        <a:cubicBezTo>
                          <a:pt x="30" y="13"/>
                          <a:pt x="26" y="10"/>
                          <a:pt x="26" y="10"/>
                        </a:cubicBezTo>
                        <a:cubicBezTo>
                          <a:pt x="26" y="10"/>
                          <a:pt x="24" y="8"/>
                          <a:pt x="23" y="7"/>
                        </a:cubicBezTo>
                        <a:cubicBezTo>
                          <a:pt x="22" y="7"/>
                          <a:pt x="13" y="3"/>
                          <a:pt x="6" y="0"/>
                        </a:cubicBezTo>
                        <a:cubicBezTo>
                          <a:pt x="5" y="0"/>
                          <a:pt x="6" y="3"/>
                          <a:pt x="7" y="4"/>
                        </a:cubicBezTo>
                        <a:cubicBezTo>
                          <a:pt x="8" y="5"/>
                          <a:pt x="15" y="9"/>
                          <a:pt x="15" y="9"/>
                        </a:cubicBezTo>
                        <a:cubicBezTo>
                          <a:pt x="15" y="9"/>
                          <a:pt x="3" y="12"/>
                          <a:pt x="0" y="13"/>
                        </a:cubicBezTo>
                        <a:cubicBezTo>
                          <a:pt x="0" y="13"/>
                          <a:pt x="1" y="15"/>
                          <a:pt x="2" y="16"/>
                        </a:cubicBezTo>
                        <a:cubicBezTo>
                          <a:pt x="4" y="16"/>
                          <a:pt x="12" y="15"/>
                          <a:pt x="12" y="15"/>
                        </a:cubicBezTo>
                        <a:cubicBezTo>
                          <a:pt x="27" y="27"/>
                          <a:pt x="27" y="27"/>
                          <a:pt x="27" y="27"/>
                        </a:cubicBezTo>
                        <a:cubicBezTo>
                          <a:pt x="24" y="28"/>
                          <a:pt x="24" y="28"/>
                          <a:pt x="24" y="28"/>
                        </a:cubicBezTo>
                        <a:cubicBezTo>
                          <a:pt x="27" y="32"/>
                          <a:pt x="27" y="32"/>
                          <a:pt x="27" y="32"/>
                        </a:cubicBezTo>
                        <a:cubicBezTo>
                          <a:pt x="27" y="32"/>
                          <a:pt x="33" y="32"/>
                          <a:pt x="42" y="30"/>
                        </a:cubicBezTo>
                        <a:lnTo>
                          <a:pt x="43" y="2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54" name="Freeform 180">
                  <a:extLst>
                    <a:ext uri="{FF2B5EF4-FFF2-40B4-BE49-F238E27FC236}">
                      <a16:creationId xmlns:a16="http://schemas.microsoft.com/office/drawing/2014/main" id="{32317143-2BF2-B49E-E340-7094BC4DAE3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532353" y="4827346"/>
                  <a:ext cx="357122" cy="260510"/>
                </a:xfrm>
                <a:custGeom>
                  <a:avLst/>
                  <a:gdLst>
                    <a:gd name="T0" fmla="*/ 308 w 354"/>
                    <a:gd name="T1" fmla="*/ 0 h 259"/>
                    <a:gd name="T2" fmla="*/ 300 w 354"/>
                    <a:gd name="T3" fmla="*/ 0 h 259"/>
                    <a:gd name="T4" fmla="*/ 300 w 354"/>
                    <a:gd name="T5" fmla="*/ 14 h 259"/>
                    <a:gd name="T6" fmla="*/ 283 w 354"/>
                    <a:gd name="T7" fmla="*/ 0 h 259"/>
                    <a:gd name="T8" fmla="*/ 283 w 354"/>
                    <a:gd name="T9" fmla="*/ 0 h 259"/>
                    <a:gd name="T10" fmla="*/ 261 w 354"/>
                    <a:gd name="T11" fmla="*/ 0 h 259"/>
                    <a:gd name="T12" fmla="*/ 262 w 354"/>
                    <a:gd name="T13" fmla="*/ 6 h 259"/>
                    <a:gd name="T14" fmla="*/ 277 w 354"/>
                    <a:gd name="T15" fmla="*/ 12 h 259"/>
                    <a:gd name="T16" fmla="*/ 295 w 354"/>
                    <a:gd name="T17" fmla="*/ 36 h 259"/>
                    <a:gd name="T18" fmla="*/ 292 w 354"/>
                    <a:gd name="T19" fmla="*/ 237 h 259"/>
                    <a:gd name="T20" fmla="*/ 182 w 354"/>
                    <a:gd name="T21" fmla="*/ 111 h 259"/>
                    <a:gd name="T22" fmla="*/ 133 w 354"/>
                    <a:gd name="T23" fmla="*/ 84 h 259"/>
                    <a:gd name="T24" fmla="*/ 84 w 354"/>
                    <a:gd name="T25" fmla="*/ 117 h 259"/>
                    <a:gd name="T26" fmla="*/ 0 w 354"/>
                    <a:gd name="T27" fmla="*/ 259 h 259"/>
                    <a:gd name="T28" fmla="*/ 140 w 354"/>
                    <a:gd name="T29" fmla="*/ 259 h 259"/>
                    <a:gd name="T30" fmla="*/ 147 w 354"/>
                    <a:gd name="T31" fmla="*/ 188 h 259"/>
                    <a:gd name="T32" fmla="*/ 230 w 354"/>
                    <a:gd name="T33" fmla="*/ 259 h 259"/>
                    <a:gd name="T34" fmla="*/ 354 w 354"/>
                    <a:gd name="T35" fmla="*/ 259 h 259"/>
                    <a:gd name="T36" fmla="*/ 312 w 354"/>
                    <a:gd name="T37" fmla="*/ 35 h 259"/>
                    <a:gd name="T38" fmla="*/ 312 w 354"/>
                    <a:gd name="T39" fmla="*/ 24 h 259"/>
                    <a:gd name="T40" fmla="*/ 308 w 354"/>
                    <a:gd name="T41" fmla="*/ 0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4" h="259">
                      <a:moveTo>
                        <a:pt x="308" y="0"/>
                      </a:moveTo>
                      <a:cubicBezTo>
                        <a:pt x="300" y="0"/>
                        <a:pt x="300" y="0"/>
                        <a:pt x="300" y="0"/>
                      </a:cubicBezTo>
                      <a:cubicBezTo>
                        <a:pt x="300" y="14"/>
                        <a:pt x="300" y="14"/>
                        <a:pt x="300" y="14"/>
                      </a:cubicBezTo>
                      <a:cubicBezTo>
                        <a:pt x="300" y="14"/>
                        <a:pt x="288" y="0"/>
                        <a:pt x="283" y="0"/>
                      </a:cubicBezTo>
                      <a:cubicBezTo>
                        <a:pt x="283" y="0"/>
                        <a:pt x="283" y="0"/>
                        <a:pt x="283" y="0"/>
                      </a:cubicBezTo>
                      <a:cubicBezTo>
                        <a:pt x="279" y="0"/>
                        <a:pt x="261" y="0"/>
                        <a:pt x="261" y="0"/>
                      </a:cubicBezTo>
                      <a:cubicBezTo>
                        <a:pt x="261" y="0"/>
                        <a:pt x="258" y="5"/>
                        <a:pt x="262" y="6"/>
                      </a:cubicBezTo>
                      <a:cubicBezTo>
                        <a:pt x="263" y="6"/>
                        <a:pt x="273" y="10"/>
                        <a:pt x="277" y="12"/>
                      </a:cubicBezTo>
                      <a:cubicBezTo>
                        <a:pt x="295" y="36"/>
                        <a:pt x="295" y="36"/>
                        <a:pt x="295" y="36"/>
                      </a:cubicBezTo>
                      <a:cubicBezTo>
                        <a:pt x="292" y="237"/>
                        <a:pt x="292" y="237"/>
                        <a:pt x="292" y="237"/>
                      </a:cubicBezTo>
                      <a:cubicBezTo>
                        <a:pt x="241" y="180"/>
                        <a:pt x="189" y="121"/>
                        <a:pt x="182" y="111"/>
                      </a:cubicBezTo>
                      <a:cubicBezTo>
                        <a:pt x="174" y="99"/>
                        <a:pt x="155" y="84"/>
                        <a:pt x="133" y="84"/>
                      </a:cubicBezTo>
                      <a:cubicBezTo>
                        <a:pt x="117" y="84"/>
                        <a:pt x="99" y="93"/>
                        <a:pt x="84" y="117"/>
                      </a:cubicBezTo>
                      <a:cubicBezTo>
                        <a:pt x="61" y="155"/>
                        <a:pt x="26" y="213"/>
                        <a:pt x="0" y="259"/>
                      </a:cubicBezTo>
                      <a:cubicBezTo>
                        <a:pt x="140" y="259"/>
                        <a:pt x="140" y="259"/>
                        <a:pt x="140" y="259"/>
                      </a:cubicBezTo>
                      <a:cubicBezTo>
                        <a:pt x="144" y="231"/>
                        <a:pt x="146" y="205"/>
                        <a:pt x="147" y="188"/>
                      </a:cubicBezTo>
                      <a:cubicBezTo>
                        <a:pt x="230" y="259"/>
                        <a:pt x="230" y="259"/>
                        <a:pt x="230" y="259"/>
                      </a:cubicBezTo>
                      <a:cubicBezTo>
                        <a:pt x="354" y="259"/>
                        <a:pt x="354" y="259"/>
                        <a:pt x="354" y="259"/>
                      </a:cubicBezTo>
                      <a:cubicBezTo>
                        <a:pt x="345" y="166"/>
                        <a:pt x="312" y="35"/>
                        <a:pt x="312" y="35"/>
                      </a:cubicBezTo>
                      <a:cubicBezTo>
                        <a:pt x="312" y="35"/>
                        <a:pt x="313" y="29"/>
                        <a:pt x="312" y="24"/>
                      </a:cubicBezTo>
                      <a:cubicBezTo>
                        <a:pt x="310" y="13"/>
                        <a:pt x="308" y="0"/>
                        <a:pt x="308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11" name="Group 5">
                <a:extLst>
                  <a:ext uri="{FF2B5EF4-FFF2-40B4-BE49-F238E27FC236}">
                    <a16:creationId xmlns:a16="http://schemas.microsoft.com/office/drawing/2014/main" id="{947B2218-1619-3519-0D12-46FACFF11794}"/>
                  </a:ext>
                </a:extLst>
              </p:cNvPr>
              <p:cNvGrpSpPr/>
              <p:nvPr/>
            </p:nvGrpSpPr>
            <p:grpSpPr>
              <a:xfrm>
                <a:off x="3081113" y="3935198"/>
                <a:ext cx="1695948" cy="1162398"/>
                <a:chOff x="3081113" y="3935198"/>
                <a:chExt cx="1695948" cy="1162398"/>
              </a:xfrm>
            </p:grpSpPr>
            <p:grpSp>
              <p:nvGrpSpPr>
                <p:cNvPr id="12" name="Group 1051">
                  <a:extLst>
                    <a:ext uri="{FF2B5EF4-FFF2-40B4-BE49-F238E27FC236}">
                      <a16:creationId xmlns:a16="http://schemas.microsoft.com/office/drawing/2014/main" id="{F7775E54-BC08-77D1-B467-0D48CF2CBA41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096850" y="3935198"/>
                  <a:ext cx="947456" cy="851698"/>
                  <a:chOff x="6978651" y="4723607"/>
                  <a:chExt cx="1931987" cy="1736725"/>
                </a:xfrm>
              </p:grpSpPr>
              <p:sp>
                <p:nvSpPr>
                  <p:cNvPr id="38" name="Freeform 280">
                    <a:extLst>
                      <a:ext uri="{FF2B5EF4-FFF2-40B4-BE49-F238E27FC236}">
                        <a16:creationId xmlns:a16="http://schemas.microsoft.com/office/drawing/2014/main" id="{2BF9B746-8DA4-B678-8665-92DC9AF7F68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075488" y="5322095"/>
                    <a:ext cx="139700" cy="82550"/>
                  </a:xfrm>
                  <a:custGeom>
                    <a:avLst/>
                    <a:gdLst>
                      <a:gd name="T0" fmla="*/ 71 w 71"/>
                      <a:gd name="T1" fmla="*/ 40 h 42"/>
                      <a:gd name="T2" fmla="*/ 60 w 71"/>
                      <a:gd name="T3" fmla="*/ 42 h 42"/>
                      <a:gd name="T4" fmla="*/ 47 w 71"/>
                      <a:gd name="T5" fmla="*/ 39 h 42"/>
                      <a:gd name="T6" fmla="*/ 42 w 71"/>
                      <a:gd name="T7" fmla="*/ 33 h 42"/>
                      <a:gd name="T8" fmla="*/ 45 w 71"/>
                      <a:gd name="T9" fmla="*/ 31 h 42"/>
                      <a:gd name="T10" fmla="*/ 19 w 71"/>
                      <a:gd name="T11" fmla="*/ 13 h 42"/>
                      <a:gd name="T12" fmla="*/ 4 w 71"/>
                      <a:gd name="T13" fmla="*/ 14 h 42"/>
                      <a:gd name="T14" fmla="*/ 1 w 71"/>
                      <a:gd name="T15" fmla="*/ 11 h 42"/>
                      <a:gd name="T16" fmla="*/ 21 w 71"/>
                      <a:gd name="T17" fmla="*/ 5 h 42"/>
                      <a:gd name="T18" fmla="*/ 35 w 71"/>
                      <a:gd name="T19" fmla="*/ 2 h 42"/>
                      <a:gd name="T20" fmla="*/ 40 w 71"/>
                      <a:gd name="T21" fmla="*/ 6 h 42"/>
                      <a:gd name="T22" fmla="*/ 68 w 71"/>
                      <a:gd name="T23" fmla="*/ 21 h 42"/>
                      <a:gd name="T24" fmla="*/ 71 w 71"/>
                      <a:gd name="T25" fmla="*/ 40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71" h="42">
                        <a:moveTo>
                          <a:pt x="71" y="40"/>
                        </a:moveTo>
                        <a:cubicBezTo>
                          <a:pt x="71" y="40"/>
                          <a:pt x="63" y="42"/>
                          <a:pt x="60" y="42"/>
                        </a:cubicBezTo>
                        <a:cubicBezTo>
                          <a:pt x="49" y="42"/>
                          <a:pt x="47" y="39"/>
                          <a:pt x="47" y="39"/>
                        </a:cubicBezTo>
                        <a:cubicBezTo>
                          <a:pt x="42" y="33"/>
                          <a:pt x="42" y="33"/>
                          <a:pt x="42" y="33"/>
                        </a:cubicBezTo>
                        <a:cubicBezTo>
                          <a:pt x="45" y="31"/>
                          <a:pt x="45" y="31"/>
                          <a:pt x="45" y="31"/>
                        </a:cubicBezTo>
                        <a:cubicBezTo>
                          <a:pt x="19" y="13"/>
                          <a:pt x="19" y="13"/>
                          <a:pt x="19" y="13"/>
                        </a:cubicBezTo>
                        <a:cubicBezTo>
                          <a:pt x="19" y="13"/>
                          <a:pt x="6" y="15"/>
                          <a:pt x="4" y="14"/>
                        </a:cubicBezTo>
                        <a:cubicBezTo>
                          <a:pt x="2" y="14"/>
                          <a:pt x="0" y="11"/>
                          <a:pt x="1" y="11"/>
                        </a:cubicBezTo>
                        <a:cubicBezTo>
                          <a:pt x="5" y="9"/>
                          <a:pt x="21" y="5"/>
                          <a:pt x="21" y="5"/>
                        </a:cubicBezTo>
                        <a:cubicBezTo>
                          <a:pt x="21" y="5"/>
                          <a:pt x="32" y="0"/>
                          <a:pt x="35" y="2"/>
                        </a:cubicBezTo>
                        <a:cubicBezTo>
                          <a:pt x="38" y="3"/>
                          <a:pt x="40" y="6"/>
                          <a:pt x="40" y="6"/>
                        </a:cubicBezTo>
                        <a:cubicBezTo>
                          <a:pt x="68" y="21"/>
                          <a:pt x="68" y="21"/>
                          <a:pt x="68" y="21"/>
                        </a:cubicBezTo>
                        <a:lnTo>
                          <a:pt x="71" y="4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" name="Freeform 281">
                    <a:extLst>
                      <a:ext uri="{FF2B5EF4-FFF2-40B4-BE49-F238E27FC236}">
                        <a16:creationId xmlns:a16="http://schemas.microsoft.com/office/drawing/2014/main" id="{FB5B22C8-D0B5-F511-1B75-C307AD110E4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978651" y="4955382"/>
                    <a:ext cx="785813" cy="319088"/>
                  </a:xfrm>
                  <a:custGeom>
                    <a:avLst/>
                    <a:gdLst>
                      <a:gd name="T0" fmla="*/ 400 w 400"/>
                      <a:gd name="T1" fmla="*/ 96 h 163"/>
                      <a:gd name="T2" fmla="*/ 199 w 400"/>
                      <a:gd name="T3" fmla="*/ 146 h 163"/>
                      <a:gd name="T4" fmla="*/ 21 w 400"/>
                      <a:gd name="T5" fmla="*/ 163 h 163"/>
                      <a:gd name="T6" fmla="*/ 0 w 400"/>
                      <a:gd name="T7" fmla="*/ 142 h 163"/>
                      <a:gd name="T8" fmla="*/ 188 w 400"/>
                      <a:gd name="T9" fmla="*/ 100 h 163"/>
                      <a:gd name="T10" fmla="*/ 342 w 400"/>
                      <a:gd name="T11" fmla="*/ 0 h 163"/>
                      <a:gd name="T12" fmla="*/ 400 w 400"/>
                      <a:gd name="T13" fmla="*/ 96 h 1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00" h="163">
                        <a:moveTo>
                          <a:pt x="400" y="96"/>
                        </a:moveTo>
                        <a:cubicBezTo>
                          <a:pt x="400" y="96"/>
                          <a:pt x="268" y="137"/>
                          <a:pt x="199" y="146"/>
                        </a:cubicBezTo>
                        <a:cubicBezTo>
                          <a:pt x="130" y="154"/>
                          <a:pt x="21" y="163"/>
                          <a:pt x="21" y="163"/>
                        </a:cubicBezTo>
                        <a:cubicBezTo>
                          <a:pt x="21" y="163"/>
                          <a:pt x="0" y="151"/>
                          <a:pt x="0" y="142"/>
                        </a:cubicBezTo>
                        <a:cubicBezTo>
                          <a:pt x="59" y="127"/>
                          <a:pt x="141" y="104"/>
                          <a:pt x="188" y="100"/>
                        </a:cubicBezTo>
                        <a:cubicBezTo>
                          <a:pt x="246" y="73"/>
                          <a:pt x="342" y="0"/>
                          <a:pt x="342" y="0"/>
                        </a:cubicBezTo>
                        <a:lnTo>
                          <a:pt x="400" y="96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" name="Freeform 282">
                    <a:extLst>
                      <a:ext uri="{FF2B5EF4-FFF2-40B4-BE49-F238E27FC236}">
                        <a16:creationId xmlns:a16="http://schemas.microsoft.com/office/drawing/2014/main" id="{B6B9B790-45E0-1383-B86F-24DE10B7544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135938" y="5620545"/>
                    <a:ext cx="774700" cy="719138"/>
                  </a:xfrm>
                  <a:custGeom>
                    <a:avLst/>
                    <a:gdLst>
                      <a:gd name="T0" fmla="*/ 17 w 394"/>
                      <a:gd name="T1" fmla="*/ 40 h 367"/>
                      <a:gd name="T2" fmla="*/ 146 w 394"/>
                      <a:gd name="T3" fmla="*/ 44 h 367"/>
                      <a:gd name="T4" fmla="*/ 173 w 394"/>
                      <a:gd name="T5" fmla="*/ 241 h 367"/>
                      <a:gd name="T6" fmla="*/ 349 w 394"/>
                      <a:gd name="T7" fmla="*/ 73 h 367"/>
                      <a:gd name="T8" fmla="*/ 391 w 394"/>
                      <a:gd name="T9" fmla="*/ 85 h 367"/>
                      <a:gd name="T10" fmla="*/ 206 w 394"/>
                      <a:gd name="T11" fmla="*/ 317 h 367"/>
                      <a:gd name="T12" fmla="*/ 106 w 394"/>
                      <a:gd name="T13" fmla="*/ 306 h 367"/>
                      <a:gd name="T14" fmla="*/ 0 w 394"/>
                      <a:gd name="T15" fmla="*/ 104 h 367"/>
                      <a:gd name="T16" fmla="*/ 17 w 394"/>
                      <a:gd name="T17" fmla="*/ 40 h 3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394" h="367">
                        <a:moveTo>
                          <a:pt x="17" y="40"/>
                        </a:moveTo>
                        <a:cubicBezTo>
                          <a:pt x="17" y="40"/>
                          <a:pt x="130" y="0"/>
                          <a:pt x="146" y="44"/>
                        </a:cubicBezTo>
                        <a:cubicBezTo>
                          <a:pt x="163" y="91"/>
                          <a:pt x="172" y="182"/>
                          <a:pt x="173" y="241"/>
                        </a:cubicBezTo>
                        <a:cubicBezTo>
                          <a:pt x="349" y="73"/>
                          <a:pt x="349" y="73"/>
                          <a:pt x="349" y="73"/>
                        </a:cubicBezTo>
                        <a:cubicBezTo>
                          <a:pt x="349" y="73"/>
                          <a:pt x="394" y="80"/>
                          <a:pt x="391" y="85"/>
                        </a:cubicBezTo>
                        <a:cubicBezTo>
                          <a:pt x="342" y="150"/>
                          <a:pt x="218" y="300"/>
                          <a:pt x="206" y="317"/>
                        </a:cubicBezTo>
                        <a:cubicBezTo>
                          <a:pt x="191" y="337"/>
                          <a:pt x="140" y="367"/>
                          <a:pt x="106" y="306"/>
                        </a:cubicBezTo>
                        <a:cubicBezTo>
                          <a:pt x="72" y="246"/>
                          <a:pt x="20" y="143"/>
                          <a:pt x="0" y="104"/>
                        </a:cubicBezTo>
                        <a:cubicBezTo>
                          <a:pt x="151" y="97"/>
                          <a:pt x="17" y="40"/>
                          <a:pt x="17" y="4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" name="Freeform 283">
                    <a:extLst>
                      <a:ext uri="{FF2B5EF4-FFF2-40B4-BE49-F238E27FC236}">
                        <a16:creationId xmlns:a16="http://schemas.microsoft.com/office/drawing/2014/main" id="{F2398F7C-2BF9-FFD2-A587-3D2B2234460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6813" y="4979195"/>
                    <a:ext cx="476250" cy="577850"/>
                  </a:xfrm>
                  <a:custGeom>
                    <a:avLst/>
                    <a:gdLst>
                      <a:gd name="T0" fmla="*/ 242 w 242"/>
                      <a:gd name="T1" fmla="*/ 295 h 295"/>
                      <a:gd name="T2" fmla="*/ 171 w 242"/>
                      <a:gd name="T3" fmla="*/ 242 h 295"/>
                      <a:gd name="T4" fmla="*/ 64 w 242"/>
                      <a:gd name="T5" fmla="*/ 159 h 295"/>
                      <a:gd name="T6" fmla="*/ 35 w 242"/>
                      <a:gd name="T7" fmla="*/ 0 h 295"/>
                      <a:gd name="T8" fmla="*/ 242 w 242"/>
                      <a:gd name="T9" fmla="*/ 295 h 2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2" h="295">
                        <a:moveTo>
                          <a:pt x="242" y="295"/>
                        </a:moveTo>
                        <a:cubicBezTo>
                          <a:pt x="242" y="295"/>
                          <a:pt x="196" y="254"/>
                          <a:pt x="171" y="242"/>
                        </a:cubicBezTo>
                        <a:cubicBezTo>
                          <a:pt x="130" y="221"/>
                          <a:pt x="93" y="197"/>
                          <a:pt x="64" y="159"/>
                        </a:cubicBezTo>
                        <a:cubicBezTo>
                          <a:pt x="0" y="74"/>
                          <a:pt x="35" y="0"/>
                          <a:pt x="35" y="0"/>
                        </a:cubicBezTo>
                        <a:cubicBezTo>
                          <a:pt x="242" y="295"/>
                          <a:pt x="242" y="295"/>
                          <a:pt x="242" y="295"/>
                        </a:cubicBezTo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2" name="Freeform 284">
                    <a:extLst>
                      <a:ext uri="{FF2B5EF4-FFF2-40B4-BE49-F238E27FC236}">
                        <a16:creationId xmlns:a16="http://schemas.microsoft.com/office/drawing/2014/main" id="{CAED59ED-72CD-FFAA-9D3A-CC0743AFFCD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66026" y="4920457"/>
                    <a:ext cx="841375" cy="669925"/>
                  </a:xfrm>
                  <a:custGeom>
                    <a:avLst/>
                    <a:gdLst>
                      <a:gd name="T0" fmla="*/ 231 w 428"/>
                      <a:gd name="T1" fmla="*/ 342 h 342"/>
                      <a:gd name="T2" fmla="*/ 52 w 428"/>
                      <a:gd name="T3" fmla="*/ 161 h 342"/>
                      <a:gd name="T4" fmla="*/ 7 w 428"/>
                      <a:gd name="T5" fmla="*/ 36 h 342"/>
                      <a:gd name="T6" fmla="*/ 46 w 428"/>
                      <a:gd name="T7" fmla="*/ 0 h 342"/>
                      <a:gd name="T8" fmla="*/ 238 w 428"/>
                      <a:gd name="T9" fmla="*/ 76 h 342"/>
                      <a:gd name="T10" fmla="*/ 428 w 428"/>
                      <a:gd name="T11" fmla="*/ 295 h 342"/>
                      <a:gd name="T12" fmla="*/ 231 w 428"/>
                      <a:gd name="T13" fmla="*/ 342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28" h="342">
                        <a:moveTo>
                          <a:pt x="231" y="342"/>
                        </a:moveTo>
                        <a:cubicBezTo>
                          <a:pt x="231" y="342"/>
                          <a:pt x="137" y="240"/>
                          <a:pt x="52" y="161"/>
                        </a:cubicBezTo>
                        <a:cubicBezTo>
                          <a:pt x="0" y="114"/>
                          <a:pt x="7" y="36"/>
                          <a:pt x="7" y="36"/>
                        </a:cubicBezTo>
                        <a:cubicBezTo>
                          <a:pt x="7" y="36"/>
                          <a:pt x="26" y="6"/>
                          <a:pt x="46" y="0"/>
                        </a:cubicBezTo>
                        <a:cubicBezTo>
                          <a:pt x="83" y="5"/>
                          <a:pt x="171" y="13"/>
                          <a:pt x="238" y="76"/>
                        </a:cubicBezTo>
                        <a:cubicBezTo>
                          <a:pt x="333" y="166"/>
                          <a:pt x="428" y="295"/>
                          <a:pt x="428" y="295"/>
                        </a:cubicBezTo>
                        <a:cubicBezTo>
                          <a:pt x="231" y="342"/>
                          <a:pt x="231" y="342"/>
                          <a:pt x="231" y="342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3" name="Freeform 285">
                    <a:extLst>
                      <a:ext uri="{FF2B5EF4-FFF2-40B4-BE49-F238E27FC236}">
                        <a16:creationId xmlns:a16="http://schemas.microsoft.com/office/drawing/2014/main" id="{928C2449-2609-C6E2-3602-20FB33981ED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704138" y="5168107"/>
                    <a:ext cx="355600" cy="409575"/>
                  </a:xfrm>
                  <a:custGeom>
                    <a:avLst/>
                    <a:gdLst>
                      <a:gd name="T0" fmla="*/ 0 w 181"/>
                      <a:gd name="T1" fmla="*/ 0 h 208"/>
                      <a:gd name="T2" fmla="*/ 88 w 181"/>
                      <a:gd name="T3" fmla="*/ 99 h 208"/>
                      <a:gd name="T4" fmla="*/ 164 w 181"/>
                      <a:gd name="T5" fmla="*/ 205 h 208"/>
                      <a:gd name="T6" fmla="*/ 181 w 181"/>
                      <a:gd name="T7" fmla="*/ 208 h 208"/>
                      <a:gd name="T8" fmla="*/ 88 w 181"/>
                      <a:gd name="T9" fmla="*/ 91 h 208"/>
                      <a:gd name="T10" fmla="*/ 0 w 181"/>
                      <a:gd name="T11" fmla="*/ 0 h 2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81" h="208">
                        <a:moveTo>
                          <a:pt x="0" y="0"/>
                        </a:moveTo>
                        <a:cubicBezTo>
                          <a:pt x="0" y="0"/>
                          <a:pt x="35" y="72"/>
                          <a:pt x="88" y="99"/>
                        </a:cubicBezTo>
                        <a:cubicBezTo>
                          <a:pt x="137" y="123"/>
                          <a:pt x="164" y="205"/>
                          <a:pt x="164" y="205"/>
                        </a:cubicBezTo>
                        <a:cubicBezTo>
                          <a:pt x="181" y="208"/>
                          <a:pt x="181" y="208"/>
                          <a:pt x="181" y="208"/>
                        </a:cubicBezTo>
                        <a:cubicBezTo>
                          <a:pt x="181" y="208"/>
                          <a:pt x="140" y="131"/>
                          <a:pt x="88" y="91"/>
                        </a:cubicBezTo>
                        <a:cubicBezTo>
                          <a:pt x="36" y="5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A0C9DC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4" name="Freeform 286">
                    <a:extLst>
                      <a:ext uri="{FF2B5EF4-FFF2-40B4-BE49-F238E27FC236}">
                        <a16:creationId xmlns:a16="http://schemas.microsoft.com/office/drawing/2014/main" id="{74899C92-1775-9C2F-A9FA-A10C9CD5E32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602538" y="4922045"/>
                    <a:ext cx="82550" cy="117475"/>
                  </a:xfrm>
                  <a:custGeom>
                    <a:avLst/>
                    <a:gdLst>
                      <a:gd name="T0" fmla="*/ 36 w 42"/>
                      <a:gd name="T1" fmla="*/ 0 h 60"/>
                      <a:gd name="T2" fmla="*/ 42 w 42"/>
                      <a:gd name="T3" fmla="*/ 4 h 60"/>
                      <a:gd name="T4" fmla="*/ 36 w 42"/>
                      <a:gd name="T5" fmla="*/ 52 h 60"/>
                      <a:gd name="T6" fmla="*/ 0 w 42"/>
                      <a:gd name="T7" fmla="*/ 47 h 60"/>
                      <a:gd name="T8" fmla="*/ 36 w 42"/>
                      <a:gd name="T9" fmla="*/ 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2" h="60">
                        <a:moveTo>
                          <a:pt x="36" y="0"/>
                        </a:moveTo>
                        <a:cubicBezTo>
                          <a:pt x="42" y="4"/>
                          <a:pt x="42" y="4"/>
                          <a:pt x="42" y="4"/>
                        </a:cubicBezTo>
                        <a:cubicBezTo>
                          <a:pt x="36" y="52"/>
                          <a:pt x="36" y="52"/>
                          <a:pt x="36" y="52"/>
                        </a:cubicBezTo>
                        <a:cubicBezTo>
                          <a:pt x="36" y="52"/>
                          <a:pt x="23" y="60"/>
                          <a:pt x="0" y="47"/>
                        </a:cubicBezTo>
                        <a:cubicBezTo>
                          <a:pt x="21" y="35"/>
                          <a:pt x="36" y="0"/>
                          <a:pt x="36" y="0"/>
                        </a:cubicBezTo>
                        <a:close/>
                      </a:path>
                    </a:pathLst>
                  </a:custGeom>
                  <a:solidFill>
                    <a:srgbClr val="1D99B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5" name="Freeform 287">
                    <a:extLst>
                      <a:ext uri="{FF2B5EF4-FFF2-40B4-BE49-F238E27FC236}">
                        <a16:creationId xmlns:a16="http://schemas.microsoft.com/office/drawing/2014/main" id="{D898A79C-CC9A-C2B8-220F-23A50B766B2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89838" y="5015707"/>
                    <a:ext cx="503238" cy="488950"/>
                  </a:xfrm>
                  <a:custGeom>
                    <a:avLst/>
                    <a:gdLst>
                      <a:gd name="T0" fmla="*/ 6 w 256"/>
                      <a:gd name="T1" fmla="*/ 0 h 249"/>
                      <a:gd name="T2" fmla="*/ 0 w 256"/>
                      <a:gd name="T3" fmla="*/ 10 h 249"/>
                      <a:gd name="T4" fmla="*/ 10 w 256"/>
                      <a:gd name="T5" fmla="*/ 24 h 249"/>
                      <a:gd name="T6" fmla="*/ 37 w 256"/>
                      <a:gd name="T7" fmla="*/ 123 h 249"/>
                      <a:gd name="T8" fmla="*/ 222 w 256"/>
                      <a:gd name="T9" fmla="*/ 249 h 249"/>
                      <a:gd name="T10" fmla="*/ 256 w 256"/>
                      <a:gd name="T11" fmla="*/ 231 h 249"/>
                      <a:gd name="T12" fmla="*/ 235 w 256"/>
                      <a:gd name="T13" fmla="*/ 193 h 249"/>
                      <a:gd name="T14" fmla="*/ 56 w 256"/>
                      <a:gd name="T15" fmla="*/ 106 h 249"/>
                      <a:gd name="T16" fmla="*/ 18 w 256"/>
                      <a:gd name="T17" fmla="*/ 21 h 249"/>
                      <a:gd name="T18" fmla="*/ 27 w 256"/>
                      <a:gd name="T19" fmla="*/ 6 h 249"/>
                      <a:gd name="T20" fmla="*/ 6 w 256"/>
                      <a:gd name="T21" fmla="*/ 0 h 2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56" h="249">
                        <a:moveTo>
                          <a:pt x="6" y="0"/>
                        </a:moveTo>
                        <a:cubicBezTo>
                          <a:pt x="6" y="0"/>
                          <a:pt x="2" y="4"/>
                          <a:pt x="0" y="10"/>
                        </a:cubicBezTo>
                        <a:cubicBezTo>
                          <a:pt x="3" y="16"/>
                          <a:pt x="10" y="24"/>
                          <a:pt x="10" y="24"/>
                        </a:cubicBezTo>
                        <a:cubicBezTo>
                          <a:pt x="10" y="24"/>
                          <a:pt x="6" y="73"/>
                          <a:pt x="37" y="123"/>
                        </a:cubicBezTo>
                        <a:cubicBezTo>
                          <a:pt x="84" y="200"/>
                          <a:pt x="222" y="249"/>
                          <a:pt x="222" y="249"/>
                        </a:cubicBezTo>
                        <a:cubicBezTo>
                          <a:pt x="256" y="231"/>
                          <a:pt x="256" y="231"/>
                          <a:pt x="256" y="231"/>
                        </a:cubicBezTo>
                        <a:cubicBezTo>
                          <a:pt x="235" y="193"/>
                          <a:pt x="235" y="193"/>
                          <a:pt x="235" y="193"/>
                        </a:cubicBezTo>
                        <a:cubicBezTo>
                          <a:pt x="235" y="193"/>
                          <a:pt x="111" y="175"/>
                          <a:pt x="56" y="106"/>
                        </a:cubicBezTo>
                        <a:cubicBezTo>
                          <a:pt x="18" y="58"/>
                          <a:pt x="18" y="21"/>
                          <a:pt x="18" y="21"/>
                        </a:cubicBezTo>
                        <a:cubicBezTo>
                          <a:pt x="18" y="21"/>
                          <a:pt x="24" y="13"/>
                          <a:pt x="27" y="6"/>
                        </a:cubicBezTo>
                        <a:cubicBezTo>
                          <a:pt x="15" y="5"/>
                          <a:pt x="6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6" name="Freeform 288">
                    <a:extLst>
                      <a:ext uri="{FF2B5EF4-FFF2-40B4-BE49-F238E27FC236}">
                        <a16:creationId xmlns:a16="http://schemas.microsoft.com/office/drawing/2014/main" id="{96F35EF2-EEE7-BB4A-929D-976591D9F44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67601" y="4853782"/>
                    <a:ext cx="206375" cy="160338"/>
                  </a:xfrm>
                  <a:custGeom>
                    <a:avLst/>
                    <a:gdLst>
                      <a:gd name="T0" fmla="*/ 105 w 105"/>
                      <a:gd name="T1" fmla="*/ 35 h 82"/>
                      <a:gd name="T2" fmla="*/ 93 w 105"/>
                      <a:gd name="T3" fmla="*/ 22 h 82"/>
                      <a:gd name="T4" fmla="*/ 67 w 105"/>
                      <a:gd name="T5" fmla="*/ 0 h 82"/>
                      <a:gd name="T6" fmla="*/ 54 w 105"/>
                      <a:gd name="T7" fmla="*/ 34 h 82"/>
                      <a:gd name="T8" fmla="*/ 34 w 105"/>
                      <a:gd name="T9" fmla="*/ 55 h 82"/>
                      <a:gd name="T10" fmla="*/ 0 w 105"/>
                      <a:gd name="T11" fmla="*/ 56 h 82"/>
                      <a:gd name="T12" fmla="*/ 69 w 105"/>
                      <a:gd name="T13" fmla="*/ 82 h 82"/>
                      <a:gd name="T14" fmla="*/ 105 w 105"/>
                      <a:gd name="T15" fmla="*/ 35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5" h="82">
                        <a:moveTo>
                          <a:pt x="105" y="35"/>
                        </a:moveTo>
                        <a:cubicBezTo>
                          <a:pt x="99" y="32"/>
                          <a:pt x="93" y="22"/>
                          <a:pt x="93" y="22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67" y="0"/>
                          <a:pt x="57" y="21"/>
                          <a:pt x="54" y="34"/>
                        </a:cubicBezTo>
                        <a:cubicBezTo>
                          <a:pt x="52" y="46"/>
                          <a:pt x="39" y="54"/>
                          <a:pt x="34" y="55"/>
                        </a:cubicBezTo>
                        <a:cubicBezTo>
                          <a:pt x="22" y="56"/>
                          <a:pt x="0" y="56"/>
                          <a:pt x="0" y="56"/>
                        </a:cubicBezTo>
                        <a:cubicBezTo>
                          <a:pt x="0" y="56"/>
                          <a:pt x="50" y="69"/>
                          <a:pt x="69" y="82"/>
                        </a:cubicBezTo>
                        <a:cubicBezTo>
                          <a:pt x="91" y="67"/>
                          <a:pt x="101" y="42"/>
                          <a:pt x="105" y="35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7" name="Freeform 289">
                    <a:extLst>
                      <a:ext uri="{FF2B5EF4-FFF2-40B4-BE49-F238E27FC236}">
                        <a16:creationId xmlns:a16="http://schemas.microsoft.com/office/drawing/2014/main" id="{2FCC4E50-D089-E9DF-E33B-AC2BA73C0FA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50138" y="4755357"/>
                    <a:ext cx="163513" cy="207963"/>
                  </a:xfrm>
                  <a:custGeom>
                    <a:avLst/>
                    <a:gdLst>
                      <a:gd name="T0" fmla="*/ 9 w 83"/>
                      <a:gd name="T1" fmla="*/ 106 h 106"/>
                      <a:gd name="T2" fmla="*/ 47 w 83"/>
                      <a:gd name="T3" fmla="*/ 105 h 106"/>
                      <a:gd name="T4" fmla="*/ 62 w 83"/>
                      <a:gd name="T5" fmla="*/ 91 h 106"/>
                      <a:gd name="T6" fmla="*/ 69 w 83"/>
                      <a:gd name="T7" fmla="*/ 69 h 106"/>
                      <a:gd name="T8" fmla="*/ 78 w 83"/>
                      <a:gd name="T9" fmla="*/ 62 h 106"/>
                      <a:gd name="T10" fmla="*/ 73 w 83"/>
                      <a:gd name="T11" fmla="*/ 48 h 106"/>
                      <a:gd name="T12" fmla="*/ 70 w 83"/>
                      <a:gd name="T13" fmla="*/ 6 h 106"/>
                      <a:gd name="T14" fmla="*/ 50 w 83"/>
                      <a:gd name="T15" fmla="*/ 0 h 106"/>
                      <a:gd name="T16" fmla="*/ 32 w 83"/>
                      <a:gd name="T17" fmla="*/ 10 h 106"/>
                      <a:gd name="T18" fmla="*/ 0 w 83"/>
                      <a:gd name="T19" fmla="*/ 60 h 106"/>
                      <a:gd name="T20" fmla="*/ 4 w 83"/>
                      <a:gd name="T21" fmla="*/ 63 h 106"/>
                      <a:gd name="T22" fmla="*/ 12 w 83"/>
                      <a:gd name="T23" fmla="*/ 65 h 106"/>
                      <a:gd name="T24" fmla="*/ 8 w 83"/>
                      <a:gd name="T25" fmla="*/ 105 h 106"/>
                      <a:gd name="T26" fmla="*/ 9 w 83"/>
                      <a:gd name="T27" fmla="*/ 106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83" h="106">
                        <a:moveTo>
                          <a:pt x="9" y="106"/>
                        </a:moveTo>
                        <a:cubicBezTo>
                          <a:pt x="19" y="106"/>
                          <a:pt x="38" y="106"/>
                          <a:pt x="47" y="105"/>
                        </a:cubicBezTo>
                        <a:cubicBezTo>
                          <a:pt x="60" y="104"/>
                          <a:pt x="62" y="91"/>
                          <a:pt x="62" y="91"/>
                        </a:cubicBezTo>
                        <a:cubicBezTo>
                          <a:pt x="69" y="69"/>
                          <a:pt x="69" y="69"/>
                          <a:pt x="69" y="69"/>
                        </a:cubicBezTo>
                        <a:cubicBezTo>
                          <a:pt x="69" y="69"/>
                          <a:pt x="74" y="67"/>
                          <a:pt x="78" y="62"/>
                        </a:cubicBezTo>
                        <a:cubicBezTo>
                          <a:pt x="80" y="60"/>
                          <a:pt x="83" y="52"/>
                          <a:pt x="73" y="48"/>
                        </a:cubicBezTo>
                        <a:cubicBezTo>
                          <a:pt x="58" y="42"/>
                          <a:pt x="70" y="6"/>
                          <a:pt x="70" y="6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0" y="60"/>
                          <a:pt x="0" y="63"/>
                          <a:pt x="4" y="63"/>
                        </a:cubicBezTo>
                        <a:cubicBezTo>
                          <a:pt x="7" y="63"/>
                          <a:pt x="12" y="65"/>
                          <a:pt x="12" y="65"/>
                        </a:cubicBezTo>
                        <a:cubicBezTo>
                          <a:pt x="12" y="65"/>
                          <a:pt x="8" y="102"/>
                          <a:pt x="8" y="105"/>
                        </a:cubicBezTo>
                        <a:cubicBezTo>
                          <a:pt x="8" y="106"/>
                          <a:pt x="9" y="106"/>
                          <a:pt x="9" y="106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8" name="Freeform 290">
                    <a:extLst>
                      <a:ext uri="{FF2B5EF4-FFF2-40B4-BE49-F238E27FC236}">
                        <a16:creationId xmlns:a16="http://schemas.microsoft.com/office/drawing/2014/main" id="{23899D33-5ADB-B5C7-482A-833DAE58BA8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91413" y="4823620"/>
                    <a:ext cx="33338" cy="17463"/>
                  </a:xfrm>
                  <a:custGeom>
                    <a:avLst/>
                    <a:gdLst>
                      <a:gd name="T0" fmla="*/ 1 w 17"/>
                      <a:gd name="T1" fmla="*/ 6 h 9"/>
                      <a:gd name="T2" fmla="*/ 4 w 17"/>
                      <a:gd name="T3" fmla="*/ 9 h 9"/>
                      <a:gd name="T4" fmla="*/ 15 w 17"/>
                      <a:gd name="T5" fmla="*/ 8 h 9"/>
                      <a:gd name="T6" fmla="*/ 2 w 17"/>
                      <a:gd name="T7" fmla="*/ 2 h 9"/>
                      <a:gd name="T8" fmla="*/ 1 w 17"/>
                      <a:gd name="T9" fmla="*/ 6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7" h="9">
                        <a:moveTo>
                          <a:pt x="1" y="6"/>
                        </a:moveTo>
                        <a:cubicBezTo>
                          <a:pt x="1" y="9"/>
                          <a:pt x="1" y="9"/>
                          <a:pt x="4" y="9"/>
                        </a:cubicBezTo>
                        <a:cubicBezTo>
                          <a:pt x="7" y="9"/>
                          <a:pt x="17" y="9"/>
                          <a:pt x="15" y="8"/>
                        </a:cubicBezTo>
                        <a:cubicBezTo>
                          <a:pt x="14" y="8"/>
                          <a:pt x="10" y="6"/>
                          <a:pt x="2" y="2"/>
                        </a:cubicBezTo>
                        <a:cubicBezTo>
                          <a:pt x="0" y="0"/>
                          <a:pt x="1" y="3"/>
                          <a:pt x="1" y="6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" name="Freeform 291">
                    <a:extLst>
                      <a:ext uri="{FF2B5EF4-FFF2-40B4-BE49-F238E27FC236}">
                        <a16:creationId xmlns:a16="http://schemas.microsoft.com/office/drawing/2014/main" id="{8B3B56D0-EB93-550C-5896-5CEA4974EC5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07288" y="4723607"/>
                    <a:ext cx="157163" cy="173038"/>
                  </a:xfrm>
                  <a:custGeom>
                    <a:avLst/>
                    <a:gdLst>
                      <a:gd name="T0" fmla="*/ 76 w 80"/>
                      <a:gd name="T1" fmla="*/ 31 h 88"/>
                      <a:gd name="T2" fmla="*/ 1 w 80"/>
                      <a:gd name="T3" fmla="*/ 14 h 88"/>
                      <a:gd name="T4" fmla="*/ 3 w 80"/>
                      <a:gd name="T5" fmla="*/ 26 h 88"/>
                      <a:gd name="T6" fmla="*/ 31 w 80"/>
                      <a:gd name="T7" fmla="*/ 35 h 88"/>
                      <a:gd name="T8" fmla="*/ 27 w 80"/>
                      <a:gd name="T9" fmla="*/ 78 h 88"/>
                      <a:gd name="T10" fmla="*/ 47 w 80"/>
                      <a:gd name="T11" fmla="*/ 66 h 88"/>
                      <a:gd name="T12" fmla="*/ 74 w 80"/>
                      <a:gd name="T13" fmla="*/ 88 h 88"/>
                      <a:gd name="T14" fmla="*/ 76 w 80"/>
                      <a:gd name="T15" fmla="*/ 31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0" h="88">
                        <a:moveTo>
                          <a:pt x="76" y="31"/>
                        </a:moveTo>
                        <a:cubicBezTo>
                          <a:pt x="26" y="2"/>
                          <a:pt x="6" y="0"/>
                          <a:pt x="1" y="14"/>
                        </a:cubicBezTo>
                        <a:cubicBezTo>
                          <a:pt x="0" y="17"/>
                          <a:pt x="0" y="22"/>
                          <a:pt x="3" y="26"/>
                        </a:cubicBezTo>
                        <a:cubicBezTo>
                          <a:pt x="19" y="24"/>
                          <a:pt x="35" y="24"/>
                          <a:pt x="31" y="35"/>
                        </a:cubicBezTo>
                        <a:cubicBezTo>
                          <a:pt x="30" y="39"/>
                          <a:pt x="13" y="76"/>
                          <a:pt x="27" y="78"/>
                        </a:cubicBezTo>
                        <a:cubicBezTo>
                          <a:pt x="30" y="73"/>
                          <a:pt x="37" y="60"/>
                          <a:pt x="47" y="66"/>
                        </a:cubicBezTo>
                        <a:cubicBezTo>
                          <a:pt x="53" y="69"/>
                          <a:pt x="47" y="83"/>
                          <a:pt x="74" y="88"/>
                        </a:cubicBezTo>
                        <a:cubicBezTo>
                          <a:pt x="76" y="66"/>
                          <a:pt x="80" y="39"/>
                          <a:pt x="76" y="31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" name="Freeform 292">
                    <a:extLst>
                      <a:ext uri="{FF2B5EF4-FFF2-40B4-BE49-F238E27FC236}">
                        <a16:creationId xmlns:a16="http://schemas.microsoft.com/office/drawing/2014/main" id="{1E006A99-95AC-7B6A-FFFA-B6672F36CA3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215188" y="4896645"/>
                    <a:ext cx="711200" cy="517525"/>
                  </a:xfrm>
                  <a:custGeom>
                    <a:avLst/>
                    <a:gdLst>
                      <a:gd name="T0" fmla="*/ 339 w 362"/>
                      <a:gd name="T1" fmla="*/ 123 h 264"/>
                      <a:gd name="T2" fmla="*/ 256 w 362"/>
                      <a:gd name="T3" fmla="*/ 236 h 264"/>
                      <a:gd name="T4" fmla="*/ 191 w 362"/>
                      <a:gd name="T5" fmla="*/ 262 h 264"/>
                      <a:gd name="T6" fmla="*/ 3 w 362"/>
                      <a:gd name="T7" fmla="*/ 259 h 264"/>
                      <a:gd name="T8" fmla="*/ 0 w 362"/>
                      <a:gd name="T9" fmla="*/ 236 h 264"/>
                      <a:gd name="T10" fmla="*/ 200 w 362"/>
                      <a:gd name="T11" fmla="*/ 220 h 264"/>
                      <a:gd name="T12" fmla="*/ 268 w 362"/>
                      <a:gd name="T13" fmla="*/ 58 h 264"/>
                      <a:gd name="T14" fmla="*/ 339 w 362"/>
                      <a:gd name="T15" fmla="*/ 123 h 2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62" h="264">
                        <a:moveTo>
                          <a:pt x="339" y="123"/>
                        </a:moveTo>
                        <a:cubicBezTo>
                          <a:pt x="316" y="156"/>
                          <a:pt x="262" y="228"/>
                          <a:pt x="256" y="236"/>
                        </a:cubicBezTo>
                        <a:cubicBezTo>
                          <a:pt x="249" y="243"/>
                          <a:pt x="241" y="262"/>
                          <a:pt x="191" y="262"/>
                        </a:cubicBezTo>
                        <a:cubicBezTo>
                          <a:pt x="126" y="264"/>
                          <a:pt x="3" y="259"/>
                          <a:pt x="3" y="259"/>
                        </a:cubicBezTo>
                        <a:cubicBezTo>
                          <a:pt x="3" y="259"/>
                          <a:pt x="1" y="247"/>
                          <a:pt x="0" y="236"/>
                        </a:cubicBezTo>
                        <a:cubicBezTo>
                          <a:pt x="71" y="229"/>
                          <a:pt x="200" y="220"/>
                          <a:pt x="200" y="220"/>
                        </a:cubicBezTo>
                        <a:cubicBezTo>
                          <a:pt x="200" y="220"/>
                          <a:pt x="250" y="92"/>
                          <a:pt x="268" y="58"/>
                        </a:cubicBezTo>
                        <a:cubicBezTo>
                          <a:pt x="315" y="0"/>
                          <a:pt x="362" y="89"/>
                          <a:pt x="339" y="123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" name="Freeform 293">
                    <a:extLst>
                      <a:ext uri="{FF2B5EF4-FFF2-40B4-BE49-F238E27FC236}">
                        <a16:creationId xmlns:a16="http://schemas.microsoft.com/office/drawing/2014/main" id="{9A81A0CD-4E29-8237-5D75-AE49CE50104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26326" y="6409532"/>
                    <a:ext cx="142875" cy="50800"/>
                  </a:xfrm>
                  <a:custGeom>
                    <a:avLst/>
                    <a:gdLst>
                      <a:gd name="T0" fmla="*/ 72 w 72"/>
                      <a:gd name="T1" fmla="*/ 4 h 26"/>
                      <a:gd name="T2" fmla="*/ 72 w 72"/>
                      <a:gd name="T3" fmla="*/ 26 h 26"/>
                      <a:gd name="T4" fmla="*/ 53 w 72"/>
                      <a:gd name="T5" fmla="*/ 26 h 26"/>
                      <a:gd name="T6" fmla="*/ 53 w 72"/>
                      <a:gd name="T7" fmla="*/ 18 h 26"/>
                      <a:gd name="T8" fmla="*/ 27 w 72"/>
                      <a:gd name="T9" fmla="*/ 26 h 26"/>
                      <a:gd name="T10" fmla="*/ 3 w 72"/>
                      <a:gd name="T11" fmla="*/ 25 h 26"/>
                      <a:gd name="T12" fmla="*/ 4 w 72"/>
                      <a:gd name="T13" fmla="*/ 20 h 26"/>
                      <a:gd name="T14" fmla="*/ 29 w 72"/>
                      <a:gd name="T15" fmla="*/ 13 h 26"/>
                      <a:gd name="T16" fmla="*/ 48 w 72"/>
                      <a:gd name="T17" fmla="*/ 0 h 26"/>
                      <a:gd name="T18" fmla="*/ 72 w 72"/>
                      <a:gd name="T19" fmla="*/ 4 h 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2" h="26">
                        <a:moveTo>
                          <a:pt x="72" y="4"/>
                        </a:moveTo>
                        <a:cubicBezTo>
                          <a:pt x="72" y="26"/>
                          <a:pt x="72" y="26"/>
                          <a:pt x="72" y="26"/>
                        </a:cubicBez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18"/>
                          <a:pt x="53" y="18"/>
                          <a:pt x="53" y="18"/>
                        </a:cubicBezTo>
                        <a:cubicBezTo>
                          <a:pt x="27" y="26"/>
                          <a:pt x="27" y="26"/>
                          <a:pt x="27" y="26"/>
                        </a:cubicBezTo>
                        <a:cubicBezTo>
                          <a:pt x="3" y="25"/>
                          <a:pt x="3" y="25"/>
                          <a:pt x="3" y="25"/>
                        </a:cubicBezTo>
                        <a:cubicBezTo>
                          <a:pt x="3" y="25"/>
                          <a:pt x="0" y="21"/>
                          <a:pt x="4" y="20"/>
                        </a:cubicBezTo>
                        <a:cubicBezTo>
                          <a:pt x="5" y="20"/>
                          <a:pt x="29" y="13"/>
                          <a:pt x="29" y="13"/>
                        </a:cubicBezTo>
                        <a:cubicBezTo>
                          <a:pt x="48" y="0"/>
                          <a:pt x="48" y="0"/>
                          <a:pt x="48" y="0"/>
                        </a:cubicBezTo>
                        <a:lnTo>
                          <a:pt x="72" y="4"/>
                        </a:lnTo>
                        <a:close/>
                      </a:path>
                    </a:pathLst>
                  </a:custGeom>
                  <a:solidFill>
                    <a:srgbClr val="17235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Freeform 294">
                    <a:extLst>
                      <a:ext uri="{FF2B5EF4-FFF2-40B4-BE49-F238E27FC236}">
                        <a16:creationId xmlns:a16="http://schemas.microsoft.com/office/drawing/2014/main" id="{47CA8AFC-18A4-BCEF-50EF-1E86DA9B355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2051" y="5498307"/>
                    <a:ext cx="1069975" cy="912813"/>
                  </a:xfrm>
                  <a:custGeom>
                    <a:avLst/>
                    <a:gdLst>
                      <a:gd name="T0" fmla="*/ 4 w 545"/>
                      <a:gd name="T1" fmla="*/ 465 h 465"/>
                      <a:gd name="T2" fmla="*/ 0 w 545"/>
                      <a:gd name="T3" fmla="*/ 147 h 465"/>
                      <a:gd name="T4" fmla="*/ 0 w 545"/>
                      <a:gd name="T5" fmla="*/ 147 h 465"/>
                      <a:gd name="T6" fmla="*/ 51 w 545"/>
                      <a:gd name="T7" fmla="*/ 77 h 465"/>
                      <a:gd name="T8" fmla="*/ 456 w 545"/>
                      <a:gd name="T9" fmla="*/ 0 h 465"/>
                      <a:gd name="T10" fmla="*/ 313 w 545"/>
                      <a:gd name="T11" fmla="*/ 160 h 465"/>
                      <a:gd name="T12" fmla="*/ 83 w 545"/>
                      <a:gd name="T13" fmla="*/ 160 h 465"/>
                      <a:gd name="T14" fmla="*/ 38 w 545"/>
                      <a:gd name="T15" fmla="*/ 463 h 465"/>
                      <a:gd name="T16" fmla="*/ 4 w 545"/>
                      <a:gd name="T17" fmla="*/ 465 h 4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545" h="465">
                        <a:moveTo>
                          <a:pt x="4" y="465"/>
                        </a:move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3" y="93"/>
                          <a:pt x="38" y="80"/>
                          <a:pt x="51" y="77"/>
                        </a:cubicBezTo>
                        <a:cubicBezTo>
                          <a:pt x="64" y="74"/>
                          <a:pt x="456" y="0"/>
                          <a:pt x="456" y="0"/>
                        </a:cubicBezTo>
                        <a:cubicBezTo>
                          <a:pt x="456" y="0"/>
                          <a:pt x="545" y="149"/>
                          <a:pt x="313" y="160"/>
                        </a:cubicBezTo>
                        <a:cubicBezTo>
                          <a:pt x="255" y="163"/>
                          <a:pt x="234" y="154"/>
                          <a:pt x="83" y="160"/>
                        </a:cubicBezTo>
                        <a:cubicBezTo>
                          <a:pt x="113" y="217"/>
                          <a:pt x="38" y="463"/>
                          <a:pt x="38" y="463"/>
                        </a:cubicBezTo>
                        <a:lnTo>
                          <a:pt x="4" y="46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3" name="Group 1028">
                  <a:extLst>
                    <a:ext uri="{FF2B5EF4-FFF2-40B4-BE49-F238E27FC236}">
                      <a16:creationId xmlns:a16="http://schemas.microsoft.com/office/drawing/2014/main" id="{945D054E-FF23-8300-69A8-99E194660F7F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683568" y="4089209"/>
                  <a:ext cx="936299" cy="705312"/>
                  <a:chOff x="9990467" y="4838701"/>
                  <a:chExt cx="1203326" cy="906463"/>
                </a:xfrm>
              </p:grpSpPr>
              <p:sp>
                <p:nvSpPr>
                  <p:cNvPr id="17" name="Freeform 277">
                    <a:extLst>
                      <a:ext uri="{FF2B5EF4-FFF2-40B4-BE49-F238E27FC236}">
                        <a16:creationId xmlns:a16="http://schemas.microsoft.com/office/drawing/2014/main" id="{82971CEC-8441-5217-823E-5B5D62BBDD3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990467" y="4922838"/>
                    <a:ext cx="176213" cy="80963"/>
                  </a:xfrm>
                  <a:custGeom>
                    <a:avLst/>
                    <a:gdLst>
                      <a:gd name="T0" fmla="*/ 37 w 89"/>
                      <a:gd name="T1" fmla="*/ 27 h 42"/>
                      <a:gd name="T2" fmla="*/ 13 w 89"/>
                      <a:gd name="T3" fmla="*/ 29 h 42"/>
                      <a:gd name="T4" fmla="*/ 17 w 89"/>
                      <a:gd name="T5" fmla="*/ 24 h 42"/>
                      <a:gd name="T6" fmla="*/ 24 w 89"/>
                      <a:gd name="T7" fmla="*/ 21 h 42"/>
                      <a:gd name="T8" fmla="*/ 10 w 89"/>
                      <a:gd name="T9" fmla="*/ 8 h 42"/>
                      <a:gd name="T10" fmla="*/ 6 w 89"/>
                      <a:gd name="T11" fmla="*/ 8 h 42"/>
                      <a:gd name="T12" fmla="*/ 3 w 89"/>
                      <a:gd name="T13" fmla="*/ 5 h 42"/>
                      <a:gd name="T14" fmla="*/ 10 w 89"/>
                      <a:gd name="T15" fmla="*/ 4 h 42"/>
                      <a:gd name="T16" fmla="*/ 2 w 89"/>
                      <a:gd name="T17" fmla="*/ 3 h 42"/>
                      <a:gd name="T18" fmla="*/ 1 w 89"/>
                      <a:gd name="T19" fmla="*/ 0 h 42"/>
                      <a:gd name="T20" fmla="*/ 18 w 89"/>
                      <a:gd name="T21" fmla="*/ 1 h 42"/>
                      <a:gd name="T22" fmla="*/ 37 w 89"/>
                      <a:gd name="T23" fmla="*/ 16 h 42"/>
                      <a:gd name="T24" fmla="*/ 88 w 89"/>
                      <a:gd name="T25" fmla="*/ 24 h 42"/>
                      <a:gd name="T26" fmla="*/ 84 w 89"/>
                      <a:gd name="T27" fmla="*/ 42 h 42"/>
                      <a:gd name="T28" fmla="*/ 37 w 89"/>
                      <a:gd name="T29" fmla="*/ 27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89" h="42">
                        <a:moveTo>
                          <a:pt x="37" y="27"/>
                        </a:moveTo>
                        <a:cubicBezTo>
                          <a:pt x="28" y="27"/>
                          <a:pt x="13" y="29"/>
                          <a:pt x="13" y="29"/>
                        </a:cubicBezTo>
                        <a:cubicBezTo>
                          <a:pt x="13" y="29"/>
                          <a:pt x="14" y="24"/>
                          <a:pt x="17" y="24"/>
                        </a:cubicBezTo>
                        <a:cubicBezTo>
                          <a:pt x="23" y="23"/>
                          <a:pt x="24" y="21"/>
                          <a:pt x="24" y="21"/>
                        </a:cubicBezTo>
                        <a:cubicBezTo>
                          <a:pt x="10" y="8"/>
                          <a:pt x="10" y="8"/>
                          <a:pt x="10" y="8"/>
                        </a:cubicBezTo>
                        <a:cubicBezTo>
                          <a:pt x="6" y="8"/>
                          <a:pt x="6" y="8"/>
                          <a:pt x="6" y="8"/>
                        </a:cubicBezTo>
                        <a:cubicBezTo>
                          <a:pt x="3" y="5"/>
                          <a:pt x="3" y="5"/>
                          <a:pt x="3" y="5"/>
                        </a:cubicBezTo>
                        <a:cubicBezTo>
                          <a:pt x="10" y="4"/>
                          <a:pt x="10" y="4"/>
                          <a:pt x="10" y="4"/>
                        </a:cubicBezTo>
                        <a:cubicBezTo>
                          <a:pt x="10" y="4"/>
                          <a:pt x="3" y="4"/>
                          <a:pt x="2" y="3"/>
                        </a:cubicBezTo>
                        <a:cubicBezTo>
                          <a:pt x="1" y="2"/>
                          <a:pt x="0" y="0"/>
                          <a:pt x="1" y="0"/>
                        </a:cubicBezTo>
                        <a:cubicBezTo>
                          <a:pt x="9" y="0"/>
                          <a:pt x="17" y="0"/>
                          <a:pt x="18" y="1"/>
                        </a:cubicBezTo>
                        <a:cubicBezTo>
                          <a:pt x="20" y="2"/>
                          <a:pt x="37" y="16"/>
                          <a:pt x="37" y="16"/>
                        </a:cubicBezTo>
                        <a:cubicBezTo>
                          <a:pt x="88" y="24"/>
                          <a:pt x="88" y="24"/>
                          <a:pt x="88" y="24"/>
                        </a:cubicBezTo>
                        <a:cubicBezTo>
                          <a:pt x="88" y="24"/>
                          <a:pt x="89" y="34"/>
                          <a:pt x="84" y="42"/>
                        </a:cubicBezTo>
                        <a:cubicBezTo>
                          <a:pt x="84" y="42"/>
                          <a:pt x="37" y="27"/>
                          <a:pt x="37" y="27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" name="Freeform 220">
                    <a:extLst>
                      <a:ext uri="{FF2B5EF4-FFF2-40B4-BE49-F238E27FC236}">
                        <a16:creationId xmlns:a16="http://schemas.microsoft.com/office/drawing/2014/main" id="{77A9485E-B78D-F145-957C-6BC10FD962B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00042" y="4918076"/>
                    <a:ext cx="52388" cy="66675"/>
                  </a:xfrm>
                  <a:custGeom>
                    <a:avLst/>
                    <a:gdLst>
                      <a:gd name="T0" fmla="*/ 18 w 28"/>
                      <a:gd name="T1" fmla="*/ 23 h 36"/>
                      <a:gd name="T2" fmla="*/ 24 w 28"/>
                      <a:gd name="T3" fmla="*/ 33 h 36"/>
                      <a:gd name="T4" fmla="*/ 28 w 28"/>
                      <a:gd name="T5" fmla="*/ 33 h 36"/>
                      <a:gd name="T6" fmla="*/ 26 w 28"/>
                      <a:gd name="T7" fmla="*/ 17 h 36"/>
                      <a:gd name="T8" fmla="*/ 15 w 28"/>
                      <a:gd name="T9" fmla="*/ 7 h 36"/>
                      <a:gd name="T10" fmla="*/ 25 w 28"/>
                      <a:gd name="T11" fmla="*/ 6 h 36"/>
                      <a:gd name="T12" fmla="*/ 24 w 28"/>
                      <a:gd name="T13" fmla="*/ 1 h 36"/>
                      <a:gd name="T14" fmla="*/ 7 w 28"/>
                      <a:gd name="T15" fmla="*/ 0 h 36"/>
                      <a:gd name="T16" fmla="*/ 0 w 28"/>
                      <a:gd name="T17" fmla="*/ 1 h 36"/>
                      <a:gd name="T18" fmla="*/ 9 w 28"/>
                      <a:gd name="T19" fmla="*/ 9 h 36"/>
                      <a:gd name="T20" fmla="*/ 18 w 28"/>
                      <a:gd name="T21" fmla="*/ 23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8" h="36">
                        <a:moveTo>
                          <a:pt x="18" y="23"/>
                        </a:moveTo>
                        <a:cubicBezTo>
                          <a:pt x="20" y="26"/>
                          <a:pt x="24" y="32"/>
                          <a:pt x="24" y="33"/>
                        </a:cubicBezTo>
                        <a:cubicBezTo>
                          <a:pt x="25" y="36"/>
                          <a:pt x="28" y="33"/>
                          <a:pt x="28" y="33"/>
                        </a:cubicBezTo>
                        <a:cubicBezTo>
                          <a:pt x="28" y="33"/>
                          <a:pt x="27" y="20"/>
                          <a:pt x="26" y="17"/>
                        </a:cubicBezTo>
                        <a:cubicBezTo>
                          <a:pt x="26" y="15"/>
                          <a:pt x="15" y="7"/>
                          <a:pt x="15" y="7"/>
                        </a:cubicBezTo>
                        <a:cubicBezTo>
                          <a:pt x="25" y="6"/>
                          <a:pt x="25" y="6"/>
                          <a:pt x="25" y="6"/>
                        </a:cubicBezTo>
                        <a:cubicBezTo>
                          <a:pt x="24" y="1"/>
                          <a:pt x="24" y="1"/>
                          <a:pt x="24" y="1"/>
                        </a:cubicBezTo>
                        <a:cubicBezTo>
                          <a:pt x="24" y="1"/>
                          <a:pt x="15" y="1"/>
                          <a:pt x="7" y="0"/>
                        </a:cubicBezTo>
                        <a:cubicBezTo>
                          <a:pt x="3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9" y="9"/>
                        </a:cubicBezTo>
                        <a:cubicBezTo>
                          <a:pt x="18" y="15"/>
                          <a:pt x="18" y="21"/>
                          <a:pt x="18" y="2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" name="Freeform 260">
                    <a:extLst>
                      <a:ext uri="{FF2B5EF4-FFF2-40B4-BE49-F238E27FC236}">
                        <a16:creationId xmlns:a16="http://schemas.microsoft.com/office/drawing/2014/main" id="{B53051C2-D8BB-3DC4-8943-47CBD26DD46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58805" y="5259389"/>
                    <a:ext cx="534988" cy="322263"/>
                  </a:xfrm>
                  <a:custGeom>
                    <a:avLst/>
                    <a:gdLst>
                      <a:gd name="T0" fmla="*/ 270 w 272"/>
                      <a:gd name="T1" fmla="*/ 136 h 164"/>
                      <a:gd name="T2" fmla="*/ 262 w 272"/>
                      <a:gd name="T3" fmla="*/ 138 h 164"/>
                      <a:gd name="T4" fmla="*/ 271 w 272"/>
                      <a:gd name="T5" fmla="*/ 147 h 164"/>
                      <a:gd name="T6" fmla="*/ 272 w 272"/>
                      <a:gd name="T7" fmla="*/ 157 h 164"/>
                      <a:gd name="T8" fmla="*/ 269 w 272"/>
                      <a:gd name="T9" fmla="*/ 157 h 164"/>
                      <a:gd name="T10" fmla="*/ 265 w 272"/>
                      <a:gd name="T11" fmla="*/ 150 h 164"/>
                      <a:gd name="T12" fmla="*/ 251 w 272"/>
                      <a:gd name="T13" fmla="*/ 141 h 164"/>
                      <a:gd name="T14" fmla="*/ 146 w 272"/>
                      <a:gd name="T15" fmla="*/ 156 h 164"/>
                      <a:gd name="T16" fmla="*/ 92 w 272"/>
                      <a:gd name="T17" fmla="*/ 164 h 164"/>
                      <a:gd name="T18" fmla="*/ 65 w 272"/>
                      <a:gd name="T19" fmla="*/ 148 h 164"/>
                      <a:gd name="T20" fmla="*/ 0 w 272"/>
                      <a:gd name="T21" fmla="*/ 9 h 164"/>
                      <a:gd name="T22" fmla="*/ 76 w 272"/>
                      <a:gd name="T23" fmla="*/ 19 h 164"/>
                      <a:gd name="T24" fmla="*/ 93 w 272"/>
                      <a:gd name="T25" fmla="*/ 134 h 164"/>
                      <a:gd name="T26" fmla="*/ 251 w 272"/>
                      <a:gd name="T27" fmla="*/ 132 h 164"/>
                      <a:gd name="T28" fmla="*/ 257 w 272"/>
                      <a:gd name="T29" fmla="*/ 132 h 164"/>
                      <a:gd name="T30" fmla="*/ 270 w 272"/>
                      <a:gd name="T31" fmla="*/ 133 h 164"/>
                      <a:gd name="T32" fmla="*/ 270 w 272"/>
                      <a:gd name="T33" fmla="*/ 136 h 1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272" h="164">
                        <a:moveTo>
                          <a:pt x="270" y="136"/>
                        </a:moveTo>
                        <a:cubicBezTo>
                          <a:pt x="262" y="138"/>
                          <a:pt x="262" y="138"/>
                          <a:pt x="262" y="138"/>
                        </a:cubicBezTo>
                        <a:cubicBezTo>
                          <a:pt x="271" y="147"/>
                          <a:pt x="271" y="147"/>
                          <a:pt x="271" y="147"/>
                        </a:cubicBezTo>
                        <a:cubicBezTo>
                          <a:pt x="272" y="157"/>
                          <a:pt x="272" y="157"/>
                          <a:pt x="272" y="157"/>
                        </a:cubicBezTo>
                        <a:cubicBezTo>
                          <a:pt x="272" y="157"/>
                          <a:pt x="270" y="159"/>
                          <a:pt x="269" y="157"/>
                        </a:cubicBezTo>
                        <a:cubicBezTo>
                          <a:pt x="269" y="156"/>
                          <a:pt x="265" y="150"/>
                          <a:pt x="265" y="150"/>
                        </a:cubicBezTo>
                        <a:cubicBezTo>
                          <a:pt x="251" y="141"/>
                          <a:pt x="251" y="141"/>
                          <a:pt x="251" y="141"/>
                        </a:cubicBezTo>
                        <a:cubicBezTo>
                          <a:pt x="146" y="156"/>
                          <a:pt x="146" y="156"/>
                          <a:pt x="146" y="156"/>
                        </a:cubicBezTo>
                        <a:cubicBezTo>
                          <a:pt x="92" y="164"/>
                          <a:pt x="92" y="164"/>
                          <a:pt x="92" y="164"/>
                        </a:cubicBezTo>
                        <a:cubicBezTo>
                          <a:pt x="92" y="164"/>
                          <a:pt x="76" y="163"/>
                          <a:pt x="65" y="148"/>
                        </a:cubicBezTo>
                        <a:cubicBezTo>
                          <a:pt x="62" y="143"/>
                          <a:pt x="0" y="9"/>
                          <a:pt x="0" y="9"/>
                        </a:cubicBezTo>
                        <a:cubicBezTo>
                          <a:pt x="0" y="9"/>
                          <a:pt x="64" y="0"/>
                          <a:pt x="76" y="19"/>
                        </a:cubicBezTo>
                        <a:cubicBezTo>
                          <a:pt x="91" y="45"/>
                          <a:pt x="92" y="106"/>
                          <a:pt x="93" y="134"/>
                        </a:cubicBezTo>
                        <a:cubicBezTo>
                          <a:pt x="105" y="124"/>
                          <a:pt x="196" y="133"/>
                          <a:pt x="251" y="132"/>
                        </a:cubicBezTo>
                        <a:cubicBezTo>
                          <a:pt x="253" y="132"/>
                          <a:pt x="257" y="132"/>
                          <a:pt x="257" y="132"/>
                        </a:cubicBezTo>
                        <a:cubicBezTo>
                          <a:pt x="270" y="133"/>
                          <a:pt x="270" y="133"/>
                          <a:pt x="270" y="133"/>
                        </a:cubicBezTo>
                        <a:lnTo>
                          <a:pt x="270" y="136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" name="Freeform 261">
                    <a:extLst>
                      <a:ext uri="{FF2B5EF4-FFF2-40B4-BE49-F238E27FC236}">
                        <a16:creationId xmlns:a16="http://schemas.microsoft.com/office/drawing/2014/main" id="{25F15742-EF21-299F-7258-EC1DCA8A90D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52517" y="5516564"/>
                    <a:ext cx="41275" cy="57150"/>
                  </a:xfrm>
                  <a:custGeom>
                    <a:avLst/>
                    <a:gdLst>
                      <a:gd name="T0" fmla="*/ 14 w 21"/>
                      <a:gd name="T1" fmla="*/ 19 h 29"/>
                      <a:gd name="T2" fmla="*/ 18 w 21"/>
                      <a:gd name="T3" fmla="*/ 26 h 29"/>
                      <a:gd name="T4" fmla="*/ 21 w 21"/>
                      <a:gd name="T5" fmla="*/ 27 h 29"/>
                      <a:gd name="T6" fmla="*/ 20 w 21"/>
                      <a:gd name="T7" fmla="*/ 15 h 29"/>
                      <a:gd name="T8" fmla="*/ 11 w 21"/>
                      <a:gd name="T9" fmla="*/ 7 h 29"/>
                      <a:gd name="T10" fmla="*/ 19 w 21"/>
                      <a:gd name="T11" fmla="*/ 5 h 29"/>
                      <a:gd name="T12" fmla="*/ 19 w 21"/>
                      <a:gd name="T13" fmla="*/ 1 h 29"/>
                      <a:gd name="T14" fmla="*/ 6 w 21"/>
                      <a:gd name="T15" fmla="*/ 1 h 29"/>
                      <a:gd name="T16" fmla="*/ 0 w 21"/>
                      <a:gd name="T17" fmla="*/ 1 h 29"/>
                      <a:gd name="T18" fmla="*/ 6 w 21"/>
                      <a:gd name="T19" fmla="*/ 8 h 29"/>
                      <a:gd name="T20" fmla="*/ 14 w 21"/>
                      <a:gd name="T21" fmla="*/ 19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1" h="29">
                        <a:moveTo>
                          <a:pt x="14" y="19"/>
                        </a:moveTo>
                        <a:cubicBezTo>
                          <a:pt x="15" y="21"/>
                          <a:pt x="18" y="26"/>
                          <a:pt x="18" y="26"/>
                        </a:cubicBezTo>
                        <a:cubicBezTo>
                          <a:pt x="19" y="29"/>
                          <a:pt x="21" y="27"/>
                          <a:pt x="21" y="27"/>
                        </a:cubicBezTo>
                        <a:cubicBezTo>
                          <a:pt x="21" y="27"/>
                          <a:pt x="20" y="17"/>
                          <a:pt x="20" y="15"/>
                        </a:cubicBezTo>
                        <a:cubicBezTo>
                          <a:pt x="20" y="12"/>
                          <a:pt x="11" y="7"/>
                          <a:pt x="11" y="7"/>
                        </a:cubicBezTo>
                        <a:cubicBezTo>
                          <a:pt x="19" y="5"/>
                          <a:pt x="19" y="5"/>
                          <a:pt x="19" y="5"/>
                        </a:cubicBezTo>
                        <a:cubicBezTo>
                          <a:pt x="19" y="1"/>
                          <a:pt x="19" y="1"/>
                          <a:pt x="19" y="1"/>
                        </a:cubicBezTo>
                        <a:cubicBezTo>
                          <a:pt x="19" y="1"/>
                          <a:pt x="11" y="1"/>
                          <a:pt x="6" y="1"/>
                        </a:cubicBezTo>
                        <a:cubicBezTo>
                          <a:pt x="2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6" y="8"/>
                        </a:cubicBezTo>
                        <a:cubicBezTo>
                          <a:pt x="14" y="12"/>
                          <a:pt x="13" y="17"/>
                          <a:pt x="14" y="1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" name="Freeform 262">
                    <a:extLst>
                      <a:ext uri="{FF2B5EF4-FFF2-40B4-BE49-F238E27FC236}">
                        <a16:creationId xmlns:a16="http://schemas.microsoft.com/office/drawing/2014/main" id="{8BD03BE7-03ED-883F-E034-47AF5F86E9C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39692" y="4965701"/>
                    <a:ext cx="346075" cy="90488"/>
                  </a:xfrm>
                  <a:custGeom>
                    <a:avLst/>
                    <a:gdLst>
                      <a:gd name="T0" fmla="*/ 3 w 176"/>
                      <a:gd name="T1" fmla="*/ 0 h 46"/>
                      <a:gd name="T2" fmla="*/ 47 w 176"/>
                      <a:gd name="T3" fmla="*/ 6 h 46"/>
                      <a:gd name="T4" fmla="*/ 133 w 176"/>
                      <a:gd name="T5" fmla="*/ 5 h 46"/>
                      <a:gd name="T6" fmla="*/ 167 w 176"/>
                      <a:gd name="T7" fmla="*/ 22 h 46"/>
                      <a:gd name="T8" fmla="*/ 145 w 176"/>
                      <a:gd name="T9" fmla="*/ 46 h 46"/>
                      <a:gd name="T10" fmla="*/ 0 w 176"/>
                      <a:gd name="T11" fmla="*/ 19 h 46"/>
                      <a:gd name="T12" fmla="*/ 3 w 176"/>
                      <a:gd name="T13" fmla="*/ 0 h 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76" h="46">
                        <a:moveTo>
                          <a:pt x="3" y="0"/>
                        </a:moveTo>
                        <a:cubicBezTo>
                          <a:pt x="10" y="1"/>
                          <a:pt x="29" y="5"/>
                          <a:pt x="47" y="6"/>
                        </a:cubicBezTo>
                        <a:cubicBezTo>
                          <a:pt x="79" y="8"/>
                          <a:pt x="93" y="6"/>
                          <a:pt x="133" y="5"/>
                        </a:cubicBezTo>
                        <a:cubicBezTo>
                          <a:pt x="176" y="3"/>
                          <a:pt x="167" y="22"/>
                          <a:pt x="167" y="22"/>
                        </a:cubicBezTo>
                        <a:cubicBezTo>
                          <a:pt x="167" y="22"/>
                          <a:pt x="152" y="40"/>
                          <a:pt x="145" y="46"/>
                        </a:cubicBezTo>
                        <a:cubicBezTo>
                          <a:pt x="68" y="36"/>
                          <a:pt x="21" y="25"/>
                          <a:pt x="0" y="19"/>
                        </a:cubicBezTo>
                        <a:cubicBezTo>
                          <a:pt x="0" y="19"/>
                          <a:pt x="1" y="4"/>
                          <a:pt x="3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" name="Freeform 263">
                    <a:extLst>
                      <a:ext uri="{FF2B5EF4-FFF2-40B4-BE49-F238E27FC236}">
                        <a16:creationId xmlns:a16="http://schemas.microsoft.com/office/drawing/2014/main" id="{F0E6A180-6CE4-6F41-099E-0BCDD315A80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74642" y="4941889"/>
                    <a:ext cx="420688" cy="288925"/>
                  </a:xfrm>
                  <a:custGeom>
                    <a:avLst/>
                    <a:gdLst>
                      <a:gd name="T0" fmla="*/ 126 w 214"/>
                      <a:gd name="T1" fmla="*/ 147 h 147"/>
                      <a:gd name="T2" fmla="*/ 63 w 214"/>
                      <a:gd name="T3" fmla="*/ 110 h 147"/>
                      <a:gd name="T4" fmla="*/ 7 w 214"/>
                      <a:gd name="T5" fmla="*/ 22 h 147"/>
                      <a:gd name="T6" fmla="*/ 28 w 214"/>
                      <a:gd name="T7" fmla="*/ 8 h 147"/>
                      <a:gd name="T8" fmla="*/ 130 w 214"/>
                      <a:gd name="T9" fmla="*/ 44 h 147"/>
                      <a:gd name="T10" fmla="*/ 214 w 214"/>
                      <a:gd name="T11" fmla="*/ 136 h 147"/>
                      <a:gd name="T12" fmla="*/ 126 w 214"/>
                      <a:gd name="T13" fmla="*/ 147 h 1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14" h="147">
                        <a:moveTo>
                          <a:pt x="126" y="147"/>
                        </a:moveTo>
                        <a:cubicBezTo>
                          <a:pt x="123" y="141"/>
                          <a:pt x="112" y="111"/>
                          <a:pt x="63" y="110"/>
                        </a:cubicBezTo>
                        <a:cubicBezTo>
                          <a:pt x="0" y="108"/>
                          <a:pt x="7" y="22"/>
                          <a:pt x="7" y="22"/>
                        </a:cubicBezTo>
                        <a:cubicBezTo>
                          <a:pt x="7" y="22"/>
                          <a:pt x="18" y="11"/>
                          <a:pt x="28" y="8"/>
                        </a:cubicBezTo>
                        <a:cubicBezTo>
                          <a:pt x="53" y="0"/>
                          <a:pt x="94" y="11"/>
                          <a:pt x="130" y="44"/>
                        </a:cubicBezTo>
                        <a:cubicBezTo>
                          <a:pt x="181" y="90"/>
                          <a:pt x="214" y="136"/>
                          <a:pt x="214" y="136"/>
                        </a:cubicBezTo>
                        <a:cubicBezTo>
                          <a:pt x="214" y="136"/>
                          <a:pt x="175" y="134"/>
                          <a:pt x="126" y="147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" name="Freeform 264">
                    <a:extLst>
                      <a:ext uri="{FF2B5EF4-FFF2-40B4-BE49-F238E27FC236}">
                        <a16:creationId xmlns:a16="http://schemas.microsoft.com/office/drawing/2014/main" id="{CE861334-B49A-30F8-47B5-B6E248470CF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5580" y="5221289"/>
                    <a:ext cx="611188" cy="523875"/>
                  </a:xfrm>
                  <a:custGeom>
                    <a:avLst/>
                    <a:gdLst>
                      <a:gd name="T0" fmla="*/ 2 w 311"/>
                      <a:gd name="T1" fmla="*/ 259 h 267"/>
                      <a:gd name="T2" fmla="*/ 10 w 311"/>
                      <a:gd name="T3" fmla="*/ 257 h 267"/>
                      <a:gd name="T4" fmla="*/ 22 w 311"/>
                      <a:gd name="T5" fmla="*/ 247 h 267"/>
                      <a:gd name="T6" fmla="*/ 44 w 311"/>
                      <a:gd name="T7" fmla="*/ 81 h 267"/>
                      <a:gd name="T8" fmla="*/ 44 w 311"/>
                      <a:gd name="T9" fmla="*/ 81 h 267"/>
                      <a:gd name="T10" fmla="*/ 66 w 311"/>
                      <a:gd name="T11" fmla="*/ 42 h 267"/>
                      <a:gd name="T12" fmla="*/ 276 w 311"/>
                      <a:gd name="T13" fmla="*/ 0 h 267"/>
                      <a:gd name="T14" fmla="*/ 213 w 311"/>
                      <a:gd name="T15" fmla="*/ 71 h 267"/>
                      <a:gd name="T16" fmla="*/ 82 w 311"/>
                      <a:gd name="T17" fmla="*/ 79 h 267"/>
                      <a:gd name="T18" fmla="*/ 31 w 311"/>
                      <a:gd name="T19" fmla="*/ 249 h 267"/>
                      <a:gd name="T20" fmla="*/ 29 w 311"/>
                      <a:gd name="T21" fmla="*/ 255 h 267"/>
                      <a:gd name="T22" fmla="*/ 25 w 311"/>
                      <a:gd name="T23" fmla="*/ 267 h 267"/>
                      <a:gd name="T24" fmla="*/ 22 w 311"/>
                      <a:gd name="T25" fmla="*/ 266 h 267"/>
                      <a:gd name="T26" fmla="*/ 22 w 311"/>
                      <a:gd name="T27" fmla="*/ 259 h 267"/>
                      <a:gd name="T28" fmla="*/ 11 w 311"/>
                      <a:gd name="T29" fmla="*/ 264 h 267"/>
                      <a:gd name="T30" fmla="*/ 1 w 311"/>
                      <a:gd name="T31" fmla="*/ 262 h 267"/>
                      <a:gd name="T32" fmla="*/ 2 w 311"/>
                      <a:gd name="T33" fmla="*/ 259 h 2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11" h="267">
                        <a:moveTo>
                          <a:pt x="2" y="259"/>
                        </a:moveTo>
                        <a:cubicBezTo>
                          <a:pt x="3" y="259"/>
                          <a:pt x="10" y="257"/>
                          <a:pt x="10" y="257"/>
                        </a:cubicBezTo>
                        <a:cubicBezTo>
                          <a:pt x="22" y="247"/>
                          <a:pt x="22" y="247"/>
                          <a:pt x="22" y="247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2" y="52"/>
                          <a:pt x="66" y="42"/>
                          <a:pt x="66" y="42"/>
                        </a:cubicBezTo>
                        <a:cubicBezTo>
                          <a:pt x="276" y="0"/>
                          <a:pt x="276" y="0"/>
                          <a:pt x="276" y="0"/>
                        </a:cubicBezTo>
                        <a:cubicBezTo>
                          <a:pt x="276" y="0"/>
                          <a:pt x="311" y="59"/>
                          <a:pt x="213" y="71"/>
                        </a:cubicBezTo>
                        <a:cubicBezTo>
                          <a:pt x="182" y="74"/>
                          <a:pt x="161" y="70"/>
                          <a:pt x="82" y="79"/>
                        </a:cubicBezTo>
                        <a:cubicBezTo>
                          <a:pt x="99" y="107"/>
                          <a:pt x="31" y="249"/>
                          <a:pt x="31" y="249"/>
                        </a:cubicBezTo>
                        <a:cubicBezTo>
                          <a:pt x="29" y="255"/>
                          <a:pt x="29" y="255"/>
                          <a:pt x="29" y="255"/>
                        </a:cubicBezTo>
                        <a:cubicBezTo>
                          <a:pt x="25" y="267"/>
                          <a:pt x="25" y="267"/>
                          <a:pt x="25" y="267"/>
                        </a:cubicBezTo>
                        <a:cubicBezTo>
                          <a:pt x="22" y="266"/>
                          <a:pt x="22" y="266"/>
                          <a:pt x="22" y="266"/>
                        </a:cubicBezTo>
                        <a:cubicBezTo>
                          <a:pt x="22" y="259"/>
                          <a:pt x="22" y="259"/>
                          <a:pt x="22" y="259"/>
                        </a:cubicBezTo>
                        <a:cubicBezTo>
                          <a:pt x="11" y="264"/>
                          <a:pt x="11" y="264"/>
                          <a:pt x="11" y="264"/>
                        </a:cubicBezTo>
                        <a:cubicBezTo>
                          <a:pt x="1" y="262"/>
                          <a:pt x="1" y="262"/>
                          <a:pt x="1" y="262"/>
                        </a:cubicBezTo>
                        <a:cubicBezTo>
                          <a:pt x="1" y="262"/>
                          <a:pt x="0" y="259"/>
                          <a:pt x="2" y="25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" name="Freeform 265">
                    <a:extLst>
                      <a:ext uri="{FF2B5EF4-FFF2-40B4-BE49-F238E27FC236}">
                        <a16:creationId xmlns:a16="http://schemas.microsoft.com/office/drawing/2014/main" id="{A06A7C9B-802D-EBC6-C9C7-68AE71D539B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4167" y="5197476"/>
                    <a:ext cx="487363" cy="219075"/>
                  </a:xfrm>
                  <a:custGeom>
                    <a:avLst/>
                    <a:gdLst>
                      <a:gd name="T0" fmla="*/ 206 w 248"/>
                      <a:gd name="T1" fmla="*/ 0 h 112"/>
                      <a:gd name="T2" fmla="*/ 248 w 248"/>
                      <a:gd name="T3" fmla="*/ 97 h 112"/>
                      <a:gd name="T4" fmla="*/ 26 w 248"/>
                      <a:gd name="T5" fmla="*/ 83 h 112"/>
                      <a:gd name="T6" fmla="*/ 0 w 248"/>
                      <a:gd name="T7" fmla="*/ 52 h 112"/>
                      <a:gd name="T8" fmla="*/ 206 w 248"/>
                      <a:gd name="T9" fmla="*/ 0 h 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8" h="112">
                        <a:moveTo>
                          <a:pt x="206" y="0"/>
                        </a:moveTo>
                        <a:cubicBezTo>
                          <a:pt x="240" y="22"/>
                          <a:pt x="215" y="69"/>
                          <a:pt x="248" y="97"/>
                        </a:cubicBezTo>
                        <a:cubicBezTo>
                          <a:pt x="219" y="112"/>
                          <a:pt x="79" y="112"/>
                          <a:pt x="26" y="83"/>
                        </a:cubicBezTo>
                        <a:cubicBezTo>
                          <a:pt x="4" y="71"/>
                          <a:pt x="0" y="52"/>
                          <a:pt x="0" y="52"/>
                        </a:cubicBezTo>
                        <a:cubicBezTo>
                          <a:pt x="0" y="52"/>
                          <a:pt x="177" y="6"/>
                          <a:pt x="206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" name="Freeform 266">
                    <a:extLst>
                      <a:ext uri="{FF2B5EF4-FFF2-40B4-BE49-F238E27FC236}">
                        <a16:creationId xmlns:a16="http://schemas.microsoft.com/office/drawing/2014/main" id="{42B6A883-EED0-B8A2-02EA-8B23D95C079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2105" y="4964114"/>
                    <a:ext cx="63500" cy="134938"/>
                  </a:xfrm>
                  <a:custGeom>
                    <a:avLst/>
                    <a:gdLst>
                      <a:gd name="T0" fmla="*/ 32 w 32"/>
                      <a:gd name="T1" fmla="*/ 69 h 69"/>
                      <a:gd name="T2" fmla="*/ 20 w 32"/>
                      <a:gd name="T3" fmla="*/ 0 h 69"/>
                      <a:gd name="T4" fmla="*/ 4 w 32"/>
                      <a:gd name="T5" fmla="*/ 14 h 69"/>
                      <a:gd name="T6" fmla="*/ 32 w 32"/>
                      <a:gd name="T7" fmla="*/ 69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2" h="69">
                        <a:moveTo>
                          <a:pt x="32" y="69"/>
                        </a:moveTo>
                        <a:cubicBezTo>
                          <a:pt x="32" y="69"/>
                          <a:pt x="7" y="24"/>
                          <a:pt x="20" y="0"/>
                        </a:cubicBezTo>
                        <a:cubicBezTo>
                          <a:pt x="17" y="5"/>
                          <a:pt x="12" y="15"/>
                          <a:pt x="4" y="14"/>
                        </a:cubicBezTo>
                        <a:cubicBezTo>
                          <a:pt x="0" y="41"/>
                          <a:pt x="32" y="69"/>
                          <a:pt x="32" y="6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" name="Freeform 267">
                    <a:extLst>
                      <a:ext uri="{FF2B5EF4-FFF2-40B4-BE49-F238E27FC236}">
                        <a16:creationId xmlns:a16="http://schemas.microsoft.com/office/drawing/2014/main" id="{1F81605D-A261-CC56-BB55-204259B16DA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69880" y="4946651"/>
                    <a:ext cx="88900" cy="160338"/>
                  </a:xfrm>
                  <a:custGeom>
                    <a:avLst/>
                    <a:gdLst>
                      <a:gd name="T0" fmla="*/ 45 w 45"/>
                      <a:gd name="T1" fmla="*/ 82 h 82"/>
                      <a:gd name="T2" fmla="*/ 17 w 45"/>
                      <a:gd name="T3" fmla="*/ 19 h 82"/>
                      <a:gd name="T4" fmla="*/ 12 w 45"/>
                      <a:gd name="T5" fmla="*/ 12 h 82"/>
                      <a:gd name="T6" fmla="*/ 45 w 45"/>
                      <a:gd name="T7" fmla="*/ 82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5" h="82">
                        <a:moveTo>
                          <a:pt x="45" y="82"/>
                        </a:moveTo>
                        <a:cubicBezTo>
                          <a:pt x="45" y="82"/>
                          <a:pt x="15" y="54"/>
                          <a:pt x="17" y="19"/>
                        </a:cubicBezTo>
                        <a:cubicBezTo>
                          <a:pt x="17" y="9"/>
                          <a:pt x="15" y="0"/>
                          <a:pt x="12" y="12"/>
                        </a:cubicBezTo>
                        <a:cubicBezTo>
                          <a:pt x="0" y="63"/>
                          <a:pt x="45" y="82"/>
                          <a:pt x="45" y="8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" name="Freeform 268">
                    <a:extLst>
                      <a:ext uri="{FF2B5EF4-FFF2-40B4-BE49-F238E27FC236}">
                        <a16:creationId xmlns:a16="http://schemas.microsoft.com/office/drawing/2014/main" id="{1F2B273D-B729-8661-FCE2-9D0A4A2EADE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3367" y="4899026"/>
                    <a:ext cx="103188" cy="93663"/>
                  </a:xfrm>
                  <a:custGeom>
                    <a:avLst/>
                    <a:gdLst>
                      <a:gd name="T0" fmla="*/ 52 w 53"/>
                      <a:gd name="T1" fmla="*/ 27 h 48"/>
                      <a:gd name="T2" fmla="*/ 42 w 53"/>
                      <a:gd name="T3" fmla="*/ 12 h 48"/>
                      <a:gd name="T4" fmla="*/ 30 w 53"/>
                      <a:gd name="T5" fmla="*/ 0 h 48"/>
                      <a:gd name="T6" fmla="*/ 24 w 53"/>
                      <a:gd name="T7" fmla="*/ 18 h 48"/>
                      <a:gd name="T8" fmla="*/ 13 w 53"/>
                      <a:gd name="T9" fmla="*/ 28 h 48"/>
                      <a:gd name="T10" fmla="*/ 0 w 53"/>
                      <a:gd name="T11" fmla="*/ 29 h 48"/>
                      <a:gd name="T12" fmla="*/ 36 w 53"/>
                      <a:gd name="T13" fmla="*/ 48 h 48"/>
                      <a:gd name="T14" fmla="*/ 52 w 53"/>
                      <a:gd name="T15" fmla="*/ 27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3" h="48">
                        <a:moveTo>
                          <a:pt x="52" y="27"/>
                        </a:moveTo>
                        <a:cubicBezTo>
                          <a:pt x="42" y="23"/>
                          <a:pt x="42" y="12"/>
                          <a:pt x="42" y="12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30" y="0"/>
                          <a:pt x="25" y="11"/>
                          <a:pt x="24" y="18"/>
                        </a:cubicBezTo>
                        <a:cubicBezTo>
                          <a:pt x="22" y="25"/>
                          <a:pt x="16" y="27"/>
                          <a:pt x="13" y="28"/>
                        </a:cubicBezTo>
                        <a:cubicBezTo>
                          <a:pt x="7" y="29"/>
                          <a:pt x="0" y="29"/>
                          <a:pt x="0" y="29"/>
                        </a:cubicBezTo>
                        <a:cubicBezTo>
                          <a:pt x="0" y="29"/>
                          <a:pt x="26" y="31"/>
                          <a:pt x="36" y="48"/>
                        </a:cubicBezTo>
                        <a:cubicBezTo>
                          <a:pt x="53" y="47"/>
                          <a:pt x="48" y="32"/>
                          <a:pt x="52" y="27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" name="Freeform 269">
                    <a:extLst>
                      <a:ext uri="{FF2B5EF4-FFF2-40B4-BE49-F238E27FC236}">
                        <a16:creationId xmlns:a16="http://schemas.microsoft.com/office/drawing/2014/main" id="{188D3762-781D-17DA-F8ED-4FE67DA633C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20667" y="4848226"/>
                    <a:ext cx="80963" cy="107950"/>
                  </a:xfrm>
                  <a:custGeom>
                    <a:avLst/>
                    <a:gdLst>
                      <a:gd name="T0" fmla="*/ 9 w 41"/>
                      <a:gd name="T1" fmla="*/ 55 h 55"/>
                      <a:gd name="T2" fmla="*/ 22 w 41"/>
                      <a:gd name="T3" fmla="*/ 55 h 55"/>
                      <a:gd name="T4" fmla="*/ 30 w 41"/>
                      <a:gd name="T5" fmla="*/ 48 h 55"/>
                      <a:gd name="T6" fmla="*/ 33 w 41"/>
                      <a:gd name="T7" fmla="*/ 36 h 55"/>
                      <a:gd name="T8" fmla="*/ 38 w 41"/>
                      <a:gd name="T9" fmla="*/ 32 h 55"/>
                      <a:gd name="T10" fmla="*/ 36 w 41"/>
                      <a:gd name="T11" fmla="*/ 24 h 55"/>
                      <a:gd name="T12" fmla="*/ 34 w 41"/>
                      <a:gd name="T13" fmla="*/ 3 h 55"/>
                      <a:gd name="T14" fmla="*/ 23 w 41"/>
                      <a:gd name="T15" fmla="*/ 0 h 55"/>
                      <a:gd name="T16" fmla="*/ 12 w 41"/>
                      <a:gd name="T17" fmla="*/ 8 h 55"/>
                      <a:gd name="T18" fmla="*/ 0 w 41"/>
                      <a:gd name="T19" fmla="*/ 30 h 55"/>
                      <a:gd name="T20" fmla="*/ 2 w 41"/>
                      <a:gd name="T21" fmla="*/ 32 h 55"/>
                      <a:gd name="T22" fmla="*/ 5 w 41"/>
                      <a:gd name="T23" fmla="*/ 33 h 55"/>
                      <a:gd name="T24" fmla="*/ 5 w 41"/>
                      <a:gd name="T25" fmla="*/ 54 h 55"/>
                      <a:gd name="T26" fmla="*/ 9 w 41"/>
                      <a:gd name="T27" fmla="*/ 55 h 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1" h="55">
                        <a:moveTo>
                          <a:pt x="9" y="55"/>
                        </a:moveTo>
                        <a:cubicBezTo>
                          <a:pt x="12" y="55"/>
                          <a:pt x="17" y="55"/>
                          <a:pt x="22" y="55"/>
                        </a:cubicBezTo>
                        <a:cubicBezTo>
                          <a:pt x="29" y="54"/>
                          <a:pt x="30" y="48"/>
                          <a:pt x="30" y="48"/>
                        </a:cubicBezTo>
                        <a:cubicBezTo>
                          <a:pt x="33" y="36"/>
                          <a:pt x="33" y="36"/>
                          <a:pt x="33" y="36"/>
                        </a:cubicBezTo>
                        <a:cubicBezTo>
                          <a:pt x="33" y="36"/>
                          <a:pt x="36" y="35"/>
                          <a:pt x="38" y="32"/>
                        </a:cubicBezTo>
                        <a:cubicBezTo>
                          <a:pt x="39" y="31"/>
                          <a:pt x="41" y="26"/>
                          <a:pt x="36" y="24"/>
                        </a:cubicBezTo>
                        <a:cubicBezTo>
                          <a:pt x="28" y="21"/>
                          <a:pt x="34" y="3"/>
                          <a:pt x="34" y="3"/>
                        </a:cubicBezTo>
                        <a:cubicBezTo>
                          <a:pt x="23" y="0"/>
                          <a:pt x="23" y="0"/>
                          <a:pt x="23" y="0"/>
                        </a:cubicBezTo>
                        <a:cubicBezTo>
                          <a:pt x="12" y="8"/>
                          <a:pt x="12" y="8"/>
                          <a:pt x="12" y="8"/>
                        </a:cubicBezTo>
                        <a:cubicBezTo>
                          <a:pt x="0" y="30"/>
                          <a:pt x="0" y="30"/>
                          <a:pt x="0" y="30"/>
                        </a:cubicBezTo>
                        <a:cubicBezTo>
                          <a:pt x="0" y="30"/>
                          <a:pt x="0" y="31"/>
                          <a:pt x="2" y="32"/>
                        </a:cubicBezTo>
                        <a:cubicBezTo>
                          <a:pt x="4" y="32"/>
                          <a:pt x="5" y="33"/>
                          <a:pt x="5" y="33"/>
                        </a:cubicBezTo>
                        <a:cubicBezTo>
                          <a:pt x="5" y="33"/>
                          <a:pt x="5" y="53"/>
                          <a:pt x="5" y="54"/>
                        </a:cubicBezTo>
                        <a:cubicBezTo>
                          <a:pt x="5" y="55"/>
                          <a:pt x="7" y="55"/>
                          <a:pt x="9" y="55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" name="Freeform 270">
                    <a:extLst>
                      <a:ext uri="{FF2B5EF4-FFF2-40B4-BE49-F238E27FC236}">
                        <a16:creationId xmlns:a16="http://schemas.microsoft.com/office/drawing/2014/main" id="{E1E8BEEA-D9CE-3AB8-C074-20F1E3A5F0C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44480" y="4838701"/>
                    <a:ext cx="92075" cy="85725"/>
                  </a:xfrm>
                  <a:custGeom>
                    <a:avLst/>
                    <a:gdLst>
                      <a:gd name="T0" fmla="*/ 45 w 47"/>
                      <a:gd name="T1" fmla="*/ 22 h 44"/>
                      <a:gd name="T2" fmla="*/ 44 w 47"/>
                      <a:gd name="T3" fmla="*/ 18 h 44"/>
                      <a:gd name="T4" fmla="*/ 25 w 47"/>
                      <a:gd name="T5" fmla="*/ 3 h 44"/>
                      <a:gd name="T6" fmla="*/ 0 w 47"/>
                      <a:gd name="T7" fmla="*/ 14 h 44"/>
                      <a:gd name="T8" fmla="*/ 14 w 47"/>
                      <a:gd name="T9" fmla="*/ 21 h 44"/>
                      <a:gd name="T10" fmla="*/ 21 w 47"/>
                      <a:gd name="T11" fmla="*/ 30 h 44"/>
                      <a:gd name="T12" fmla="*/ 27 w 47"/>
                      <a:gd name="T13" fmla="*/ 35 h 44"/>
                      <a:gd name="T14" fmla="*/ 36 w 47"/>
                      <a:gd name="T15" fmla="*/ 44 h 44"/>
                      <a:gd name="T16" fmla="*/ 45 w 47"/>
                      <a:gd name="T17" fmla="*/ 22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7" h="44">
                        <a:moveTo>
                          <a:pt x="45" y="22"/>
                        </a:moveTo>
                        <a:cubicBezTo>
                          <a:pt x="44" y="18"/>
                          <a:pt x="44" y="18"/>
                          <a:pt x="44" y="18"/>
                        </a:cubicBezTo>
                        <a:cubicBezTo>
                          <a:pt x="44" y="18"/>
                          <a:pt x="42" y="7"/>
                          <a:pt x="25" y="3"/>
                        </a:cubicBezTo>
                        <a:cubicBezTo>
                          <a:pt x="6" y="0"/>
                          <a:pt x="0" y="14"/>
                          <a:pt x="0" y="14"/>
                        </a:cubicBezTo>
                        <a:cubicBezTo>
                          <a:pt x="0" y="14"/>
                          <a:pt x="14" y="12"/>
                          <a:pt x="14" y="21"/>
                        </a:cubicBezTo>
                        <a:cubicBezTo>
                          <a:pt x="14" y="31"/>
                          <a:pt x="20" y="30"/>
                          <a:pt x="21" y="30"/>
                        </a:cubicBezTo>
                        <a:cubicBezTo>
                          <a:pt x="22" y="30"/>
                          <a:pt x="26" y="31"/>
                          <a:pt x="27" y="35"/>
                        </a:cubicBezTo>
                        <a:cubicBezTo>
                          <a:pt x="27" y="41"/>
                          <a:pt x="33" y="44"/>
                          <a:pt x="36" y="44"/>
                        </a:cubicBezTo>
                        <a:cubicBezTo>
                          <a:pt x="47" y="32"/>
                          <a:pt x="45" y="22"/>
                          <a:pt x="45" y="22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" name="Freeform 271">
                    <a:extLst>
                      <a:ext uri="{FF2B5EF4-FFF2-40B4-BE49-F238E27FC236}">
                        <a16:creationId xmlns:a16="http://schemas.microsoft.com/office/drawing/2014/main" id="{B438357A-BE95-4BF1-050F-45A0CFF9B80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6542" y="4886326"/>
                    <a:ext cx="15875" cy="7938"/>
                  </a:xfrm>
                  <a:custGeom>
                    <a:avLst/>
                    <a:gdLst>
                      <a:gd name="T0" fmla="*/ 1 w 8"/>
                      <a:gd name="T1" fmla="*/ 3 h 4"/>
                      <a:gd name="T2" fmla="*/ 2 w 8"/>
                      <a:gd name="T3" fmla="*/ 4 h 4"/>
                      <a:gd name="T4" fmla="*/ 8 w 8"/>
                      <a:gd name="T5" fmla="*/ 4 h 4"/>
                      <a:gd name="T6" fmla="*/ 1 w 8"/>
                      <a:gd name="T7" fmla="*/ 1 h 4"/>
                      <a:gd name="T8" fmla="*/ 1 w 8"/>
                      <a:gd name="T9" fmla="*/ 3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" h="4">
                        <a:moveTo>
                          <a:pt x="1" y="3"/>
                        </a:moveTo>
                        <a:cubicBezTo>
                          <a:pt x="1" y="4"/>
                          <a:pt x="1" y="4"/>
                          <a:pt x="2" y="4"/>
                        </a:cubicBezTo>
                        <a:cubicBezTo>
                          <a:pt x="4" y="4"/>
                          <a:pt x="6" y="4"/>
                          <a:pt x="8" y="4"/>
                        </a:cubicBezTo>
                        <a:cubicBezTo>
                          <a:pt x="8" y="4"/>
                          <a:pt x="6" y="3"/>
                          <a:pt x="1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" name="Freeform 272">
                    <a:extLst>
                      <a:ext uri="{FF2B5EF4-FFF2-40B4-BE49-F238E27FC236}">
                        <a16:creationId xmlns:a16="http://schemas.microsoft.com/office/drawing/2014/main" id="{9B0657CB-9698-7A4C-BC3F-39B2819B9AD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1792" y="4857751"/>
                    <a:ext cx="217488" cy="93663"/>
                  </a:xfrm>
                  <a:custGeom>
                    <a:avLst/>
                    <a:gdLst>
                      <a:gd name="T0" fmla="*/ 0 w 111"/>
                      <a:gd name="T1" fmla="*/ 8 h 48"/>
                      <a:gd name="T2" fmla="*/ 17 w 111"/>
                      <a:gd name="T3" fmla="*/ 1 h 48"/>
                      <a:gd name="T4" fmla="*/ 42 w 111"/>
                      <a:gd name="T5" fmla="*/ 11 h 48"/>
                      <a:gd name="T6" fmla="*/ 75 w 111"/>
                      <a:gd name="T7" fmla="*/ 12 h 48"/>
                      <a:gd name="T8" fmla="*/ 94 w 111"/>
                      <a:gd name="T9" fmla="*/ 19 h 48"/>
                      <a:gd name="T10" fmla="*/ 111 w 111"/>
                      <a:gd name="T11" fmla="*/ 34 h 48"/>
                      <a:gd name="T12" fmla="*/ 79 w 111"/>
                      <a:gd name="T13" fmla="*/ 42 h 48"/>
                      <a:gd name="T14" fmla="*/ 50 w 111"/>
                      <a:gd name="T15" fmla="*/ 34 h 48"/>
                      <a:gd name="T16" fmla="*/ 28 w 111"/>
                      <a:gd name="T17" fmla="*/ 22 h 48"/>
                      <a:gd name="T18" fmla="*/ 14 w 111"/>
                      <a:gd name="T19" fmla="*/ 13 h 48"/>
                      <a:gd name="T20" fmla="*/ 1 w 111"/>
                      <a:gd name="T21" fmla="*/ 13 h 48"/>
                      <a:gd name="T22" fmla="*/ 0 w 111"/>
                      <a:gd name="T23" fmla="*/ 8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11" h="48">
                        <a:moveTo>
                          <a:pt x="0" y="8"/>
                        </a:moveTo>
                        <a:cubicBezTo>
                          <a:pt x="0" y="8"/>
                          <a:pt x="7" y="0"/>
                          <a:pt x="17" y="1"/>
                        </a:cubicBezTo>
                        <a:cubicBezTo>
                          <a:pt x="27" y="2"/>
                          <a:pt x="30" y="5"/>
                          <a:pt x="42" y="11"/>
                        </a:cubicBezTo>
                        <a:cubicBezTo>
                          <a:pt x="54" y="16"/>
                          <a:pt x="62" y="11"/>
                          <a:pt x="75" y="12"/>
                        </a:cubicBezTo>
                        <a:cubicBezTo>
                          <a:pt x="88" y="13"/>
                          <a:pt x="92" y="17"/>
                          <a:pt x="94" y="19"/>
                        </a:cubicBezTo>
                        <a:cubicBezTo>
                          <a:pt x="102" y="24"/>
                          <a:pt x="111" y="34"/>
                          <a:pt x="111" y="34"/>
                        </a:cubicBezTo>
                        <a:cubicBezTo>
                          <a:pt x="111" y="34"/>
                          <a:pt x="94" y="48"/>
                          <a:pt x="79" y="42"/>
                        </a:cubicBezTo>
                        <a:cubicBezTo>
                          <a:pt x="74" y="40"/>
                          <a:pt x="66" y="31"/>
                          <a:pt x="50" y="34"/>
                        </a:cubicBezTo>
                        <a:cubicBezTo>
                          <a:pt x="39" y="36"/>
                          <a:pt x="33" y="29"/>
                          <a:pt x="28" y="22"/>
                        </a:cubicBezTo>
                        <a:cubicBezTo>
                          <a:pt x="25" y="18"/>
                          <a:pt x="19" y="14"/>
                          <a:pt x="14" y="13"/>
                        </a:cubicBezTo>
                        <a:cubicBezTo>
                          <a:pt x="9" y="11"/>
                          <a:pt x="1" y="13"/>
                          <a:pt x="1" y="13"/>
                        </a:cubicBez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" name="Freeform 273">
                    <a:extLst>
                      <a:ext uri="{FF2B5EF4-FFF2-40B4-BE49-F238E27FC236}">
                        <a16:creationId xmlns:a16="http://schemas.microsoft.com/office/drawing/2014/main" id="{BBCC3B49-CF3F-0B60-C5B3-77DD5390DC8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8617" y="4868864"/>
                    <a:ext cx="7938" cy="15875"/>
                  </a:xfrm>
                  <a:custGeom>
                    <a:avLst/>
                    <a:gdLst>
                      <a:gd name="T0" fmla="*/ 1 w 4"/>
                      <a:gd name="T1" fmla="*/ 6 h 8"/>
                      <a:gd name="T2" fmla="*/ 3 w 4"/>
                      <a:gd name="T3" fmla="*/ 8 h 8"/>
                      <a:gd name="T4" fmla="*/ 4 w 4"/>
                      <a:gd name="T5" fmla="*/ 5 h 8"/>
                      <a:gd name="T6" fmla="*/ 3 w 4"/>
                      <a:gd name="T7" fmla="*/ 2 h 8"/>
                      <a:gd name="T8" fmla="*/ 1 w 4"/>
                      <a:gd name="T9" fmla="*/ 0 h 8"/>
                      <a:gd name="T10" fmla="*/ 0 w 4"/>
                      <a:gd name="T11" fmla="*/ 2 h 8"/>
                      <a:gd name="T12" fmla="*/ 1 w 4"/>
                      <a:gd name="T13" fmla="*/ 6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" h="8">
                        <a:moveTo>
                          <a:pt x="1" y="6"/>
                        </a:moveTo>
                        <a:cubicBezTo>
                          <a:pt x="1" y="7"/>
                          <a:pt x="2" y="8"/>
                          <a:pt x="3" y="8"/>
                        </a:cubicBezTo>
                        <a:cubicBezTo>
                          <a:pt x="4" y="7"/>
                          <a:pt x="4" y="6"/>
                          <a:pt x="4" y="5"/>
                        </a:cubicBezTo>
                        <a:cubicBezTo>
                          <a:pt x="3" y="2"/>
                          <a:pt x="3" y="2"/>
                          <a:pt x="3" y="2"/>
                        </a:cubicBezTo>
                        <a:cubicBezTo>
                          <a:pt x="3" y="1"/>
                          <a:pt x="2" y="0"/>
                          <a:pt x="1" y="0"/>
                        </a:cubicBezTo>
                        <a:cubicBezTo>
                          <a:pt x="0" y="1"/>
                          <a:pt x="0" y="1"/>
                          <a:pt x="0" y="2"/>
                        </a:cubicBezTo>
                        <a:lnTo>
                          <a:pt x="1" y="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" name="Freeform 274">
                    <a:extLst>
                      <a:ext uri="{FF2B5EF4-FFF2-40B4-BE49-F238E27FC236}">
                        <a16:creationId xmlns:a16="http://schemas.microsoft.com/office/drawing/2014/main" id="{6937A88A-5DB9-6AD4-B693-D783D25529C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7505" y="4951414"/>
                    <a:ext cx="50800" cy="150813"/>
                  </a:xfrm>
                  <a:custGeom>
                    <a:avLst/>
                    <a:gdLst>
                      <a:gd name="T0" fmla="*/ 8 w 26"/>
                      <a:gd name="T1" fmla="*/ 0 h 77"/>
                      <a:gd name="T2" fmla="*/ 1 w 26"/>
                      <a:gd name="T3" fmla="*/ 34 h 77"/>
                      <a:gd name="T4" fmla="*/ 26 w 26"/>
                      <a:gd name="T5" fmla="*/ 77 h 77"/>
                      <a:gd name="T6" fmla="*/ 12 w 26"/>
                      <a:gd name="T7" fmla="*/ 31 h 77"/>
                      <a:gd name="T8" fmla="*/ 5 w 26"/>
                      <a:gd name="T9" fmla="*/ 28 h 77"/>
                      <a:gd name="T10" fmla="*/ 12 w 26"/>
                      <a:gd name="T11" fmla="*/ 23 h 77"/>
                      <a:gd name="T12" fmla="*/ 12 w 26"/>
                      <a:gd name="T13" fmla="*/ 1 h 77"/>
                      <a:gd name="T14" fmla="*/ 8 w 26"/>
                      <a:gd name="T15" fmla="*/ 0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6" h="77">
                        <a:moveTo>
                          <a:pt x="8" y="0"/>
                        </a:moveTo>
                        <a:cubicBezTo>
                          <a:pt x="8" y="0"/>
                          <a:pt x="0" y="15"/>
                          <a:pt x="1" y="34"/>
                        </a:cubicBezTo>
                        <a:cubicBezTo>
                          <a:pt x="2" y="54"/>
                          <a:pt x="22" y="73"/>
                          <a:pt x="26" y="77"/>
                        </a:cubicBezTo>
                        <a:cubicBezTo>
                          <a:pt x="16" y="59"/>
                          <a:pt x="12" y="31"/>
                          <a:pt x="12" y="31"/>
                        </a:cubicBezTo>
                        <a:cubicBezTo>
                          <a:pt x="5" y="28"/>
                          <a:pt x="5" y="28"/>
                          <a:pt x="5" y="28"/>
                        </a:cubicBezTo>
                        <a:cubicBezTo>
                          <a:pt x="12" y="23"/>
                          <a:pt x="12" y="23"/>
                          <a:pt x="12" y="23"/>
                        </a:cubicBezTo>
                        <a:cubicBezTo>
                          <a:pt x="12" y="1"/>
                          <a:pt x="12" y="1"/>
                          <a:pt x="12" y="1"/>
                        </a:cubicBezTo>
                        <a:lnTo>
                          <a:pt x="8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" name="Freeform 275">
                    <a:extLst>
                      <a:ext uri="{FF2B5EF4-FFF2-40B4-BE49-F238E27FC236}">
                        <a16:creationId xmlns:a16="http://schemas.microsoft.com/office/drawing/2014/main" id="{FCFD04FB-7F22-8F1F-75AC-80021D5E76C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87317" y="5113339"/>
                    <a:ext cx="174625" cy="79375"/>
                  </a:xfrm>
                  <a:custGeom>
                    <a:avLst/>
                    <a:gdLst>
                      <a:gd name="T0" fmla="*/ 1 w 110"/>
                      <a:gd name="T1" fmla="*/ 0 h 50"/>
                      <a:gd name="T2" fmla="*/ 110 w 110"/>
                      <a:gd name="T3" fmla="*/ 22 h 50"/>
                      <a:gd name="T4" fmla="*/ 95 w 110"/>
                      <a:gd name="T5" fmla="*/ 50 h 50"/>
                      <a:gd name="T6" fmla="*/ 0 w 110"/>
                      <a:gd name="T7" fmla="*/ 12 h 50"/>
                      <a:gd name="T8" fmla="*/ 1 w 110"/>
                      <a:gd name="T9" fmla="*/ 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0" h="50">
                        <a:moveTo>
                          <a:pt x="1" y="0"/>
                        </a:moveTo>
                        <a:lnTo>
                          <a:pt x="110" y="22"/>
                        </a:lnTo>
                        <a:lnTo>
                          <a:pt x="95" y="50"/>
                        </a:lnTo>
                        <a:lnTo>
                          <a:pt x="0" y="12"/>
                        </a:ln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" name="Freeform 276">
                    <a:extLst>
                      <a:ext uri="{FF2B5EF4-FFF2-40B4-BE49-F238E27FC236}">
                        <a16:creationId xmlns:a16="http://schemas.microsoft.com/office/drawing/2014/main" id="{72812EAF-9A78-E351-88ED-B7262E9073A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77805" y="4949826"/>
                    <a:ext cx="252413" cy="258763"/>
                  </a:xfrm>
                  <a:custGeom>
                    <a:avLst/>
                    <a:gdLst>
                      <a:gd name="T0" fmla="*/ 7 w 128"/>
                      <a:gd name="T1" fmla="*/ 93 h 132"/>
                      <a:gd name="T2" fmla="*/ 49 w 128"/>
                      <a:gd name="T3" fmla="*/ 102 h 132"/>
                      <a:gd name="T4" fmla="*/ 91 w 128"/>
                      <a:gd name="T5" fmla="*/ 24 h 132"/>
                      <a:gd name="T6" fmla="*/ 121 w 128"/>
                      <a:gd name="T7" fmla="*/ 53 h 132"/>
                      <a:gd name="T8" fmla="*/ 70 w 128"/>
                      <a:gd name="T9" fmla="*/ 119 h 132"/>
                      <a:gd name="T10" fmla="*/ 38 w 128"/>
                      <a:gd name="T11" fmla="*/ 127 h 132"/>
                      <a:gd name="T12" fmla="*/ 0 w 128"/>
                      <a:gd name="T13" fmla="*/ 112 h 132"/>
                      <a:gd name="T14" fmla="*/ 7 w 128"/>
                      <a:gd name="T15" fmla="*/ 93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8" h="132">
                        <a:moveTo>
                          <a:pt x="7" y="93"/>
                        </a:moveTo>
                        <a:cubicBezTo>
                          <a:pt x="49" y="102"/>
                          <a:pt x="49" y="102"/>
                          <a:pt x="49" y="102"/>
                        </a:cubicBezTo>
                        <a:cubicBezTo>
                          <a:pt x="49" y="102"/>
                          <a:pt x="81" y="54"/>
                          <a:pt x="91" y="24"/>
                        </a:cubicBezTo>
                        <a:cubicBezTo>
                          <a:pt x="109" y="0"/>
                          <a:pt x="128" y="26"/>
                          <a:pt x="121" y="53"/>
                        </a:cubicBezTo>
                        <a:cubicBezTo>
                          <a:pt x="101" y="86"/>
                          <a:pt x="82" y="108"/>
                          <a:pt x="70" y="119"/>
                        </a:cubicBezTo>
                        <a:cubicBezTo>
                          <a:pt x="55" y="132"/>
                          <a:pt x="38" y="127"/>
                          <a:pt x="38" y="127"/>
                        </a:cubicBezTo>
                        <a:cubicBezTo>
                          <a:pt x="38" y="127"/>
                          <a:pt x="14" y="117"/>
                          <a:pt x="0" y="112"/>
                        </a:cubicBezTo>
                        <a:lnTo>
                          <a:pt x="7" y="93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" name="Freeform 278">
                    <a:extLst>
                      <a:ext uri="{FF2B5EF4-FFF2-40B4-BE49-F238E27FC236}">
                        <a16:creationId xmlns:a16="http://schemas.microsoft.com/office/drawing/2014/main" id="{0F3FCDEF-7AB0-CF2B-8A7D-F8BC665FFB8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12705" y="5087939"/>
                    <a:ext cx="79375" cy="46038"/>
                  </a:xfrm>
                  <a:custGeom>
                    <a:avLst/>
                    <a:gdLst>
                      <a:gd name="T0" fmla="*/ 40 w 40"/>
                      <a:gd name="T1" fmla="*/ 14 h 24"/>
                      <a:gd name="T2" fmla="*/ 31 w 40"/>
                      <a:gd name="T3" fmla="*/ 9 h 24"/>
                      <a:gd name="T4" fmla="*/ 24 w 40"/>
                      <a:gd name="T5" fmla="*/ 4 h 24"/>
                      <a:gd name="T6" fmla="*/ 21 w 40"/>
                      <a:gd name="T7" fmla="*/ 2 h 24"/>
                      <a:gd name="T8" fmla="*/ 4 w 40"/>
                      <a:gd name="T9" fmla="*/ 1 h 24"/>
                      <a:gd name="T10" fmla="*/ 4 w 40"/>
                      <a:gd name="T11" fmla="*/ 2 h 24"/>
                      <a:gd name="T12" fmla="*/ 12 w 40"/>
                      <a:gd name="T13" fmla="*/ 4 h 24"/>
                      <a:gd name="T14" fmla="*/ 1 w 40"/>
                      <a:gd name="T15" fmla="*/ 7 h 24"/>
                      <a:gd name="T16" fmla="*/ 3 w 40"/>
                      <a:gd name="T17" fmla="*/ 9 h 24"/>
                      <a:gd name="T18" fmla="*/ 11 w 40"/>
                      <a:gd name="T19" fmla="*/ 8 h 24"/>
                      <a:gd name="T20" fmla="*/ 25 w 40"/>
                      <a:gd name="T21" fmla="*/ 20 h 24"/>
                      <a:gd name="T22" fmla="*/ 19 w 40"/>
                      <a:gd name="T23" fmla="*/ 21 h 24"/>
                      <a:gd name="T24" fmla="*/ 22 w 40"/>
                      <a:gd name="T25" fmla="*/ 24 h 24"/>
                      <a:gd name="T26" fmla="*/ 39 w 40"/>
                      <a:gd name="T27" fmla="*/ 23 h 24"/>
                      <a:gd name="T28" fmla="*/ 40 w 40"/>
                      <a:gd name="T29" fmla="*/ 14 h 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0" h="24">
                        <a:moveTo>
                          <a:pt x="40" y="14"/>
                        </a:moveTo>
                        <a:cubicBezTo>
                          <a:pt x="40" y="14"/>
                          <a:pt x="35" y="12"/>
                          <a:pt x="31" y="9"/>
                        </a:cubicBezTo>
                        <a:cubicBezTo>
                          <a:pt x="28" y="7"/>
                          <a:pt x="24" y="4"/>
                          <a:pt x="24" y="4"/>
                        </a:cubicBezTo>
                        <a:cubicBezTo>
                          <a:pt x="24" y="4"/>
                          <a:pt x="23" y="3"/>
                          <a:pt x="21" y="2"/>
                        </a:cubicBezTo>
                        <a:cubicBezTo>
                          <a:pt x="20" y="1"/>
                          <a:pt x="12" y="0"/>
                          <a:pt x="4" y="1"/>
                        </a:cubicBezTo>
                        <a:cubicBezTo>
                          <a:pt x="3" y="1"/>
                          <a:pt x="3" y="2"/>
                          <a:pt x="4" y="2"/>
                        </a:cubicBezTo>
                        <a:cubicBezTo>
                          <a:pt x="5" y="3"/>
                          <a:pt x="12" y="4"/>
                          <a:pt x="12" y="4"/>
                        </a:cubicBezTo>
                        <a:cubicBezTo>
                          <a:pt x="12" y="4"/>
                          <a:pt x="3" y="6"/>
                          <a:pt x="1" y="7"/>
                        </a:cubicBezTo>
                        <a:cubicBezTo>
                          <a:pt x="0" y="7"/>
                          <a:pt x="1" y="9"/>
                          <a:pt x="3" y="9"/>
                        </a:cubicBezTo>
                        <a:cubicBezTo>
                          <a:pt x="4" y="9"/>
                          <a:pt x="11" y="8"/>
                          <a:pt x="11" y="8"/>
                        </a:cubicBezTo>
                        <a:cubicBezTo>
                          <a:pt x="25" y="20"/>
                          <a:pt x="25" y="20"/>
                          <a:pt x="25" y="20"/>
                        </a:cubicBezTo>
                        <a:cubicBezTo>
                          <a:pt x="19" y="21"/>
                          <a:pt x="19" y="21"/>
                          <a:pt x="19" y="21"/>
                        </a:cubicBezTo>
                        <a:cubicBezTo>
                          <a:pt x="22" y="24"/>
                          <a:pt x="22" y="24"/>
                          <a:pt x="22" y="24"/>
                        </a:cubicBezTo>
                        <a:cubicBezTo>
                          <a:pt x="22" y="24"/>
                          <a:pt x="30" y="24"/>
                          <a:pt x="39" y="23"/>
                        </a:cubicBezTo>
                        <a:lnTo>
                          <a:pt x="40" y="14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" name="Freeform 279">
                    <a:extLst>
                      <a:ext uri="{FF2B5EF4-FFF2-40B4-BE49-F238E27FC236}">
                        <a16:creationId xmlns:a16="http://schemas.microsoft.com/office/drawing/2014/main" id="{50D160E5-E146-7732-6F96-17DE700A4BF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2405" y="5707064"/>
                    <a:ext cx="63500" cy="38100"/>
                  </a:xfrm>
                  <a:custGeom>
                    <a:avLst/>
                    <a:gdLst>
                      <a:gd name="T0" fmla="*/ 11 w 32"/>
                      <a:gd name="T1" fmla="*/ 9 h 19"/>
                      <a:gd name="T2" fmla="*/ 2 w 32"/>
                      <a:gd name="T3" fmla="*/ 11 h 19"/>
                      <a:gd name="T4" fmla="*/ 1 w 32"/>
                      <a:gd name="T5" fmla="*/ 14 h 19"/>
                      <a:gd name="T6" fmla="*/ 13 w 32"/>
                      <a:gd name="T7" fmla="*/ 16 h 19"/>
                      <a:gd name="T8" fmla="*/ 23 w 32"/>
                      <a:gd name="T9" fmla="*/ 10 h 19"/>
                      <a:gd name="T10" fmla="*/ 22 w 32"/>
                      <a:gd name="T11" fmla="*/ 18 h 19"/>
                      <a:gd name="T12" fmla="*/ 26 w 32"/>
                      <a:gd name="T13" fmla="*/ 19 h 19"/>
                      <a:gd name="T14" fmla="*/ 30 w 32"/>
                      <a:gd name="T15" fmla="*/ 6 h 19"/>
                      <a:gd name="T16" fmla="*/ 31 w 32"/>
                      <a:gd name="T17" fmla="*/ 0 h 19"/>
                      <a:gd name="T18" fmla="*/ 23 w 32"/>
                      <a:gd name="T19" fmla="*/ 5 h 19"/>
                      <a:gd name="T20" fmla="*/ 11 w 32"/>
                      <a:gd name="T21" fmla="*/ 9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2" h="19">
                        <a:moveTo>
                          <a:pt x="11" y="9"/>
                        </a:moveTo>
                        <a:cubicBezTo>
                          <a:pt x="8" y="9"/>
                          <a:pt x="3" y="11"/>
                          <a:pt x="2" y="11"/>
                        </a:cubicBezTo>
                        <a:cubicBezTo>
                          <a:pt x="0" y="11"/>
                          <a:pt x="1" y="14"/>
                          <a:pt x="1" y="14"/>
                        </a:cubicBezTo>
                        <a:cubicBezTo>
                          <a:pt x="1" y="14"/>
                          <a:pt x="11" y="15"/>
                          <a:pt x="13" y="16"/>
                        </a:cubicBezTo>
                        <a:cubicBezTo>
                          <a:pt x="15" y="16"/>
                          <a:pt x="23" y="10"/>
                          <a:pt x="23" y="10"/>
                        </a:cubicBezTo>
                        <a:cubicBezTo>
                          <a:pt x="22" y="18"/>
                          <a:pt x="22" y="18"/>
                          <a:pt x="22" y="18"/>
                        </a:cubicBezTo>
                        <a:cubicBezTo>
                          <a:pt x="26" y="19"/>
                          <a:pt x="26" y="19"/>
                          <a:pt x="26" y="19"/>
                        </a:cubicBezTo>
                        <a:cubicBezTo>
                          <a:pt x="26" y="19"/>
                          <a:pt x="28" y="12"/>
                          <a:pt x="30" y="6"/>
                        </a:cubicBezTo>
                        <a:cubicBezTo>
                          <a:pt x="32" y="3"/>
                          <a:pt x="31" y="0"/>
                          <a:pt x="31" y="0"/>
                        </a:cubicBezTo>
                        <a:cubicBezTo>
                          <a:pt x="31" y="0"/>
                          <a:pt x="29" y="0"/>
                          <a:pt x="23" y="5"/>
                        </a:cubicBezTo>
                        <a:cubicBezTo>
                          <a:pt x="17" y="11"/>
                          <a:pt x="13" y="9"/>
                          <a:pt x="11" y="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4" name="Freeform 179">
                  <a:extLst>
                    <a:ext uri="{FF2B5EF4-FFF2-40B4-BE49-F238E27FC236}">
                      <a16:creationId xmlns:a16="http://schemas.microsoft.com/office/drawing/2014/main" id="{14F3D3A3-1C81-A6E7-5416-BEFD473001D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81113" y="4808808"/>
                  <a:ext cx="566968" cy="273800"/>
                </a:xfrm>
                <a:custGeom>
                  <a:avLst/>
                  <a:gdLst>
                    <a:gd name="T0" fmla="*/ 262 w 551"/>
                    <a:gd name="T1" fmla="*/ 0 h 266"/>
                    <a:gd name="T2" fmla="*/ 238 w 551"/>
                    <a:gd name="T3" fmla="*/ 1 h 266"/>
                    <a:gd name="T4" fmla="*/ 240 w 551"/>
                    <a:gd name="T5" fmla="*/ 6 h 266"/>
                    <a:gd name="T6" fmla="*/ 264 w 551"/>
                    <a:gd name="T7" fmla="*/ 12 h 266"/>
                    <a:gd name="T8" fmla="*/ 282 w 551"/>
                    <a:gd name="T9" fmla="*/ 24 h 266"/>
                    <a:gd name="T10" fmla="*/ 281 w 551"/>
                    <a:gd name="T11" fmla="*/ 24 h 266"/>
                    <a:gd name="T12" fmla="*/ 280 w 551"/>
                    <a:gd name="T13" fmla="*/ 111 h 266"/>
                    <a:gd name="T14" fmla="*/ 218 w 551"/>
                    <a:gd name="T15" fmla="*/ 100 h 266"/>
                    <a:gd name="T16" fmla="*/ 166 w 551"/>
                    <a:gd name="T17" fmla="*/ 128 h 266"/>
                    <a:gd name="T18" fmla="*/ 94 w 551"/>
                    <a:gd name="T19" fmla="*/ 246 h 266"/>
                    <a:gd name="T20" fmla="*/ 0 w 551"/>
                    <a:gd name="T21" fmla="*/ 266 h 266"/>
                    <a:gd name="T22" fmla="*/ 224 w 551"/>
                    <a:gd name="T23" fmla="*/ 266 h 266"/>
                    <a:gd name="T24" fmla="*/ 241 w 551"/>
                    <a:gd name="T25" fmla="*/ 240 h 266"/>
                    <a:gd name="T26" fmla="*/ 212 w 551"/>
                    <a:gd name="T27" fmla="*/ 236 h 266"/>
                    <a:gd name="T28" fmla="*/ 217 w 551"/>
                    <a:gd name="T29" fmla="*/ 156 h 266"/>
                    <a:gd name="T30" fmla="*/ 280 w 551"/>
                    <a:gd name="T31" fmla="*/ 166 h 266"/>
                    <a:gd name="T32" fmla="*/ 279 w 551"/>
                    <a:gd name="T33" fmla="*/ 266 h 266"/>
                    <a:gd name="T34" fmla="*/ 364 w 551"/>
                    <a:gd name="T35" fmla="*/ 266 h 266"/>
                    <a:gd name="T36" fmla="*/ 348 w 551"/>
                    <a:gd name="T37" fmla="*/ 167 h 266"/>
                    <a:gd name="T38" fmla="*/ 451 w 551"/>
                    <a:gd name="T39" fmla="*/ 166 h 266"/>
                    <a:gd name="T40" fmla="*/ 510 w 551"/>
                    <a:gd name="T41" fmla="*/ 167 h 266"/>
                    <a:gd name="T42" fmla="*/ 519 w 551"/>
                    <a:gd name="T43" fmla="*/ 168 h 266"/>
                    <a:gd name="T44" fmla="*/ 521 w 551"/>
                    <a:gd name="T45" fmla="*/ 168 h 266"/>
                    <a:gd name="T46" fmla="*/ 545 w 551"/>
                    <a:gd name="T47" fmla="*/ 168 h 266"/>
                    <a:gd name="T48" fmla="*/ 546 w 551"/>
                    <a:gd name="T49" fmla="*/ 160 h 266"/>
                    <a:gd name="T50" fmla="*/ 532 w 551"/>
                    <a:gd name="T51" fmla="*/ 158 h 266"/>
                    <a:gd name="T52" fmla="*/ 548 w 551"/>
                    <a:gd name="T53" fmla="*/ 143 h 266"/>
                    <a:gd name="T54" fmla="*/ 551 w 551"/>
                    <a:gd name="T55" fmla="*/ 121 h 266"/>
                    <a:gd name="T56" fmla="*/ 548 w 551"/>
                    <a:gd name="T57" fmla="*/ 119 h 266"/>
                    <a:gd name="T58" fmla="*/ 545 w 551"/>
                    <a:gd name="T59" fmla="*/ 121 h 266"/>
                    <a:gd name="T60" fmla="*/ 537 w 551"/>
                    <a:gd name="T61" fmla="*/ 135 h 266"/>
                    <a:gd name="T62" fmla="*/ 511 w 551"/>
                    <a:gd name="T63" fmla="*/ 150 h 266"/>
                    <a:gd name="T64" fmla="*/ 338 w 551"/>
                    <a:gd name="T65" fmla="*/ 121 h 266"/>
                    <a:gd name="T66" fmla="*/ 315 w 551"/>
                    <a:gd name="T67" fmla="*/ 27 h 266"/>
                    <a:gd name="T68" fmla="*/ 306 w 551"/>
                    <a:gd name="T69" fmla="*/ 25 h 266"/>
                    <a:gd name="T70" fmla="*/ 306 w 551"/>
                    <a:gd name="T71" fmla="*/ 22 h 266"/>
                    <a:gd name="T72" fmla="*/ 306 w 551"/>
                    <a:gd name="T73" fmla="*/ 0 h 266"/>
                    <a:gd name="T74" fmla="*/ 288 w 551"/>
                    <a:gd name="T75" fmla="*/ 0 h 266"/>
                    <a:gd name="T76" fmla="*/ 287 w 551"/>
                    <a:gd name="T77" fmla="*/ 8 h 266"/>
                    <a:gd name="T78" fmla="*/ 262 w 551"/>
                    <a:gd name="T79" fmla="*/ 0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551" h="266">
                      <a:moveTo>
                        <a:pt x="262" y="0"/>
                      </a:moveTo>
                      <a:cubicBezTo>
                        <a:pt x="238" y="1"/>
                        <a:pt x="238" y="1"/>
                        <a:pt x="238" y="1"/>
                      </a:cubicBezTo>
                      <a:cubicBezTo>
                        <a:pt x="238" y="1"/>
                        <a:pt x="235" y="5"/>
                        <a:pt x="240" y="6"/>
                      </a:cubicBezTo>
                      <a:cubicBezTo>
                        <a:pt x="241" y="6"/>
                        <a:pt x="264" y="12"/>
                        <a:pt x="264" y="12"/>
                      </a:cubicBezTo>
                      <a:cubicBezTo>
                        <a:pt x="282" y="24"/>
                        <a:pt x="282" y="24"/>
                        <a:pt x="282" y="24"/>
                      </a:cubicBezTo>
                      <a:cubicBezTo>
                        <a:pt x="281" y="24"/>
                        <a:pt x="281" y="24"/>
                        <a:pt x="281" y="24"/>
                      </a:cubicBezTo>
                      <a:cubicBezTo>
                        <a:pt x="280" y="111"/>
                        <a:pt x="280" y="111"/>
                        <a:pt x="280" y="111"/>
                      </a:cubicBezTo>
                      <a:cubicBezTo>
                        <a:pt x="218" y="100"/>
                        <a:pt x="218" y="100"/>
                        <a:pt x="218" y="100"/>
                      </a:cubicBezTo>
                      <a:cubicBezTo>
                        <a:pt x="218" y="100"/>
                        <a:pt x="187" y="101"/>
                        <a:pt x="166" y="128"/>
                      </a:cubicBezTo>
                      <a:cubicBezTo>
                        <a:pt x="163" y="132"/>
                        <a:pt x="129" y="188"/>
                        <a:pt x="94" y="246"/>
                      </a:cubicBezTo>
                      <a:cubicBezTo>
                        <a:pt x="63" y="251"/>
                        <a:pt x="31" y="258"/>
                        <a:pt x="0" y="266"/>
                      </a:cubicBezTo>
                      <a:cubicBezTo>
                        <a:pt x="224" y="266"/>
                        <a:pt x="224" y="266"/>
                        <a:pt x="224" y="266"/>
                      </a:cubicBezTo>
                      <a:cubicBezTo>
                        <a:pt x="228" y="258"/>
                        <a:pt x="233" y="249"/>
                        <a:pt x="241" y="240"/>
                      </a:cubicBezTo>
                      <a:cubicBezTo>
                        <a:pt x="234" y="238"/>
                        <a:pt x="224" y="237"/>
                        <a:pt x="212" y="236"/>
                      </a:cubicBezTo>
                      <a:cubicBezTo>
                        <a:pt x="215" y="205"/>
                        <a:pt x="216" y="176"/>
                        <a:pt x="217" y="156"/>
                      </a:cubicBezTo>
                      <a:cubicBezTo>
                        <a:pt x="224" y="162"/>
                        <a:pt x="248" y="165"/>
                        <a:pt x="280" y="166"/>
                      </a:cubicBezTo>
                      <a:cubicBezTo>
                        <a:pt x="279" y="266"/>
                        <a:pt x="279" y="266"/>
                        <a:pt x="279" y="266"/>
                      </a:cubicBezTo>
                      <a:cubicBezTo>
                        <a:pt x="364" y="266"/>
                        <a:pt x="364" y="266"/>
                        <a:pt x="364" y="266"/>
                      </a:cubicBezTo>
                      <a:cubicBezTo>
                        <a:pt x="362" y="236"/>
                        <a:pt x="356" y="201"/>
                        <a:pt x="348" y="167"/>
                      </a:cubicBezTo>
                      <a:cubicBezTo>
                        <a:pt x="382" y="166"/>
                        <a:pt x="417" y="166"/>
                        <a:pt x="451" y="166"/>
                      </a:cubicBezTo>
                      <a:cubicBezTo>
                        <a:pt x="472" y="166"/>
                        <a:pt x="492" y="166"/>
                        <a:pt x="510" y="167"/>
                      </a:cubicBezTo>
                      <a:cubicBezTo>
                        <a:pt x="510" y="167"/>
                        <a:pt x="514" y="168"/>
                        <a:pt x="519" y="168"/>
                      </a:cubicBezTo>
                      <a:cubicBezTo>
                        <a:pt x="520" y="168"/>
                        <a:pt x="520" y="168"/>
                        <a:pt x="521" y="168"/>
                      </a:cubicBezTo>
                      <a:cubicBezTo>
                        <a:pt x="532" y="168"/>
                        <a:pt x="545" y="168"/>
                        <a:pt x="545" y="168"/>
                      </a:cubicBezTo>
                      <a:cubicBezTo>
                        <a:pt x="546" y="160"/>
                        <a:pt x="546" y="160"/>
                        <a:pt x="546" y="160"/>
                      </a:cubicBezTo>
                      <a:cubicBezTo>
                        <a:pt x="532" y="158"/>
                        <a:pt x="532" y="158"/>
                        <a:pt x="532" y="158"/>
                      </a:cubicBezTo>
                      <a:cubicBezTo>
                        <a:pt x="532" y="158"/>
                        <a:pt x="547" y="147"/>
                        <a:pt x="548" y="143"/>
                      </a:cubicBezTo>
                      <a:cubicBezTo>
                        <a:pt x="548" y="139"/>
                        <a:pt x="551" y="121"/>
                        <a:pt x="551" y="121"/>
                      </a:cubicBezTo>
                      <a:cubicBezTo>
                        <a:pt x="551" y="121"/>
                        <a:pt x="549" y="119"/>
                        <a:pt x="548" y="119"/>
                      </a:cubicBezTo>
                      <a:cubicBezTo>
                        <a:pt x="547" y="119"/>
                        <a:pt x="546" y="120"/>
                        <a:pt x="545" y="121"/>
                      </a:cubicBezTo>
                      <a:cubicBezTo>
                        <a:pt x="545" y="123"/>
                        <a:pt x="539" y="131"/>
                        <a:pt x="537" y="135"/>
                      </a:cubicBezTo>
                      <a:cubicBezTo>
                        <a:pt x="511" y="150"/>
                        <a:pt x="511" y="150"/>
                        <a:pt x="511" y="150"/>
                      </a:cubicBezTo>
                      <a:cubicBezTo>
                        <a:pt x="338" y="121"/>
                        <a:pt x="338" y="121"/>
                        <a:pt x="338" y="121"/>
                      </a:cubicBezTo>
                      <a:cubicBezTo>
                        <a:pt x="326" y="73"/>
                        <a:pt x="315" y="27"/>
                        <a:pt x="315" y="27"/>
                      </a:cubicBezTo>
                      <a:cubicBezTo>
                        <a:pt x="306" y="25"/>
                        <a:pt x="306" y="25"/>
                        <a:pt x="306" y="25"/>
                      </a:cubicBezTo>
                      <a:cubicBezTo>
                        <a:pt x="306" y="22"/>
                        <a:pt x="306" y="22"/>
                        <a:pt x="306" y="22"/>
                      </a:cubicBezTo>
                      <a:cubicBezTo>
                        <a:pt x="306" y="0"/>
                        <a:pt x="306" y="0"/>
                        <a:pt x="306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87" y="8"/>
                        <a:pt x="287" y="8"/>
                        <a:pt x="287" y="8"/>
                      </a:cubicBezTo>
                      <a:cubicBezTo>
                        <a:pt x="262" y="0"/>
                        <a:pt x="262" y="0"/>
                        <a:pt x="262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5" name="Freeform 178">
                  <a:extLst>
                    <a:ext uri="{FF2B5EF4-FFF2-40B4-BE49-F238E27FC236}">
                      <a16:creationId xmlns:a16="http://schemas.microsoft.com/office/drawing/2014/main" id="{2086B0B2-C30A-9FE1-D679-E022F6763DF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695018" y="4798755"/>
                  <a:ext cx="340636" cy="295218"/>
                </a:xfrm>
                <a:custGeom>
                  <a:avLst/>
                  <a:gdLst>
                    <a:gd name="T0" fmla="*/ 214 w 308"/>
                    <a:gd name="T1" fmla="*/ 0 h 267"/>
                    <a:gd name="T2" fmla="*/ 208 w 308"/>
                    <a:gd name="T3" fmla="*/ 1 h 267"/>
                    <a:gd name="T4" fmla="*/ 210 w 308"/>
                    <a:gd name="T5" fmla="*/ 13 h 267"/>
                    <a:gd name="T6" fmla="*/ 195 w 308"/>
                    <a:gd name="T7" fmla="*/ 4 h 267"/>
                    <a:gd name="T8" fmla="*/ 194 w 308"/>
                    <a:gd name="T9" fmla="*/ 4 h 267"/>
                    <a:gd name="T10" fmla="*/ 175 w 308"/>
                    <a:gd name="T11" fmla="*/ 8 h 267"/>
                    <a:gd name="T12" fmla="*/ 177 w 308"/>
                    <a:gd name="T13" fmla="*/ 12 h 267"/>
                    <a:gd name="T14" fmla="*/ 190 w 308"/>
                    <a:gd name="T15" fmla="*/ 16 h 267"/>
                    <a:gd name="T16" fmla="*/ 210 w 308"/>
                    <a:gd name="T17" fmla="*/ 32 h 267"/>
                    <a:gd name="T18" fmla="*/ 230 w 308"/>
                    <a:gd name="T19" fmla="*/ 190 h 267"/>
                    <a:gd name="T20" fmla="*/ 172 w 308"/>
                    <a:gd name="T21" fmla="*/ 119 h 267"/>
                    <a:gd name="T22" fmla="*/ 124 w 308"/>
                    <a:gd name="T23" fmla="*/ 94 h 267"/>
                    <a:gd name="T24" fmla="*/ 74 w 308"/>
                    <a:gd name="T25" fmla="*/ 128 h 267"/>
                    <a:gd name="T26" fmla="*/ 0 w 308"/>
                    <a:gd name="T27" fmla="*/ 267 h 267"/>
                    <a:gd name="T28" fmla="*/ 135 w 308"/>
                    <a:gd name="T29" fmla="*/ 267 h 267"/>
                    <a:gd name="T30" fmla="*/ 139 w 308"/>
                    <a:gd name="T31" fmla="*/ 192 h 267"/>
                    <a:gd name="T32" fmla="*/ 218 w 308"/>
                    <a:gd name="T33" fmla="*/ 267 h 267"/>
                    <a:gd name="T34" fmla="*/ 308 w 308"/>
                    <a:gd name="T35" fmla="*/ 267 h 267"/>
                    <a:gd name="T36" fmla="*/ 223 w 308"/>
                    <a:gd name="T37" fmla="*/ 29 h 267"/>
                    <a:gd name="T38" fmla="*/ 222 w 308"/>
                    <a:gd name="T39" fmla="*/ 20 h 267"/>
                    <a:gd name="T40" fmla="*/ 214 w 308"/>
                    <a:gd name="T41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08" h="267">
                      <a:moveTo>
                        <a:pt x="214" y="0"/>
                      </a:moveTo>
                      <a:cubicBezTo>
                        <a:pt x="208" y="1"/>
                        <a:pt x="208" y="1"/>
                        <a:pt x="208" y="1"/>
                      </a:cubicBezTo>
                      <a:cubicBezTo>
                        <a:pt x="210" y="13"/>
                        <a:pt x="210" y="13"/>
                        <a:pt x="210" y="13"/>
                      </a:cubicBezTo>
                      <a:cubicBezTo>
                        <a:pt x="210" y="13"/>
                        <a:pt x="198" y="4"/>
                        <a:pt x="195" y="4"/>
                      </a:cubicBezTo>
                      <a:cubicBezTo>
                        <a:pt x="194" y="4"/>
                        <a:pt x="194" y="4"/>
                        <a:pt x="194" y="4"/>
                      </a:cubicBezTo>
                      <a:cubicBezTo>
                        <a:pt x="191" y="5"/>
                        <a:pt x="175" y="8"/>
                        <a:pt x="175" y="8"/>
                      </a:cubicBezTo>
                      <a:cubicBezTo>
                        <a:pt x="175" y="8"/>
                        <a:pt x="173" y="12"/>
                        <a:pt x="177" y="12"/>
                      </a:cubicBezTo>
                      <a:cubicBezTo>
                        <a:pt x="178" y="12"/>
                        <a:pt x="187" y="15"/>
                        <a:pt x="190" y="16"/>
                      </a:cubicBezTo>
                      <a:cubicBezTo>
                        <a:pt x="210" y="32"/>
                        <a:pt x="210" y="32"/>
                        <a:pt x="210" y="32"/>
                      </a:cubicBezTo>
                      <a:cubicBezTo>
                        <a:pt x="230" y="190"/>
                        <a:pt x="230" y="190"/>
                        <a:pt x="230" y="190"/>
                      </a:cubicBezTo>
                      <a:cubicBezTo>
                        <a:pt x="200" y="154"/>
                        <a:pt x="177" y="125"/>
                        <a:pt x="172" y="119"/>
                      </a:cubicBezTo>
                      <a:cubicBezTo>
                        <a:pt x="164" y="107"/>
                        <a:pt x="145" y="94"/>
                        <a:pt x="124" y="94"/>
                      </a:cubicBezTo>
                      <a:cubicBezTo>
                        <a:pt x="107" y="94"/>
                        <a:pt x="89" y="102"/>
                        <a:pt x="74" y="128"/>
                      </a:cubicBezTo>
                      <a:cubicBezTo>
                        <a:pt x="54" y="164"/>
                        <a:pt x="24" y="222"/>
                        <a:pt x="0" y="267"/>
                      </a:cubicBezTo>
                      <a:cubicBezTo>
                        <a:pt x="135" y="267"/>
                        <a:pt x="135" y="267"/>
                        <a:pt x="135" y="267"/>
                      </a:cubicBezTo>
                      <a:cubicBezTo>
                        <a:pt x="138" y="241"/>
                        <a:pt x="139" y="214"/>
                        <a:pt x="139" y="192"/>
                      </a:cubicBezTo>
                      <a:cubicBezTo>
                        <a:pt x="218" y="267"/>
                        <a:pt x="218" y="267"/>
                        <a:pt x="218" y="267"/>
                      </a:cubicBezTo>
                      <a:cubicBezTo>
                        <a:pt x="308" y="267"/>
                        <a:pt x="308" y="267"/>
                        <a:pt x="308" y="267"/>
                      </a:cubicBezTo>
                      <a:cubicBezTo>
                        <a:pt x="297" y="187"/>
                        <a:pt x="223" y="29"/>
                        <a:pt x="223" y="29"/>
                      </a:cubicBezTo>
                      <a:cubicBezTo>
                        <a:pt x="223" y="29"/>
                        <a:pt x="223" y="24"/>
                        <a:pt x="222" y="20"/>
                      </a:cubicBezTo>
                      <a:cubicBezTo>
                        <a:pt x="218" y="11"/>
                        <a:pt x="214" y="0"/>
                        <a:pt x="214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6" name="Freeform 176">
                  <a:extLst>
                    <a:ext uri="{FF2B5EF4-FFF2-40B4-BE49-F238E27FC236}">
                      <a16:creationId xmlns:a16="http://schemas.microsoft.com/office/drawing/2014/main" id="{47CC7E42-79D5-B178-295C-06019667B8C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36034" y="4916018"/>
                  <a:ext cx="541027" cy="181578"/>
                </a:xfrm>
                <a:custGeom>
                  <a:avLst/>
                  <a:gdLst>
                    <a:gd name="T0" fmla="*/ 91 w 375"/>
                    <a:gd name="T1" fmla="*/ 0 h 126"/>
                    <a:gd name="T2" fmla="*/ 48 w 375"/>
                    <a:gd name="T3" fmla="*/ 25 h 126"/>
                    <a:gd name="T4" fmla="*/ 0 w 375"/>
                    <a:gd name="T5" fmla="*/ 126 h 126"/>
                    <a:gd name="T6" fmla="*/ 88 w 375"/>
                    <a:gd name="T7" fmla="*/ 126 h 126"/>
                    <a:gd name="T8" fmla="*/ 92 w 375"/>
                    <a:gd name="T9" fmla="*/ 48 h 126"/>
                    <a:gd name="T10" fmla="*/ 152 w 375"/>
                    <a:gd name="T11" fmla="*/ 55 h 126"/>
                    <a:gd name="T12" fmla="*/ 240 w 375"/>
                    <a:gd name="T13" fmla="*/ 52 h 126"/>
                    <a:gd name="T14" fmla="*/ 331 w 375"/>
                    <a:gd name="T15" fmla="*/ 50 h 126"/>
                    <a:gd name="T16" fmla="*/ 341 w 375"/>
                    <a:gd name="T17" fmla="*/ 50 h 126"/>
                    <a:gd name="T18" fmla="*/ 349 w 375"/>
                    <a:gd name="T19" fmla="*/ 51 h 126"/>
                    <a:gd name="T20" fmla="*/ 351 w 375"/>
                    <a:gd name="T21" fmla="*/ 51 h 126"/>
                    <a:gd name="T22" fmla="*/ 371 w 375"/>
                    <a:gd name="T23" fmla="*/ 50 h 126"/>
                    <a:gd name="T24" fmla="*/ 372 w 375"/>
                    <a:gd name="T25" fmla="*/ 44 h 126"/>
                    <a:gd name="T26" fmla="*/ 360 w 375"/>
                    <a:gd name="T27" fmla="*/ 42 h 126"/>
                    <a:gd name="T28" fmla="*/ 373 w 375"/>
                    <a:gd name="T29" fmla="*/ 29 h 126"/>
                    <a:gd name="T30" fmla="*/ 375 w 375"/>
                    <a:gd name="T31" fmla="*/ 10 h 126"/>
                    <a:gd name="T32" fmla="*/ 372 w 375"/>
                    <a:gd name="T33" fmla="*/ 9 h 126"/>
                    <a:gd name="T34" fmla="*/ 370 w 375"/>
                    <a:gd name="T35" fmla="*/ 10 h 126"/>
                    <a:gd name="T36" fmla="*/ 363 w 375"/>
                    <a:gd name="T37" fmla="*/ 22 h 126"/>
                    <a:gd name="T38" fmla="*/ 342 w 375"/>
                    <a:gd name="T39" fmla="*/ 36 h 126"/>
                    <a:gd name="T40" fmla="*/ 176 w 375"/>
                    <a:gd name="T41" fmla="*/ 13 h 126"/>
                    <a:gd name="T42" fmla="*/ 91 w 375"/>
                    <a:gd name="T43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75" h="126">
                      <a:moveTo>
                        <a:pt x="91" y="0"/>
                      </a:moveTo>
                      <a:cubicBezTo>
                        <a:pt x="91" y="0"/>
                        <a:pt x="65" y="2"/>
                        <a:pt x="48" y="25"/>
                      </a:cubicBezTo>
                      <a:cubicBezTo>
                        <a:pt x="46" y="29"/>
                        <a:pt x="23" y="76"/>
                        <a:pt x="0" y="126"/>
                      </a:cubicBezTo>
                      <a:cubicBezTo>
                        <a:pt x="88" y="126"/>
                        <a:pt x="88" y="126"/>
                        <a:pt x="88" y="126"/>
                      </a:cubicBezTo>
                      <a:cubicBezTo>
                        <a:pt x="91" y="96"/>
                        <a:pt x="92" y="67"/>
                        <a:pt x="92" y="48"/>
                      </a:cubicBezTo>
                      <a:cubicBezTo>
                        <a:pt x="99" y="53"/>
                        <a:pt x="121" y="55"/>
                        <a:pt x="152" y="55"/>
                      </a:cubicBezTo>
                      <a:cubicBezTo>
                        <a:pt x="177" y="55"/>
                        <a:pt x="208" y="53"/>
                        <a:pt x="240" y="52"/>
                      </a:cubicBezTo>
                      <a:cubicBezTo>
                        <a:pt x="271" y="51"/>
                        <a:pt x="303" y="50"/>
                        <a:pt x="331" y="50"/>
                      </a:cubicBezTo>
                      <a:cubicBezTo>
                        <a:pt x="334" y="50"/>
                        <a:pt x="338" y="50"/>
                        <a:pt x="341" y="50"/>
                      </a:cubicBezTo>
                      <a:cubicBezTo>
                        <a:pt x="341" y="50"/>
                        <a:pt x="345" y="51"/>
                        <a:pt x="349" y="51"/>
                      </a:cubicBezTo>
                      <a:cubicBezTo>
                        <a:pt x="349" y="51"/>
                        <a:pt x="350" y="51"/>
                        <a:pt x="351" y="51"/>
                      </a:cubicBezTo>
                      <a:cubicBezTo>
                        <a:pt x="360" y="50"/>
                        <a:pt x="371" y="50"/>
                        <a:pt x="371" y="50"/>
                      </a:cubicBezTo>
                      <a:cubicBezTo>
                        <a:pt x="372" y="44"/>
                        <a:pt x="372" y="44"/>
                        <a:pt x="372" y="44"/>
                      </a:cubicBezTo>
                      <a:cubicBezTo>
                        <a:pt x="360" y="42"/>
                        <a:pt x="360" y="42"/>
                        <a:pt x="360" y="42"/>
                      </a:cubicBezTo>
                      <a:cubicBezTo>
                        <a:pt x="360" y="42"/>
                        <a:pt x="373" y="33"/>
                        <a:pt x="373" y="29"/>
                      </a:cubicBezTo>
                      <a:cubicBezTo>
                        <a:pt x="373" y="26"/>
                        <a:pt x="375" y="10"/>
                        <a:pt x="375" y="10"/>
                      </a:cubicBezTo>
                      <a:cubicBezTo>
                        <a:pt x="375" y="10"/>
                        <a:pt x="374" y="9"/>
                        <a:pt x="372" y="9"/>
                      </a:cubicBezTo>
                      <a:cubicBezTo>
                        <a:pt x="372" y="9"/>
                        <a:pt x="371" y="9"/>
                        <a:pt x="370" y="10"/>
                      </a:cubicBezTo>
                      <a:cubicBezTo>
                        <a:pt x="370" y="11"/>
                        <a:pt x="365" y="19"/>
                        <a:pt x="363" y="22"/>
                      </a:cubicBezTo>
                      <a:cubicBezTo>
                        <a:pt x="342" y="36"/>
                        <a:pt x="342" y="36"/>
                        <a:pt x="342" y="36"/>
                      </a:cubicBezTo>
                      <a:cubicBezTo>
                        <a:pt x="176" y="13"/>
                        <a:pt x="176" y="13"/>
                        <a:pt x="176" y="13"/>
                      </a:cubicBezTo>
                      <a:cubicBezTo>
                        <a:pt x="91" y="0"/>
                        <a:pt x="91" y="0"/>
                        <a:pt x="91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2300791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B15450-43CA-4C28-4683-134C596D97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7FD1956-9D56-FA8B-4260-B1C5653DB0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5527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606" imgH="608" progId="TCLayout.ActiveDocument.1">
                  <p:embed/>
                </p:oleObj>
              </mc:Choice>
              <mc:Fallback>
                <p:oleObj name="think-cell Folie" r:id="rId23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257DB3-4A36-6F78-2B87-E93C7268A9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0923474-9946-A8FB-9160-A79BC1AB8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11305257" cy="936104"/>
          </a:xfrm>
        </p:spPr>
        <p:txBody>
          <a:bodyPr vert="horz"/>
          <a:lstStyle/>
          <a:p>
            <a:r>
              <a:rPr lang="de-DE" dirty="0"/>
              <a:t>Rechtliche Veränderungen – EU-Produkthaftungsrichtlinie</a:t>
            </a:r>
            <a:br>
              <a:rPr lang="de-DE" dirty="0"/>
            </a:br>
            <a:r>
              <a:rPr lang="de-DE" sz="2400" dirty="0"/>
              <a:t>(bis 2026 umzusetzen)</a:t>
            </a:r>
            <a:endParaRPr lang="de-DE" dirty="0"/>
          </a:p>
        </p:txBody>
      </p:sp>
      <p:cxnSp>
        <p:nvCxnSpPr>
          <p:cNvPr id="11" name="element_02_01">
            <a:extLst>
              <a:ext uri="{FF2B5EF4-FFF2-40B4-BE49-F238E27FC236}">
                <a16:creationId xmlns:a16="http://schemas.microsoft.com/office/drawing/2014/main" id="{C315BC22-AD72-9992-A488-33E0FA0506F0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 flipV="1">
            <a:off x="443372" y="2544942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element_03_01">
            <a:extLst>
              <a:ext uri="{FF2B5EF4-FFF2-40B4-BE49-F238E27FC236}">
                <a16:creationId xmlns:a16="http://schemas.microsoft.com/office/drawing/2014/main" id="{5E82F045-D547-1F84-EFB7-FA3FADAA09E6}"/>
              </a:ext>
            </a:extLst>
          </p:cNvPr>
          <p:cNvSpPr txBox="1"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443372" y="1772800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195" name="element_02_02">
            <a:extLst>
              <a:ext uri="{FF2B5EF4-FFF2-40B4-BE49-F238E27FC236}">
                <a16:creationId xmlns:a16="http://schemas.microsoft.com/office/drawing/2014/main" id="{9513100E-E9ED-F62C-6E97-761A85942CB7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V="1">
            <a:off x="443372" y="3461084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6" name="element_03_02">
            <a:extLst>
              <a:ext uri="{FF2B5EF4-FFF2-40B4-BE49-F238E27FC236}">
                <a16:creationId xmlns:a16="http://schemas.microsoft.com/office/drawing/2014/main" id="{AE4D2D6D-DCA1-9C6B-D00F-BD8E9B17B365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443372" y="2688942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9" name="element_01_01">
            <a:extLst>
              <a:ext uri="{FF2B5EF4-FFF2-40B4-BE49-F238E27FC236}">
                <a16:creationId xmlns:a16="http://schemas.microsoft.com/office/drawing/2014/main" id="{5A60123D-A668-7975-966A-9E10B252AAA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963553" y="1628800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e derzeit geltende Haftung für fehlerhafte Produkte (EU-Richtlinie aus dem Jahr 1985) wird ersetzt</a:t>
            </a:r>
          </a:p>
        </p:txBody>
      </p:sp>
      <p:sp>
        <p:nvSpPr>
          <p:cNvPr id="10" name="element_01_02">
            <a:extLst>
              <a:ext uri="{FF2B5EF4-FFF2-40B4-BE49-F238E27FC236}">
                <a16:creationId xmlns:a16="http://schemas.microsoft.com/office/drawing/2014/main" id="{41F7E778-0FFE-F7C2-3694-8943C9D605A9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963553" y="2544942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rweiterung des Produktbegriffs (Aufnahme Klarstellung zu Software, KI, verbundene Dienste etc.)</a:t>
            </a:r>
          </a:p>
        </p:txBody>
      </p:sp>
      <p:cxnSp>
        <p:nvCxnSpPr>
          <p:cNvPr id="20" name="element_02_03">
            <a:extLst>
              <a:ext uri="{FF2B5EF4-FFF2-40B4-BE49-F238E27FC236}">
                <a16:creationId xmlns:a16="http://schemas.microsoft.com/office/drawing/2014/main" id="{EEA5687E-4F24-6D84-1FA6-3DA42830922E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V="1">
            <a:off x="442910" y="4377226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" name="element_03_03">
            <a:extLst>
              <a:ext uri="{FF2B5EF4-FFF2-40B4-BE49-F238E27FC236}">
                <a16:creationId xmlns:a16="http://schemas.microsoft.com/office/drawing/2014/main" id="{E0DACE47-D5BF-EFF6-BBD5-C72611C67364}"/>
              </a:ext>
            </a:extLst>
          </p:cNvPr>
          <p:cNvSpPr txBox="1">
            <a:spLocks noChangeAspect="1"/>
          </p:cNvSpPr>
          <p:nvPr>
            <p:custDataLst>
              <p:tags r:id="rId9"/>
            </p:custDataLst>
          </p:nvPr>
        </p:nvSpPr>
        <p:spPr bwMode="gray">
          <a:xfrm>
            <a:off x="443372" y="3605084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2" name="element_01_03">
            <a:extLst>
              <a:ext uri="{FF2B5EF4-FFF2-40B4-BE49-F238E27FC236}">
                <a16:creationId xmlns:a16="http://schemas.microsoft.com/office/drawing/2014/main" id="{BAEC17F6-9349-FEB6-DC67-27A38E61B242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963553" y="3461084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rweiterung des Fehlerbegriffs (Abstellen auf Sicherheitserwartungen und gesetzliche Sicherheitsvorgaben, Beobachtung auch nach Inverkehrbringen)</a:t>
            </a:r>
          </a:p>
        </p:txBody>
      </p:sp>
      <p:cxnSp>
        <p:nvCxnSpPr>
          <p:cNvPr id="25" name="element_02_04" hidden="1">
            <a:extLst>
              <a:ext uri="{FF2B5EF4-FFF2-40B4-BE49-F238E27FC236}">
                <a16:creationId xmlns:a16="http://schemas.microsoft.com/office/drawing/2014/main" id="{33A64AA9-848E-BECE-C7EB-74F400B52CBC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V="1">
            <a:off x="443372" y="5293368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element_03_04">
            <a:extLst>
              <a:ext uri="{FF2B5EF4-FFF2-40B4-BE49-F238E27FC236}">
                <a16:creationId xmlns:a16="http://schemas.microsoft.com/office/drawing/2014/main" id="{D4A8F263-48A4-85A1-52BE-D1FD339E1723}"/>
              </a:ext>
            </a:extLst>
          </p:cNvPr>
          <p:cNvSpPr txBox="1">
            <a:spLocks noChangeAspect="1"/>
          </p:cNvSpPr>
          <p:nvPr>
            <p:custDataLst>
              <p:tags r:id="rId12"/>
            </p:custDataLst>
          </p:nvPr>
        </p:nvSpPr>
        <p:spPr bwMode="gray">
          <a:xfrm>
            <a:off x="443372" y="4521226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3" name="element_01_04">
            <a:extLst>
              <a:ext uri="{FF2B5EF4-FFF2-40B4-BE49-F238E27FC236}">
                <a16:creationId xmlns:a16="http://schemas.microsoft.com/office/drawing/2014/main" id="{F20108BE-941B-0D7B-FAF9-3A747952E9C7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63553" y="4377226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rweiterung des Schadenbegriffs (auch Vernichtung oder Verfälschung von Daten, die nicht für berufliche Zwecke verwendet werden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423A6D-915D-8EA7-4C07-567918DB1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1DEA428-0444-73F8-A455-5B04718C0D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70A2C8-24BE-F240-86FB-FB1C1AC17C5F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37" name="element_03_04">
            <a:extLst>
              <a:ext uri="{FF2B5EF4-FFF2-40B4-BE49-F238E27FC236}">
                <a16:creationId xmlns:a16="http://schemas.microsoft.com/office/drawing/2014/main" id="{E64E72A5-DB7E-D17C-3FAE-260609B5ED6D}"/>
              </a:ext>
            </a:extLst>
          </p:cNvPr>
          <p:cNvSpPr txBox="1">
            <a:spLocks noChangeAspect="1"/>
          </p:cNvSpPr>
          <p:nvPr>
            <p:custDataLst>
              <p:tags r:id="rId14"/>
            </p:custDataLst>
          </p:nvPr>
        </p:nvSpPr>
        <p:spPr bwMode="gray">
          <a:xfrm>
            <a:off x="443372" y="5293368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8" name="element_01_04">
            <a:extLst>
              <a:ext uri="{FF2B5EF4-FFF2-40B4-BE49-F238E27FC236}">
                <a16:creationId xmlns:a16="http://schemas.microsoft.com/office/drawing/2014/main" id="{5D397B02-CA90-73D8-70EF-CE1295D1CE25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964013" y="5129323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rweiterung des Herstellerbegriffs (neu: Fulfillment-Dienstleister, Bevollmächtigte, Online-Plattform-Betreiber)</a:t>
            </a:r>
          </a:p>
        </p:txBody>
      </p:sp>
      <p:sp>
        <p:nvSpPr>
          <p:cNvPr id="39" name="element_03_04">
            <a:extLst>
              <a:ext uri="{FF2B5EF4-FFF2-40B4-BE49-F238E27FC236}">
                <a16:creationId xmlns:a16="http://schemas.microsoft.com/office/drawing/2014/main" id="{6532C30D-0B31-DAB5-EEB6-A19546798626}"/>
              </a:ext>
            </a:extLst>
          </p:cNvPr>
          <p:cNvSpPr txBox="1">
            <a:spLocks noChangeAspect="1"/>
          </p:cNvSpPr>
          <p:nvPr>
            <p:custDataLst>
              <p:tags r:id="rId16"/>
            </p:custDataLst>
          </p:nvPr>
        </p:nvSpPr>
        <p:spPr bwMode="gray">
          <a:xfrm>
            <a:off x="442913" y="6065510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" name="element_01_04">
            <a:extLst>
              <a:ext uri="{FF2B5EF4-FFF2-40B4-BE49-F238E27FC236}">
                <a16:creationId xmlns:a16="http://schemas.microsoft.com/office/drawing/2014/main" id="{ABDFE699-CA1E-8AB8-E773-A673C1A96FA3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964013" y="5901464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Offenlegung von Beweismitteln – weitgehende Verpflichtung zur Herstellung von „Augenhöhe“</a:t>
            </a:r>
          </a:p>
        </p:txBody>
      </p:sp>
      <p:cxnSp>
        <p:nvCxnSpPr>
          <p:cNvPr id="41" name="element_02_03">
            <a:extLst>
              <a:ext uri="{FF2B5EF4-FFF2-40B4-BE49-F238E27FC236}">
                <a16:creationId xmlns:a16="http://schemas.microsoft.com/office/drawing/2014/main" id="{85228E56-C9E7-734E-ED5B-1E721E70C156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 flipV="1">
            <a:off x="442911" y="5180826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2" name="element_02_03">
            <a:extLst>
              <a:ext uri="{FF2B5EF4-FFF2-40B4-BE49-F238E27FC236}">
                <a16:creationId xmlns:a16="http://schemas.microsoft.com/office/drawing/2014/main" id="{1511AE45-5313-3C5A-770B-B3825F926638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 flipV="1">
            <a:off x="442912" y="5984875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element_01_01">
            <a:extLst>
              <a:ext uri="{FF2B5EF4-FFF2-40B4-BE49-F238E27FC236}">
                <a16:creationId xmlns:a16="http://schemas.microsoft.com/office/drawing/2014/main" id="{09D679FE-C787-5A2F-97E3-A599B9503C19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443372" y="1130188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Wesentliche Inhalte</a:t>
            </a:r>
          </a:p>
        </p:txBody>
      </p:sp>
    </p:spTree>
    <p:extLst>
      <p:ext uri="{BB962C8B-B14F-4D97-AF65-F5344CB8AC3E}">
        <p14:creationId xmlns:p14="http://schemas.microsoft.com/office/powerpoint/2010/main" val="13058367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96" grpId="0" animBg="1"/>
      <p:bldP spid="9" grpId="0"/>
      <p:bldP spid="10" grpId="0"/>
      <p:bldP spid="21" grpId="0" animBg="1"/>
      <p:bldP spid="12" grpId="0"/>
      <p:bldP spid="26" grpId="0" animBg="1"/>
      <p:bldP spid="13" grpId="0"/>
      <p:bldP spid="37" grpId="0" animBg="1"/>
      <p:bldP spid="38" grpId="0"/>
      <p:bldP spid="39" grpId="0" animBg="1"/>
      <p:bldP spid="4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2CF4EA-36E4-E801-5203-94BE52B06D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0C14B3E-D89E-5BAC-95A6-E0014B1062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606" imgH="608" progId="TCLayout.ActiveDocument.1">
                  <p:embed/>
                </p:oleObj>
              </mc:Choice>
              <mc:Fallback>
                <p:oleObj name="think-cell Folie" r:id="rId12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FD1956-9D56-FA8B-4260-B1C5653DB0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D665963-6FD4-43ED-ED3B-FA949F7E0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11305257" cy="936104"/>
          </a:xfrm>
        </p:spPr>
        <p:txBody>
          <a:bodyPr vert="horz"/>
          <a:lstStyle/>
          <a:p>
            <a:r>
              <a:rPr lang="de-DE" dirty="0"/>
              <a:t>Rechtliche Veränderungen – EU-Produkthaftungsrichtlinie</a:t>
            </a:r>
            <a:br>
              <a:rPr lang="de-DE" dirty="0"/>
            </a:br>
            <a:r>
              <a:rPr lang="de-DE" sz="2400" dirty="0"/>
              <a:t>(bis 2026 umzusetzen)</a:t>
            </a:r>
            <a:endParaRPr lang="de-DE" dirty="0"/>
          </a:p>
        </p:txBody>
      </p:sp>
      <p:cxnSp>
        <p:nvCxnSpPr>
          <p:cNvPr id="11" name="element_02_01">
            <a:extLst>
              <a:ext uri="{FF2B5EF4-FFF2-40B4-BE49-F238E27FC236}">
                <a16:creationId xmlns:a16="http://schemas.microsoft.com/office/drawing/2014/main" id="{5D7104C8-27F5-15E2-B8EB-647F601F518E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 flipV="1">
            <a:off x="443372" y="2544942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element_03_01">
            <a:extLst>
              <a:ext uri="{FF2B5EF4-FFF2-40B4-BE49-F238E27FC236}">
                <a16:creationId xmlns:a16="http://schemas.microsoft.com/office/drawing/2014/main" id="{336FDFDC-CCE1-767D-F823-B48E64DDE842}"/>
              </a:ext>
            </a:extLst>
          </p:cNvPr>
          <p:cNvSpPr txBox="1"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443372" y="1772800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96" name="element_03_02">
            <a:extLst>
              <a:ext uri="{FF2B5EF4-FFF2-40B4-BE49-F238E27FC236}">
                <a16:creationId xmlns:a16="http://schemas.microsoft.com/office/drawing/2014/main" id="{D07586FA-9EEC-9A82-248B-F839A11032FD}"/>
              </a:ext>
            </a:extLst>
          </p:cNvPr>
          <p:cNvSpPr txBox="1"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443372" y="2688942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9" name="element_01_01">
            <a:extLst>
              <a:ext uri="{FF2B5EF4-FFF2-40B4-BE49-F238E27FC236}">
                <a16:creationId xmlns:a16="http://schemas.microsoft.com/office/drawing/2014/main" id="{EFCB48C3-6401-F21B-F7F3-F97FDF909E69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963553" y="1628800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Beweislastumkehr (Vermutungs-Regelung für den Geschädigten)</a:t>
            </a:r>
          </a:p>
        </p:txBody>
      </p:sp>
      <p:sp>
        <p:nvSpPr>
          <p:cNvPr id="10" name="element_01_02">
            <a:extLst>
              <a:ext uri="{FF2B5EF4-FFF2-40B4-BE49-F238E27FC236}">
                <a16:creationId xmlns:a16="http://schemas.microsoft.com/office/drawing/2014/main" id="{9274853D-B5F6-6963-0216-AFBC5D48223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963553" y="2544942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treichung Haftungsobergrenze und Selbstbehalt</a:t>
            </a:r>
          </a:p>
        </p:txBody>
      </p:sp>
      <p:cxnSp>
        <p:nvCxnSpPr>
          <p:cNvPr id="25" name="element_02_04" hidden="1">
            <a:extLst>
              <a:ext uri="{FF2B5EF4-FFF2-40B4-BE49-F238E27FC236}">
                <a16:creationId xmlns:a16="http://schemas.microsoft.com/office/drawing/2014/main" id="{D9581F9D-52AA-6BAB-FC6E-86F172C18209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V="1">
            <a:off x="443372" y="5293368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E64E48D-5962-C7E5-D790-01F85FDB8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5AACA54-3CAB-0C6C-582B-320424341A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70A2C8-24BE-F240-86FB-FB1C1AC17C5F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30" name="element_01_01">
            <a:extLst>
              <a:ext uri="{FF2B5EF4-FFF2-40B4-BE49-F238E27FC236}">
                <a16:creationId xmlns:a16="http://schemas.microsoft.com/office/drawing/2014/main" id="{601CB18A-67C5-89A3-A69D-4CB285DBDCB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443372" y="1130188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Wesentliche Inhalte</a:t>
            </a:r>
          </a:p>
        </p:txBody>
      </p:sp>
      <p:sp>
        <p:nvSpPr>
          <p:cNvPr id="3" name="Arrow">
            <a:extLst>
              <a:ext uri="{FF2B5EF4-FFF2-40B4-BE49-F238E27FC236}">
                <a16:creationId xmlns:a16="http://schemas.microsoft.com/office/drawing/2014/main" id="{1765E65F-AFA9-ED7F-BA11-B1CA509F61AE}"/>
              </a:ext>
            </a:extLst>
          </p:cNvPr>
          <p:cNvSpPr/>
          <p:nvPr/>
        </p:nvSpPr>
        <p:spPr bwMode="gray">
          <a:xfrm>
            <a:off x="463551" y="3691481"/>
            <a:ext cx="1620000" cy="576000"/>
          </a:xfrm>
          <a:prstGeom prst="chevron">
            <a:avLst>
              <a:gd name="adj" fmla="val 21571"/>
            </a:avLst>
          </a:prstGeom>
          <a:solidFill>
            <a:schemeClr val="accent1"/>
          </a:solidFill>
          <a:ln w="12700" cmpd="sng">
            <a:solidFill>
              <a:schemeClr val="tx2"/>
            </a:solidFill>
            <a:prstDash val="solid"/>
            <a:miter lim="800000"/>
            <a:headEnd/>
            <a:tailEnd/>
          </a:ln>
        </p:spPr>
        <p:txBody>
          <a:bodyPr wrap="square" lIns="72000" tIns="72000" rIns="72000" bIns="72000" anchor="ctr" anchorCtr="1">
            <a:noAutofit/>
          </a:bodyPr>
          <a:lstStyle/>
          <a:p>
            <a:pPr algn="ctr">
              <a:spcBef>
                <a:spcPts val="600"/>
              </a:spcBef>
            </a:pPr>
            <a:r>
              <a:rPr lang="de-DE" sz="1600" dirty="0">
                <a:solidFill>
                  <a:schemeClr val="accent2"/>
                </a:solidFill>
              </a:rPr>
              <a:t>Ergebnis</a:t>
            </a:r>
          </a:p>
        </p:txBody>
      </p:sp>
      <p:sp>
        <p:nvSpPr>
          <p:cNvPr id="4" name="element_01_02">
            <a:extLst>
              <a:ext uri="{FF2B5EF4-FFF2-40B4-BE49-F238E27FC236}">
                <a16:creationId xmlns:a16="http://schemas.microsoft.com/office/drawing/2014/main" id="{A741936A-E0E9-29B3-2832-A0A182D44AF1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2279576" y="3668890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Modernisierung und </a:t>
            </a:r>
            <a:r>
              <a:rPr lang="de-DE" b="1" dirty="0"/>
              <a:t>Stärkung des Verbraucherschutzes</a:t>
            </a:r>
          </a:p>
        </p:txBody>
      </p:sp>
    </p:spTree>
    <p:extLst>
      <p:ext uri="{BB962C8B-B14F-4D97-AF65-F5344CB8AC3E}">
        <p14:creationId xmlns:p14="http://schemas.microsoft.com/office/powerpoint/2010/main" val="3835482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96" grpId="0" animBg="1"/>
      <p:bldP spid="9" grpId="0"/>
      <p:bldP spid="10" grpId="0"/>
      <p:bldP spid="3" grpId="0" animBg="1"/>
      <p:bldP spid="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0BA20C-6818-B4AA-9689-8544AB00F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3E2AD6B-2E5A-F102-F9EB-312AAA3BC0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9163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606" imgH="608" progId="TCLayout.ActiveDocument.1">
                  <p:embed/>
                </p:oleObj>
              </mc:Choice>
              <mc:Fallback>
                <p:oleObj name="think-cell Folie" r:id="rId20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FD1956-9D56-FA8B-4260-B1C5653DB0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7078215-D0F7-AC4F-CE09-BD6E43F5E5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11305257" cy="936104"/>
          </a:xfrm>
        </p:spPr>
        <p:txBody>
          <a:bodyPr vert="horz"/>
          <a:lstStyle/>
          <a:p>
            <a:r>
              <a:rPr lang="de-DE" sz="2900" dirty="0"/>
              <a:t>Rechtliche Veränderungen – EU-Produktsicherheitsverordnung</a:t>
            </a:r>
            <a:br>
              <a:rPr lang="de-DE" dirty="0"/>
            </a:br>
            <a:r>
              <a:rPr lang="de-DE" sz="2000" dirty="0"/>
              <a:t>(seit 12/2024)</a:t>
            </a:r>
            <a:endParaRPr lang="de-DE" dirty="0"/>
          </a:p>
        </p:txBody>
      </p:sp>
      <p:cxnSp>
        <p:nvCxnSpPr>
          <p:cNvPr id="11" name="element_02_01">
            <a:extLst>
              <a:ext uri="{FF2B5EF4-FFF2-40B4-BE49-F238E27FC236}">
                <a16:creationId xmlns:a16="http://schemas.microsoft.com/office/drawing/2014/main" id="{62D5088F-7936-13A8-283B-EC890EEA37B1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 flipV="1">
            <a:off x="443372" y="2544942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element_03_01">
            <a:extLst>
              <a:ext uri="{FF2B5EF4-FFF2-40B4-BE49-F238E27FC236}">
                <a16:creationId xmlns:a16="http://schemas.microsoft.com/office/drawing/2014/main" id="{11866D85-185B-32FB-085A-8BF1033B7B12}"/>
              </a:ext>
            </a:extLst>
          </p:cNvPr>
          <p:cNvSpPr txBox="1"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443372" y="1772800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195" name="element_02_02">
            <a:extLst>
              <a:ext uri="{FF2B5EF4-FFF2-40B4-BE49-F238E27FC236}">
                <a16:creationId xmlns:a16="http://schemas.microsoft.com/office/drawing/2014/main" id="{9C609A41-2767-F4A1-DBB7-DFDAC00BE61E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V="1">
            <a:off x="443372" y="3461084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6" name="element_03_02">
            <a:extLst>
              <a:ext uri="{FF2B5EF4-FFF2-40B4-BE49-F238E27FC236}">
                <a16:creationId xmlns:a16="http://schemas.microsoft.com/office/drawing/2014/main" id="{02C35AC4-C104-410E-27D2-60C34557BB5A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443372" y="2688942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9" name="element_01_01">
            <a:extLst>
              <a:ext uri="{FF2B5EF4-FFF2-40B4-BE49-F238E27FC236}">
                <a16:creationId xmlns:a16="http://schemas.microsoft.com/office/drawing/2014/main" id="{F267D83F-9F18-6E0D-9C84-4595AF1A4E3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963553" y="1628800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Regelt die wesentlichen Pflichten beim Handel mit Verbraucherprodukten in der EU neu</a:t>
            </a:r>
          </a:p>
        </p:txBody>
      </p:sp>
      <p:sp>
        <p:nvSpPr>
          <p:cNvPr id="10" name="element_01_02">
            <a:extLst>
              <a:ext uri="{FF2B5EF4-FFF2-40B4-BE49-F238E27FC236}">
                <a16:creationId xmlns:a16="http://schemas.microsoft.com/office/drawing/2014/main" id="{12900E0F-90F4-6304-CD5D-0EA3F920072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963553" y="2544942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rweiterung des Herstellerbegriffs (auch Unternehmen, die Produkte unter ihrem Namen bzw. ihrer Marke vertreiben oder signifikante Änderungen an Produkten vornehmen)</a:t>
            </a:r>
          </a:p>
        </p:txBody>
      </p:sp>
      <p:cxnSp>
        <p:nvCxnSpPr>
          <p:cNvPr id="20" name="element_02_03">
            <a:extLst>
              <a:ext uri="{FF2B5EF4-FFF2-40B4-BE49-F238E27FC236}">
                <a16:creationId xmlns:a16="http://schemas.microsoft.com/office/drawing/2014/main" id="{D1813ADF-1E73-36CA-6074-6A98A57DA4A6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V="1">
            <a:off x="442910" y="4377226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" name="element_03_03">
            <a:extLst>
              <a:ext uri="{FF2B5EF4-FFF2-40B4-BE49-F238E27FC236}">
                <a16:creationId xmlns:a16="http://schemas.microsoft.com/office/drawing/2014/main" id="{3995BAE4-267D-E72B-9599-EDC27D209310}"/>
              </a:ext>
            </a:extLst>
          </p:cNvPr>
          <p:cNvSpPr txBox="1">
            <a:spLocks noChangeAspect="1"/>
          </p:cNvSpPr>
          <p:nvPr>
            <p:custDataLst>
              <p:tags r:id="rId9"/>
            </p:custDataLst>
          </p:nvPr>
        </p:nvSpPr>
        <p:spPr bwMode="gray">
          <a:xfrm>
            <a:off x="443372" y="3605084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2" name="element_01_03">
            <a:extLst>
              <a:ext uri="{FF2B5EF4-FFF2-40B4-BE49-F238E27FC236}">
                <a16:creationId xmlns:a16="http://schemas.microsoft.com/office/drawing/2014/main" id="{CD6682B7-A967-61BE-783E-5BBF3FA11B65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963553" y="3461084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eitgehende Informationspflichten (wer ist Hersteller? Sicherheitshinweise?) – Transparenz für Verbraucher</a:t>
            </a:r>
          </a:p>
        </p:txBody>
      </p:sp>
      <p:cxnSp>
        <p:nvCxnSpPr>
          <p:cNvPr id="25" name="element_02_04" hidden="1">
            <a:extLst>
              <a:ext uri="{FF2B5EF4-FFF2-40B4-BE49-F238E27FC236}">
                <a16:creationId xmlns:a16="http://schemas.microsoft.com/office/drawing/2014/main" id="{219A2951-9E5A-5676-2FF5-A2D41F7B485F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V="1">
            <a:off x="443372" y="5293368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element_03_04">
            <a:extLst>
              <a:ext uri="{FF2B5EF4-FFF2-40B4-BE49-F238E27FC236}">
                <a16:creationId xmlns:a16="http://schemas.microsoft.com/office/drawing/2014/main" id="{728206FA-0050-3577-8E01-F1E82B9AB513}"/>
              </a:ext>
            </a:extLst>
          </p:cNvPr>
          <p:cNvSpPr txBox="1">
            <a:spLocks noChangeAspect="1"/>
          </p:cNvSpPr>
          <p:nvPr>
            <p:custDataLst>
              <p:tags r:id="rId12"/>
            </p:custDataLst>
          </p:nvPr>
        </p:nvSpPr>
        <p:spPr bwMode="gray">
          <a:xfrm>
            <a:off x="443372" y="4521226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3" name="element_01_04">
            <a:extLst>
              <a:ext uri="{FF2B5EF4-FFF2-40B4-BE49-F238E27FC236}">
                <a16:creationId xmlns:a16="http://schemas.microsoft.com/office/drawing/2014/main" id="{E85DED75-0983-A7E2-4654-82CD97D3DB09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63553" y="4377226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rweiterte Produktsicherheitsaspekte (Wechselwirkung zwischen Produkten? Vorhersehbare Nutzung? Cybersicherheit und KI-Elemente?)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4560296-3BF7-FA5F-469E-BB9301D75B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D2B8335-2F1D-E740-CD32-0AABF1D353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70A2C8-24BE-F240-86FB-FB1C1AC17C5F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37" name="element_03_04">
            <a:extLst>
              <a:ext uri="{FF2B5EF4-FFF2-40B4-BE49-F238E27FC236}">
                <a16:creationId xmlns:a16="http://schemas.microsoft.com/office/drawing/2014/main" id="{AB8A13D2-1248-739E-743E-582A7381CCD8}"/>
              </a:ext>
            </a:extLst>
          </p:cNvPr>
          <p:cNvSpPr txBox="1">
            <a:spLocks noChangeAspect="1"/>
          </p:cNvSpPr>
          <p:nvPr>
            <p:custDataLst>
              <p:tags r:id="rId14"/>
            </p:custDataLst>
          </p:nvPr>
        </p:nvSpPr>
        <p:spPr bwMode="gray">
          <a:xfrm>
            <a:off x="443372" y="5293368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8" name="element_01_04">
            <a:extLst>
              <a:ext uri="{FF2B5EF4-FFF2-40B4-BE49-F238E27FC236}">
                <a16:creationId xmlns:a16="http://schemas.microsoft.com/office/drawing/2014/main" id="{2E021C8F-D6C6-52A1-E8EB-18CA14BAA8A1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964013" y="5129323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rweiterung des Anwendungsbereichs (neu: Fulfillment-Dienstleister, Anbieter von Online-Marktplätzen)</a:t>
            </a:r>
          </a:p>
        </p:txBody>
      </p:sp>
      <p:cxnSp>
        <p:nvCxnSpPr>
          <p:cNvPr id="41" name="element_02_03">
            <a:extLst>
              <a:ext uri="{FF2B5EF4-FFF2-40B4-BE49-F238E27FC236}">
                <a16:creationId xmlns:a16="http://schemas.microsoft.com/office/drawing/2014/main" id="{A0EDC216-0684-9F8B-89B8-27261E1358F2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 flipV="1">
            <a:off x="442911" y="5180826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element_01_01">
            <a:extLst>
              <a:ext uri="{FF2B5EF4-FFF2-40B4-BE49-F238E27FC236}">
                <a16:creationId xmlns:a16="http://schemas.microsoft.com/office/drawing/2014/main" id="{9D9BCE5A-002F-A208-B318-C217314F5AF9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443372" y="1130188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Wesentliche Inhalte</a:t>
            </a:r>
          </a:p>
        </p:txBody>
      </p:sp>
    </p:spTree>
    <p:extLst>
      <p:ext uri="{BB962C8B-B14F-4D97-AF65-F5344CB8AC3E}">
        <p14:creationId xmlns:p14="http://schemas.microsoft.com/office/powerpoint/2010/main" val="19692907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96" grpId="0" animBg="1"/>
      <p:bldP spid="9" grpId="0"/>
      <p:bldP spid="10" grpId="0"/>
      <p:bldP spid="21" grpId="0" animBg="1"/>
      <p:bldP spid="12" grpId="0"/>
      <p:bldP spid="26" grpId="0" animBg="1"/>
      <p:bldP spid="13" grpId="0"/>
      <p:bldP spid="37" grpId="0" animBg="1"/>
      <p:bldP spid="38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486C16-317A-60E2-EE52-465E4713BB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05AA6B7-0DA8-0AA2-1307-40DACDEE94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054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606" imgH="608" progId="TCLayout.ActiveDocument.1">
                  <p:embed/>
                </p:oleObj>
              </mc:Choice>
              <mc:Fallback>
                <p:oleObj name="think-cell Folie" r:id="rId12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C14B3E-D89E-5BAC-95A6-E0014B1062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element_02_01">
            <a:extLst>
              <a:ext uri="{FF2B5EF4-FFF2-40B4-BE49-F238E27FC236}">
                <a16:creationId xmlns:a16="http://schemas.microsoft.com/office/drawing/2014/main" id="{B90A2940-C8D7-F3C9-2ED6-912F508886E1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 flipV="1">
            <a:off x="443372" y="2544942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element_03_01">
            <a:extLst>
              <a:ext uri="{FF2B5EF4-FFF2-40B4-BE49-F238E27FC236}">
                <a16:creationId xmlns:a16="http://schemas.microsoft.com/office/drawing/2014/main" id="{7A244EA7-73DD-879A-3109-ADE1FA46046F}"/>
              </a:ext>
            </a:extLst>
          </p:cNvPr>
          <p:cNvSpPr txBox="1"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443372" y="1772800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96" name="element_03_02">
            <a:extLst>
              <a:ext uri="{FF2B5EF4-FFF2-40B4-BE49-F238E27FC236}">
                <a16:creationId xmlns:a16="http://schemas.microsoft.com/office/drawing/2014/main" id="{E06B63CF-E317-D7EE-BDA6-76434607109C}"/>
              </a:ext>
            </a:extLst>
          </p:cNvPr>
          <p:cNvSpPr txBox="1"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443372" y="2688942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9" name="element_01_01">
            <a:extLst>
              <a:ext uri="{FF2B5EF4-FFF2-40B4-BE49-F238E27FC236}">
                <a16:creationId xmlns:a16="http://schemas.microsoft.com/office/drawing/2014/main" id="{A00C332E-0E76-D2C1-CC82-BCFD7D09236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963553" y="1628800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Festlegung der Pflichten für Hersteller (Produktrisikoanalyse, Kennzeichnung, Hinweise bei Sicherheitsmängeln, Sicherheits- und Warnhinweise)</a:t>
            </a:r>
          </a:p>
        </p:txBody>
      </p:sp>
      <p:sp>
        <p:nvSpPr>
          <p:cNvPr id="10" name="element_01_02">
            <a:extLst>
              <a:ext uri="{FF2B5EF4-FFF2-40B4-BE49-F238E27FC236}">
                <a16:creationId xmlns:a16="http://schemas.microsoft.com/office/drawing/2014/main" id="{816DE4CD-D124-CD7A-4A20-8AC8543768B7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963553" y="2544942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Verpflichtung zu unverzüglichen Korrekturmaßnahmen, einschließlich Rückruf</a:t>
            </a:r>
          </a:p>
        </p:txBody>
      </p:sp>
      <p:cxnSp>
        <p:nvCxnSpPr>
          <p:cNvPr id="25" name="element_02_04" hidden="1">
            <a:extLst>
              <a:ext uri="{FF2B5EF4-FFF2-40B4-BE49-F238E27FC236}">
                <a16:creationId xmlns:a16="http://schemas.microsoft.com/office/drawing/2014/main" id="{35D16FFB-E27A-6A6F-0C98-51BCF82F98E3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V="1">
            <a:off x="443372" y="5293368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13D8EB7-4639-0E16-367B-8151E48FA4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640764D-5856-7DE1-0604-DA02EA4D2F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70A2C8-24BE-F240-86FB-FB1C1AC17C5F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30" name="element_01_01">
            <a:extLst>
              <a:ext uri="{FF2B5EF4-FFF2-40B4-BE49-F238E27FC236}">
                <a16:creationId xmlns:a16="http://schemas.microsoft.com/office/drawing/2014/main" id="{3312480E-170D-63FB-36DF-B221A4124421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443372" y="1130188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Wesentliche Inhalte</a:t>
            </a:r>
          </a:p>
        </p:txBody>
      </p:sp>
      <p:sp>
        <p:nvSpPr>
          <p:cNvPr id="3" name="Arrow">
            <a:extLst>
              <a:ext uri="{FF2B5EF4-FFF2-40B4-BE49-F238E27FC236}">
                <a16:creationId xmlns:a16="http://schemas.microsoft.com/office/drawing/2014/main" id="{B16D5314-68CF-31F8-5A7D-4E1D352D1627}"/>
              </a:ext>
            </a:extLst>
          </p:cNvPr>
          <p:cNvSpPr/>
          <p:nvPr/>
        </p:nvSpPr>
        <p:spPr bwMode="gray">
          <a:xfrm>
            <a:off x="463551" y="3691481"/>
            <a:ext cx="1620000" cy="576000"/>
          </a:xfrm>
          <a:prstGeom prst="chevron">
            <a:avLst>
              <a:gd name="adj" fmla="val 21571"/>
            </a:avLst>
          </a:prstGeom>
          <a:solidFill>
            <a:schemeClr val="accent1"/>
          </a:solidFill>
          <a:ln w="12700" cmpd="sng">
            <a:solidFill>
              <a:schemeClr val="tx2"/>
            </a:solidFill>
            <a:prstDash val="solid"/>
            <a:miter lim="800000"/>
            <a:headEnd/>
            <a:tailEnd/>
          </a:ln>
        </p:spPr>
        <p:txBody>
          <a:bodyPr wrap="square" lIns="72000" tIns="72000" rIns="72000" bIns="72000" anchor="ctr" anchorCtr="1">
            <a:noAutofit/>
          </a:bodyPr>
          <a:lstStyle/>
          <a:p>
            <a:pPr algn="ctr">
              <a:spcBef>
                <a:spcPts val="600"/>
              </a:spcBef>
            </a:pPr>
            <a:r>
              <a:rPr lang="de-DE" sz="1600" dirty="0">
                <a:solidFill>
                  <a:schemeClr val="accent2"/>
                </a:solidFill>
              </a:rPr>
              <a:t>Ergebnis</a:t>
            </a:r>
          </a:p>
        </p:txBody>
      </p:sp>
      <p:sp>
        <p:nvSpPr>
          <p:cNvPr id="4" name="element_01_02">
            <a:extLst>
              <a:ext uri="{FF2B5EF4-FFF2-40B4-BE49-F238E27FC236}">
                <a16:creationId xmlns:a16="http://schemas.microsoft.com/office/drawing/2014/main" id="{48A03EA7-37D9-5E53-8A7E-020AB64940C6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2279576" y="3668890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Modernisierung und </a:t>
            </a:r>
            <a:r>
              <a:rPr lang="de-DE" b="1" dirty="0"/>
              <a:t>Stärkung des Verbraucherschutzes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BA59B9C8-ECEB-2FCA-42B3-5DEC8ED8B9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11305257" cy="936104"/>
          </a:xfrm>
        </p:spPr>
        <p:txBody>
          <a:bodyPr vert="horz"/>
          <a:lstStyle/>
          <a:p>
            <a:r>
              <a:rPr lang="de-DE" sz="2900" dirty="0"/>
              <a:t>Rechtliche Veränderungen – EU-Produktsicherheitsverordnung</a:t>
            </a:r>
            <a:br>
              <a:rPr lang="de-DE" dirty="0"/>
            </a:br>
            <a:r>
              <a:rPr lang="de-DE" sz="2000" dirty="0"/>
              <a:t>(seit 12/2024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6193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96" grpId="0" animBg="1"/>
      <p:bldP spid="9" grpId="0"/>
      <p:bldP spid="10" grpId="0"/>
      <p:bldP spid="3" grpId="0" animBg="1"/>
      <p:bldP spid="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0F2895-546F-3D1B-0119-0A5BC1462E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E5AAB54-7E68-E21B-F1EC-903B2AC71F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5556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606" imgH="608" progId="TCLayout.ActiveDocument.1">
                  <p:embed/>
                </p:oleObj>
              </mc:Choice>
              <mc:Fallback>
                <p:oleObj name="think-cell Folie" r:id="rId15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E2AD6B-2E5A-F102-F9EB-312AAA3BC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D85A1B-1675-2C9C-C73D-FC59A8D4C4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11305257" cy="936104"/>
          </a:xfrm>
        </p:spPr>
        <p:txBody>
          <a:bodyPr vert="horz"/>
          <a:lstStyle/>
          <a:p>
            <a:r>
              <a:rPr lang="de-DE" sz="2900" dirty="0"/>
              <a:t>Rechtliche Veränderungen – Initiativen zur Regelung </a:t>
            </a:r>
            <a:br>
              <a:rPr lang="de-DE" sz="2900" dirty="0"/>
            </a:br>
            <a:r>
              <a:rPr lang="de-DE" sz="2900" dirty="0"/>
              <a:t>der KI-Haftung </a:t>
            </a:r>
            <a:r>
              <a:rPr lang="de-DE" sz="2000" dirty="0"/>
              <a:t>(seit 12/2024)</a:t>
            </a:r>
            <a:endParaRPr lang="de-DE" dirty="0"/>
          </a:p>
        </p:txBody>
      </p:sp>
      <p:cxnSp>
        <p:nvCxnSpPr>
          <p:cNvPr id="11" name="element_02_01">
            <a:extLst>
              <a:ext uri="{FF2B5EF4-FFF2-40B4-BE49-F238E27FC236}">
                <a16:creationId xmlns:a16="http://schemas.microsoft.com/office/drawing/2014/main" id="{8ECAF1C9-A2B4-BA8A-3E6C-0FAC79C67EDE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 flipV="1">
            <a:off x="443372" y="2544942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element_03_01">
            <a:extLst>
              <a:ext uri="{FF2B5EF4-FFF2-40B4-BE49-F238E27FC236}">
                <a16:creationId xmlns:a16="http://schemas.microsoft.com/office/drawing/2014/main" id="{EE8B362C-E7B4-F7B1-CF98-232541CDD536}"/>
              </a:ext>
            </a:extLst>
          </p:cNvPr>
          <p:cNvSpPr txBox="1"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443372" y="1772800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195" name="element_02_02">
            <a:extLst>
              <a:ext uri="{FF2B5EF4-FFF2-40B4-BE49-F238E27FC236}">
                <a16:creationId xmlns:a16="http://schemas.microsoft.com/office/drawing/2014/main" id="{60BF00FD-AD5A-511C-E5F5-D9655F547EC3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V="1">
            <a:off x="443372" y="3461084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6" name="element_03_02">
            <a:extLst>
              <a:ext uri="{FF2B5EF4-FFF2-40B4-BE49-F238E27FC236}">
                <a16:creationId xmlns:a16="http://schemas.microsoft.com/office/drawing/2014/main" id="{32C436E3-0E78-31DA-2417-EFD21684AACD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443372" y="2688942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9" name="element_01_01">
            <a:extLst>
              <a:ext uri="{FF2B5EF4-FFF2-40B4-BE49-F238E27FC236}">
                <a16:creationId xmlns:a16="http://schemas.microsoft.com/office/drawing/2014/main" id="{7E5D09C6-D597-19F8-BF84-BF3E3448572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963553" y="1628800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ntwurf für eine Richtlinie über KI-Haftung, welche die EU-Produkthaftungsrichtlinie bezüglich der Haftung für KI-Systeme ergänzt und konkretisiert</a:t>
            </a:r>
          </a:p>
        </p:txBody>
      </p:sp>
      <p:sp>
        <p:nvSpPr>
          <p:cNvPr id="10" name="element_01_02">
            <a:extLst>
              <a:ext uri="{FF2B5EF4-FFF2-40B4-BE49-F238E27FC236}">
                <a16:creationId xmlns:a16="http://schemas.microsoft.com/office/drawing/2014/main" id="{DF3E022B-15A1-AB46-7D63-0B711EB38CF2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963553" y="2544942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as „Gesetz über künstliche Intelligenz“ vom 21.05.2024 soll den Rechtsrahmen zur Gewährleistung der Sicherheit von KI-Systemen und Wahrung von Grundrechten und Werten der EU sichern</a:t>
            </a:r>
          </a:p>
        </p:txBody>
      </p:sp>
      <p:sp>
        <p:nvSpPr>
          <p:cNvPr id="21" name="element_03_03">
            <a:extLst>
              <a:ext uri="{FF2B5EF4-FFF2-40B4-BE49-F238E27FC236}">
                <a16:creationId xmlns:a16="http://schemas.microsoft.com/office/drawing/2014/main" id="{E653B56C-51B4-8A1E-9BA6-7B2383401A6D}"/>
              </a:ext>
            </a:extLst>
          </p:cNvPr>
          <p:cNvSpPr txBox="1">
            <a:spLocks noChangeAspect="1"/>
          </p:cNvSpPr>
          <p:nvPr>
            <p:custDataLst>
              <p:tags r:id="rId8"/>
            </p:custDataLst>
          </p:nvPr>
        </p:nvSpPr>
        <p:spPr bwMode="gray">
          <a:xfrm>
            <a:off x="443372" y="3605084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2" name="element_01_03">
            <a:extLst>
              <a:ext uri="{FF2B5EF4-FFF2-40B4-BE49-F238E27FC236}">
                <a16:creationId xmlns:a16="http://schemas.microsoft.com/office/drawing/2014/main" id="{34E9BC8C-3C84-71DD-E124-2A282C0E3F8F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963553" y="3461084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ntschließung des Europäischen Parlaments für eine Verordnung zur Regelung der zivilrechtlichen Haftung beim Einsatz künstlicher Intelligenz – aktuell auf „Hold“ gestellt</a:t>
            </a:r>
          </a:p>
        </p:txBody>
      </p:sp>
      <p:cxnSp>
        <p:nvCxnSpPr>
          <p:cNvPr id="25" name="element_02_04" hidden="1">
            <a:extLst>
              <a:ext uri="{FF2B5EF4-FFF2-40B4-BE49-F238E27FC236}">
                <a16:creationId xmlns:a16="http://schemas.microsoft.com/office/drawing/2014/main" id="{9C6B3924-55C4-1367-46E6-BD22E226F18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 flipV="1">
            <a:off x="443372" y="5293368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59D2C1D-3870-D9DC-435C-27402BEAD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6DA92A58-5E52-493C-8192-676C340100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70A2C8-24BE-F240-86FB-FB1C1AC17C5F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30" name="element_01_01">
            <a:extLst>
              <a:ext uri="{FF2B5EF4-FFF2-40B4-BE49-F238E27FC236}">
                <a16:creationId xmlns:a16="http://schemas.microsoft.com/office/drawing/2014/main" id="{C965F360-A050-F265-07FB-F5924DEA222E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443372" y="1130188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Wesentliche Initiativen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CAA1DEED-8DE7-1946-90D0-6B7C5D037CEA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985506" y="4519555"/>
            <a:ext cx="2741168" cy="2113801"/>
          </a:xfrm>
          <a:prstGeom prst="rect">
            <a:avLst/>
          </a:prstGeom>
        </p:spPr>
      </p:pic>
      <p:sp>
        <p:nvSpPr>
          <p:cNvPr id="19" name="element_01_01">
            <a:extLst>
              <a:ext uri="{FF2B5EF4-FFF2-40B4-BE49-F238E27FC236}">
                <a16:creationId xmlns:a16="http://schemas.microsoft.com/office/drawing/2014/main" id="{807A7B51-49DE-4B23-7C6D-BDF99D77407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443372" y="4651203"/>
            <a:ext cx="10785075" cy="446055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Fragestellung (Vortrag Euroforum 01/2025):</a:t>
            </a:r>
          </a:p>
          <a:p>
            <a:endParaRPr lang="de-DE" dirty="0"/>
          </a:p>
          <a:p>
            <a:r>
              <a:rPr lang="de-DE" dirty="0"/>
              <a:t>Fortsetzung folgt…</a:t>
            </a:r>
          </a:p>
        </p:txBody>
      </p:sp>
    </p:spTree>
    <p:extLst>
      <p:ext uri="{BB962C8B-B14F-4D97-AF65-F5344CB8AC3E}">
        <p14:creationId xmlns:p14="http://schemas.microsoft.com/office/powerpoint/2010/main" val="38417310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96" grpId="0" animBg="1"/>
      <p:bldP spid="9" grpId="0"/>
      <p:bldP spid="10" grpId="0"/>
      <p:bldP spid="21" grpId="0" animBg="1"/>
      <p:bldP spid="12" grpId="0"/>
      <p:bldP spid="1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06A25FD-DBAA-4EBC-0124-29076E32F9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9480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606" imgH="608" progId="TCLayout.ActiveDocument.1">
                  <p:embed/>
                </p:oleObj>
              </mc:Choice>
              <mc:Fallback>
                <p:oleObj name="think-cell Folie" r:id="rId7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EA5D9AE8-4B8C-2C1C-90B8-A80DAB864FF3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43371" y="1700808"/>
            <a:ext cx="6264697" cy="4392488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/>
              <a:t>Bis 2023 keine Sammelklagen in Deutschland (bzw. der EU) nach US-Vorbild möglich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/>
              <a:t>Musterfeststellungsklage hat sich nicht  durchgesetzt, bietet keinen direkten Anspruch auf Schadenersatz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/>
              <a:t>Seit 2023: EU-Richtlinie über Verbandsklagen zum Schutz der Kollektivinteressen der Verbraucher, dient der Rechtsdurchsetzung bei Massenschäd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/>
              <a:t>Wesentliche Eckpunkte</a:t>
            </a:r>
          </a:p>
          <a:p>
            <a:pPr marL="466725" lvl="1" indent="-285750"/>
            <a:r>
              <a:rPr lang="de-DE" sz="1200" dirty="0"/>
              <a:t>Einführung einer Abhilfeklage auf Zahlung/Leistung für gleichartige Ansprüche (steht neben der Musterfeststellungsklage)</a:t>
            </a:r>
          </a:p>
          <a:p>
            <a:pPr marL="466725" lvl="1" indent="-285750"/>
            <a:r>
              <a:rPr lang="de-DE" sz="1200" dirty="0"/>
              <a:t>Für Verbraucher und kleine Unternehmen</a:t>
            </a:r>
          </a:p>
          <a:p>
            <a:pPr marL="466725" lvl="1" indent="-285750"/>
            <a:r>
              <a:rPr lang="de-DE" sz="1200" dirty="0" err="1"/>
              <a:t>Opt</a:t>
            </a:r>
            <a:r>
              <a:rPr lang="de-DE" sz="1200" dirty="0"/>
              <a:t>-in-Modell (Anmeldung der Ansprüche in einem Verbandsklageregister)</a:t>
            </a:r>
          </a:p>
          <a:p>
            <a:pPr marL="466725" lvl="1" indent="-285750"/>
            <a:r>
              <a:rPr lang="de-DE" sz="1200" dirty="0"/>
              <a:t>Klageberechtigung für Verbraucherverbände bei Glaubhaftmachung, dass mindestens 50 Verbraucher betroffen sind</a:t>
            </a:r>
          </a:p>
          <a:p>
            <a:pPr marL="466725" lvl="1" indent="-285750"/>
            <a:r>
              <a:rPr lang="de-DE" sz="1200" dirty="0"/>
              <a:t>Regelungen zur Prozessfinanzierung sollen möglich sein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8741EDA7-D3AB-CA4D-5CCD-5543D065896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8220236" y="872716"/>
            <a:ext cx="3528392" cy="5112569"/>
          </a:xfrm>
        </p:spPr>
        <p:txBody>
          <a:bodyPr/>
          <a:lstStyle/>
          <a:p>
            <a:r>
              <a:rPr lang="de-DE" sz="1400" b="1" dirty="0"/>
              <a:t>Folgen für Unternehm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/>
              <a:t>Gefahr von „Sammelklagen“ steigt, die EU nähert sich dem US-System a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/>
              <a:t>Wichtiger Unterschied zu den USA ist die begrenzte Klageberechtigu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/>
              <a:t>Weitere Maßnahme zum Verbraucherschutz, Folgen für Industrie schwer zu bemess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/>
              <a:t>Aber: keine Änderung dem Grunde nach, es geht in der Regel um gesetzliche Schadenersatzansprüche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A4814B40-D574-0BFC-5849-CD0D0368CA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6264697" cy="1404156"/>
          </a:xfrm>
        </p:spPr>
        <p:txBody>
          <a:bodyPr vert="horz"/>
          <a:lstStyle/>
          <a:p>
            <a:r>
              <a:rPr lang="de-DE" dirty="0"/>
              <a:t>Rechtliche Veränderungen – </a:t>
            </a:r>
            <a:br>
              <a:rPr lang="de-DE" dirty="0"/>
            </a:br>
            <a:r>
              <a:rPr lang="de-DE" dirty="0"/>
              <a:t>die Verbandsklag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2A29CC5-1000-BB5F-C710-52BE59B36A1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B58C3F2-3AE3-417E-B204-81AF71A01582}" type="slidenum">
              <a:rPr lang="de-DE" smtClean="0">
                <a:solidFill>
                  <a:srgbClr val="FFFFFF"/>
                </a:solidFill>
              </a:rPr>
              <a:pPr/>
              <a:t>26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45FC845-FB11-F50D-712D-73CDD796D81C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131FD56A-9F61-C849-86D1-55BBD252EF2C}" type="datetime1">
              <a:rPr lang="de-DE" smtClean="0">
                <a:solidFill>
                  <a:srgbClr val="FFFFFF"/>
                </a:solidFill>
              </a:rPr>
              <a:t>03.03.2025</a:t>
            </a:fld>
            <a:endParaRPr lang="de-DE" dirty="0">
              <a:solidFill>
                <a:srgbClr val="FFFFFF"/>
              </a:solidFill>
            </a:endParaRPr>
          </a:p>
        </p:txBody>
      </p:sp>
      <p:grpSp>
        <p:nvGrpSpPr>
          <p:cNvPr id="12" name="easyIcon">
            <a:extLst>
              <a:ext uri="{FF2B5EF4-FFF2-40B4-BE49-F238E27FC236}">
                <a16:creationId xmlns:a16="http://schemas.microsoft.com/office/drawing/2014/main" id="{0DA67AFB-BBE2-BA46-C5E2-FC47D0B6B545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1172565" y="195722"/>
            <a:ext cx="792000" cy="792000"/>
            <a:chOff x="3042987" y="885569"/>
            <a:chExt cx="714051" cy="714051"/>
          </a:xfrm>
        </p:grpSpPr>
        <p:sp>
          <p:nvSpPr>
            <p:cNvPr id="15" name="Background">
              <a:extLst>
                <a:ext uri="{FF2B5EF4-FFF2-40B4-BE49-F238E27FC236}">
                  <a16:creationId xmlns:a16="http://schemas.microsoft.com/office/drawing/2014/main" id="{2D35F088-9E97-534A-416A-8E7F0CA98FD0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3042987" y="885569"/>
              <a:ext cx="714051" cy="714051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50D2"/>
                  </a:solidFill>
                </a14:hiddenFill>
              </a:ext>
              <a:ext uri="{91240B29-F687-4F45-9708-019B960494DF}">
                <a14:hiddenLine xmlns:a14="http://schemas.microsoft.com/office/drawing/2010/main" w="19050" cap="flat" cmpd="sng" algn="ctr">
                  <a:solidFill>
                    <a:srgbClr val="0050D2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Aft>
                  <a:spcPts val="800"/>
                </a:spcAft>
              </a:pPr>
              <a:endParaRPr lang="de-DE" sz="1600" dirty="0">
                <a:solidFill>
                  <a:schemeClr val="bg1"/>
                </a:solidFill>
                <a:ea typeface="Arial" panose="020B060403050404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6" name="Vector">
              <a:extLst>
                <a:ext uri="{FF2B5EF4-FFF2-40B4-BE49-F238E27FC236}">
                  <a16:creationId xmlns:a16="http://schemas.microsoft.com/office/drawing/2014/main" id="{036600F9-87F0-CB07-74BE-E3DA0046DCCD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 bwMode="gray">
            <a:xfrm>
              <a:off x="3148012" y="1038226"/>
              <a:ext cx="504001" cy="40873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3525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ihandform 19">
            <a:extLst>
              <a:ext uri="{FF2B5EF4-FFF2-40B4-BE49-F238E27FC236}">
                <a16:creationId xmlns:a16="http://schemas.microsoft.com/office/drawing/2014/main" id="{933BEFEA-B675-0ECA-D978-C7BC794DF15C}"/>
              </a:ext>
            </a:extLst>
          </p:cNvPr>
          <p:cNvSpPr/>
          <p:nvPr/>
        </p:nvSpPr>
        <p:spPr>
          <a:xfrm rot="21000000">
            <a:off x="-16249" y="4555153"/>
            <a:ext cx="12592131" cy="3319718"/>
          </a:xfrm>
          <a:custGeom>
            <a:avLst/>
            <a:gdLst>
              <a:gd name="connsiteX0" fmla="*/ 12592131 w 12592131"/>
              <a:gd name="connsiteY0" fmla="*/ 0 h 3319718"/>
              <a:gd name="connsiteX1" fmla="*/ 12006775 w 12592131"/>
              <a:gd name="connsiteY1" fmla="*/ 3319718 h 3319718"/>
              <a:gd name="connsiteX2" fmla="*/ 0 w 12592131"/>
              <a:gd name="connsiteY2" fmla="*/ 1202600 h 3319718"/>
              <a:gd name="connsiteX3" fmla="*/ 212051 w 12592131"/>
              <a:gd name="connsiteY3" fmla="*/ 0 h 3319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592131" h="3319718">
                <a:moveTo>
                  <a:pt x="12592131" y="0"/>
                </a:moveTo>
                <a:lnTo>
                  <a:pt x="12006775" y="3319718"/>
                </a:lnTo>
                <a:lnTo>
                  <a:pt x="0" y="1202600"/>
                </a:lnTo>
                <a:lnTo>
                  <a:pt x="212051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8027E12-1334-936A-8FF8-B177146D786C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076063" y="4679384"/>
            <a:ext cx="714315" cy="714315"/>
          </a:xfrm>
          <a:prstGeom prst="rect">
            <a:avLst/>
          </a:prstGeom>
          <a:solidFill>
            <a:schemeClr val="accent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7DB398F0-0749-C637-EB64-218CF8EDF8BD}"/>
              </a:ext>
            </a:extLst>
          </p:cNvPr>
          <p:cNvSpPr txBox="1">
            <a:spLocks/>
          </p:cNvSpPr>
          <p:nvPr/>
        </p:nvSpPr>
        <p:spPr>
          <a:xfrm>
            <a:off x="6346051" y="2043394"/>
            <a:ext cx="2464735" cy="2458864"/>
          </a:xfrm>
          <a:prstGeom prst="rect">
            <a:avLst/>
          </a:prstGeom>
          <a:solidFill>
            <a:schemeClr val="bg1"/>
          </a:solidFill>
          <a:ln w="38100" cap="sq">
            <a:solidFill>
              <a:schemeClr val="accent1"/>
            </a:solidFill>
            <a:miter lim="800000"/>
          </a:ln>
        </p:spPr>
        <p:txBody>
          <a:bodyPr vert="horz" wrap="square" lIns="180000" tIns="180000" rIns="180000" bIns="180000" rtlCol="0" anchor="ctr">
            <a:noAutofit/>
          </a:bodyPr>
          <a:lstStyle>
            <a:lvl1pPr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0" i="0"/>
            </a:lvl1pPr>
            <a:lvl2pPr marL="360000" indent="-18000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/>
            </a:lvl2pPr>
            <a:lvl3pPr marL="645750" indent="-28575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>
                <a:latin typeface="Arial" pitchFamily="2" charset="77"/>
              </a:defRPr>
            </a:lvl3pPr>
            <a:lvl4pPr marL="0" indent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>
                <a:latin typeface="Arial" pitchFamily="2" charset="77"/>
              </a:defRPr>
            </a:lvl4pPr>
            <a:lvl5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cap="none" baseline="0"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cap="all" baseline="0">
                <a:latin typeface="+mj-lt"/>
              </a:defRPr>
            </a:lvl6pPr>
            <a:lvl7pPr marL="0"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b="0" i="0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Kann ich noch den notwendigen Haftpflicht-Versicherungsschutz einkaufen (inhaltlich und der Höhe nach) und auch bezahlen?</a:t>
            </a:r>
          </a:p>
        </p:txBody>
      </p:sp>
      <p:sp>
        <p:nvSpPr>
          <p:cNvPr id="11" name="Textplatzhalter 50">
            <a:extLst>
              <a:ext uri="{FF2B5EF4-FFF2-40B4-BE49-F238E27FC236}">
                <a16:creationId xmlns:a16="http://schemas.microsoft.com/office/drawing/2014/main" id="{E6513DDF-80B8-3D99-7965-F0634ADE2E34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041366" y="364210"/>
            <a:ext cx="1568021" cy="1535767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accent5"/>
                </a:solidFill>
                <a:latin typeface="+mj-lt"/>
              </a:defRPr>
            </a:lvl1pPr>
            <a:lvl2pPr marL="0" lvl="1" indent="0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Tx/>
              <a:buNone/>
              <a:defRPr sz="1600" b="0" i="0">
                <a:solidFill>
                  <a:schemeClr val="bg1"/>
                </a:solidFill>
              </a:defRPr>
            </a:lvl2pPr>
            <a:lvl3pPr marL="645750" indent="-285750" algn="ctr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chemeClr val="bg1"/>
                </a:solidFill>
                <a:latin typeface="Arial" pitchFamily="2" charset="77"/>
              </a:defRPr>
            </a:lvl3pPr>
            <a:lvl4pPr marL="0" indent="0" algn="ctr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Arial" pitchFamily="2" charset="77"/>
              </a:defRPr>
            </a:lvl4pPr>
            <a:lvl5pPr marL="0" indent="0" algn="ctr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400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cap="all" baseline="0">
                <a:latin typeface="+mj-lt"/>
              </a:defRPr>
            </a:lvl6pPr>
            <a:lvl7pPr marL="0"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b="0" i="0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sz="1400" b="1" dirty="0">
                <a:solidFill>
                  <a:schemeClr val="accent6"/>
                </a:solidFill>
              </a:rPr>
              <a:t>Werden die Schadenkosten stark ansteigen?</a:t>
            </a:r>
            <a:endParaRPr lang="de-DE" sz="1400" dirty="0">
              <a:solidFill>
                <a:schemeClr val="accent6"/>
              </a:solidFill>
            </a:endParaRPr>
          </a:p>
        </p:txBody>
      </p:sp>
      <p:sp>
        <p:nvSpPr>
          <p:cNvPr id="12" name="Inhaltsplatzhalter 48">
            <a:extLst>
              <a:ext uri="{FF2B5EF4-FFF2-40B4-BE49-F238E27FC236}">
                <a16:creationId xmlns:a16="http://schemas.microsoft.com/office/drawing/2014/main" id="{F45D50A1-25CF-1CC8-A52A-6C156DD564AF}"/>
              </a:ext>
            </a:extLst>
          </p:cNvPr>
          <p:cNvSpPr txBox="1">
            <a:spLocks/>
          </p:cNvSpPr>
          <p:nvPr/>
        </p:nvSpPr>
        <p:spPr>
          <a:xfrm>
            <a:off x="9001816" y="3202145"/>
            <a:ext cx="2458864" cy="2458864"/>
          </a:xfrm>
          <a:prstGeom prst="rect">
            <a:avLst/>
          </a:prstGeom>
          <a:solidFill>
            <a:schemeClr val="accent6"/>
          </a:solidFill>
        </p:spPr>
        <p:txBody>
          <a:bodyPr vert="horz" wrap="square" lIns="180000" tIns="180000" rIns="180000" bIns="180000" rtlCol="0" anchor="ctr">
            <a:noAutofit/>
          </a:bodyPr>
          <a:lstStyle>
            <a:lvl1pPr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400" b="0" i="0"/>
            </a:lvl1pPr>
            <a:lvl2pPr marL="360000" indent="-18000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/>
            </a:lvl2pPr>
            <a:lvl3pPr marL="645750" indent="-28575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>
                <a:latin typeface="Arial" pitchFamily="2" charset="77"/>
              </a:defRPr>
            </a:lvl3pPr>
            <a:lvl4pPr marL="0" indent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>
                <a:latin typeface="Arial" pitchFamily="2" charset="77"/>
              </a:defRPr>
            </a:lvl4pPr>
            <a:lvl5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400" cap="none" baseline="0"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cap="all" baseline="0">
                <a:latin typeface="+mj-lt"/>
              </a:defRPr>
            </a:lvl6pPr>
            <a:lvl7pPr marL="0"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b="0" i="0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Reichen die klassischen Haftpflichtdeckungen oder werden neue Deckungskonzepte notwendig?</a:t>
            </a:r>
          </a:p>
        </p:txBody>
      </p:sp>
      <p:sp>
        <p:nvSpPr>
          <p:cNvPr id="13" name="Textplatzhalter 52">
            <a:extLst>
              <a:ext uri="{FF2B5EF4-FFF2-40B4-BE49-F238E27FC236}">
                <a16:creationId xmlns:a16="http://schemas.microsoft.com/office/drawing/2014/main" id="{1B52DE34-04F8-2110-6D04-EDDB9996036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7016406" y="4668397"/>
            <a:ext cx="1804845" cy="1804845"/>
          </a:xfrm>
          <a:prstGeom prst="rect">
            <a:avLst/>
          </a:prstGeom>
          <a:solidFill>
            <a:schemeClr val="accent3"/>
          </a:solidFill>
          <a:ln w="38100" cap="sq">
            <a:solidFill>
              <a:schemeClr val="accent3"/>
            </a:solidFill>
            <a:miter lim="800000"/>
          </a:ln>
        </p:spPr>
        <p:txBody>
          <a:bodyPr vert="horz" wrap="square" lIns="180000" tIns="180000" rIns="180000" bIns="180000" rtlCol="0" anchor="ctr">
            <a:noAutofit/>
          </a:bodyPr>
          <a:lstStyle>
            <a:lvl1pPr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0" i="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/>
            </a:lvl2pPr>
            <a:lvl3pPr marL="645750" indent="-28575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>
                <a:latin typeface="Arial" pitchFamily="2" charset="77"/>
              </a:defRPr>
            </a:lvl3pPr>
            <a:lvl4pPr marL="0" indent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>
                <a:latin typeface="Arial" pitchFamily="2" charset="77"/>
              </a:defRPr>
            </a:lvl4pPr>
            <a:lvl5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cap="none" baseline="0"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cap="all" baseline="0">
                <a:latin typeface="+mj-lt"/>
              </a:defRPr>
            </a:lvl6pPr>
            <a:lvl7pPr marL="0"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b="0" i="0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sz="1400" dirty="0"/>
              <a:t>Werden neue ggfs. weitreichende Ausschlusstatbestände kommen?</a:t>
            </a:r>
          </a:p>
        </p:txBody>
      </p:sp>
      <p:sp>
        <p:nvSpPr>
          <p:cNvPr id="14" name="Textplatzhalter 53">
            <a:extLst>
              <a:ext uri="{FF2B5EF4-FFF2-40B4-BE49-F238E27FC236}">
                <a16:creationId xmlns:a16="http://schemas.microsoft.com/office/drawing/2014/main" id="{9BB0A259-C5D8-AF87-A40E-7206D990E5C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9007938" y="948804"/>
            <a:ext cx="2032875" cy="2032875"/>
          </a:xfrm>
          <a:prstGeom prst="rect">
            <a:avLst/>
          </a:prstGeom>
          <a:solidFill>
            <a:schemeClr val="accent3"/>
          </a:solidFill>
          <a:ln w="38100" cap="sq">
            <a:solidFill>
              <a:schemeClr val="accent3"/>
            </a:solidFill>
            <a:miter lim="800000"/>
          </a:ln>
        </p:spPr>
        <p:txBody>
          <a:bodyPr vert="horz" wrap="square" lIns="180000" tIns="144000" rIns="180000" bIns="180000" rtlCol="0" anchor="ctr" anchorCtr="0">
            <a:noAutofit/>
          </a:bodyPr>
          <a:lstStyle>
            <a:lvl1pPr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600" b="0" i="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/>
            </a:lvl2pPr>
            <a:lvl3pPr marL="645750" indent="-28575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>
                <a:latin typeface="Arial" pitchFamily="2" charset="77"/>
              </a:defRPr>
            </a:lvl3pPr>
            <a:lvl4pPr marL="0" indent="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>
                <a:latin typeface="Arial" pitchFamily="2" charset="77"/>
              </a:defRPr>
            </a:lvl4pPr>
            <a:lvl5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cap="none" baseline="0">
                <a:latin typeface="+mj-lt"/>
              </a:defRPr>
            </a:lvl5pPr>
            <a:lvl6pPr marL="0" indent="0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cap="all" baseline="0">
                <a:latin typeface="+mj-lt"/>
              </a:defRPr>
            </a:lvl6pPr>
            <a:lvl7pPr marL="0" indent="0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b="0" i="0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sz="1400" dirty="0"/>
              <a:t>Werden die Haftpflichtversicherer die Haftungs-verschärfungen (so es denn solche sind) mittragen? </a:t>
            </a:r>
          </a:p>
        </p:txBody>
      </p:sp>
      <p:sp>
        <p:nvSpPr>
          <p:cNvPr id="22" name="TextBox 2">
            <a:extLst>
              <a:ext uri="{FF2B5EF4-FFF2-40B4-BE49-F238E27FC236}">
                <a16:creationId xmlns:a16="http://schemas.microsoft.com/office/drawing/2014/main" id="{466A7DC9-BC78-81FB-856F-442A8A87445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731320" y="2817237"/>
            <a:ext cx="4540332" cy="374581"/>
          </a:xfrm>
          <a:prstGeom prst="rect">
            <a:avLst/>
          </a:prstGeom>
          <a:solidFill>
            <a:schemeClr val="bg1"/>
          </a:solidFill>
          <a:effectLst>
            <a:outerShdw dist="38100" dir="10800000" algn="ctr" rotWithShape="0">
              <a:schemeClr val="accent1"/>
            </a:outerShdw>
          </a:effectLst>
        </p:spPr>
        <p:txBody>
          <a:bodyPr vert="horz" lIns="180000" tIns="36000" rIns="0" bIns="36000" rtlCol="0" anchor="t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Fragen / Sorgen der Versicherungsnehmer</a:t>
            </a:r>
          </a:p>
        </p:txBody>
      </p:sp>
      <p:grpSp>
        <p:nvGrpSpPr>
          <p:cNvPr id="2" name="easyIcon">
            <a:extLst>
              <a:ext uri="{FF2B5EF4-FFF2-40B4-BE49-F238E27FC236}">
                <a16:creationId xmlns:a16="http://schemas.microsoft.com/office/drawing/2014/main" id="{0673F3C8-2F0A-80BC-0CB0-D8B73F449039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5983220" y="4594698"/>
            <a:ext cx="900000" cy="900000"/>
            <a:chOff x="3042987" y="885569"/>
            <a:chExt cx="714051" cy="714051"/>
          </a:xfrm>
        </p:grpSpPr>
        <p:sp>
          <p:nvSpPr>
            <p:cNvPr id="3" name="Background">
              <a:extLst>
                <a:ext uri="{FF2B5EF4-FFF2-40B4-BE49-F238E27FC236}">
                  <a16:creationId xmlns:a16="http://schemas.microsoft.com/office/drawing/2014/main" id="{0EB5B54C-F06E-0001-B9A4-66F072569CAA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3042987" y="885569"/>
              <a:ext cx="714051" cy="714051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50D2"/>
                  </a:solidFill>
                </a14:hiddenFill>
              </a:ext>
              <a:ext uri="{91240B29-F687-4F45-9708-019B960494DF}">
                <a14:hiddenLine xmlns:a14="http://schemas.microsoft.com/office/drawing/2010/main" w="19050" cap="flat" cmpd="sng" algn="ctr">
                  <a:solidFill>
                    <a:srgbClr val="0050D2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Aft>
                  <a:spcPts val="800"/>
                </a:spcAft>
              </a:pPr>
              <a:endParaRPr lang="de-DE" sz="1600" dirty="0">
                <a:solidFill>
                  <a:schemeClr val="bg1"/>
                </a:solidFill>
                <a:ea typeface="Arial" panose="020B060403050404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" name="Vector">
              <a:extLst>
                <a:ext uri="{FF2B5EF4-FFF2-40B4-BE49-F238E27FC236}">
                  <a16:creationId xmlns:a16="http://schemas.microsoft.com/office/drawing/2014/main" id="{D2A7FDBE-7D9D-7B52-1D2D-5C85BD748656}"/>
                </a:ext>
              </a:extLst>
            </p:cNvPr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148012" y="1038226"/>
              <a:ext cx="504001" cy="408737"/>
            </a:xfrm>
            <a:prstGeom prst="rect">
              <a:avLst/>
            </a:prstGeom>
          </p:spPr>
        </p:pic>
      </p:grp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22E0063-7282-B4D0-6B8A-8C12F64BA5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A4DBE9-882A-8307-EF28-5959F106A9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B6BB7F-1931-3E49-81D0-28964D34C72C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15" name="Titel 7">
            <a:extLst>
              <a:ext uri="{FF2B5EF4-FFF2-40B4-BE49-F238E27FC236}">
                <a16:creationId xmlns:a16="http://schemas.microsoft.com/office/drawing/2014/main" id="{84AFE88E-9D6A-30DF-CAA7-7BF4A5DF3BB3}"/>
              </a:ext>
            </a:extLst>
          </p:cNvPr>
          <p:cNvSpPr txBox="1">
            <a:spLocks/>
          </p:cNvSpPr>
          <p:nvPr/>
        </p:nvSpPr>
        <p:spPr>
          <a:xfrm>
            <a:off x="443371" y="404664"/>
            <a:ext cx="6264697" cy="54414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Rechtliche Veränderungen </a:t>
            </a:r>
          </a:p>
        </p:txBody>
      </p:sp>
      <p:grpSp>
        <p:nvGrpSpPr>
          <p:cNvPr id="5" name="Group 8">
            <a:extLst>
              <a:ext uri="{FF2B5EF4-FFF2-40B4-BE49-F238E27FC236}">
                <a16:creationId xmlns:a16="http://schemas.microsoft.com/office/drawing/2014/main" id="{672277EE-99EB-E60C-C3CE-7BFAF7807517}"/>
              </a:ext>
            </a:extLst>
          </p:cNvPr>
          <p:cNvGrpSpPr/>
          <p:nvPr/>
        </p:nvGrpSpPr>
        <p:grpSpPr>
          <a:xfrm>
            <a:off x="-5569296" y="1694925"/>
            <a:ext cx="5113637" cy="4188876"/>
            <a:chOff x="445135" y="1549065"/>
            <a:chExt cx="4331926" cy="3548531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39CB5B7-C0A9-3D62-6BB6-DCD87FA249B2}"/>
                </a:ext>
              </a:extLst>
            </p:cNvPr>
            <p:cNvGrpSpPr/>
            <p:nvPr/>
          </p:nvGrpSpPr>
          <p:grpSpPr>
            <a:xfrm>
              <a:off x="445135" y="1549065"/>
              <a:ext cx="3558677" cy="3191816"/>
              <a:chOff x="445135" y="1549065"/>
              <a:chExt cx="3558677" cy="3191816"/>
            </a:xfrm>
          </p:grpSpPr>
          <p:sp>
            <p:nvSpPr>
              <p:cNvPr id="105" name="Block Arc 1015">
                <a:extLst>
                  <a:ext uri="{FF2B5EF4-FFF2-40B4-BE49-F238E27FC236}">
                    <a16:creationId xmlns:a16="http://schemas.microsoft.com/office/drawing/2014/main" id="{BA956589-8214-495B-F46D-D9A928189992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20207308">
                <a:off x="725875" y="1982498"/>
                <a:ext cx="3010427" cy="2737514"/>
              </a:xfrm>
              <a:prstGeom prst="blockArc">
                <a:avLst>
                  <a:gd name="adj1" fmla="val 12006639"/>
                  <a:gd name="adj2" fmla="val 0"/>
                  <a:gd name="adj3" fmla="val 25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solidFill>
                    <a:schemeClr val="tx1"/>
                  </a:solidFill>
                </a:endParaRPr>
              </a:p>
            </p:txBody>
          </p:sp>
          <p:pic>
            <p:nvPicPr>
              <p:cNvPr id="106" name="Picture 8">
                <a:extLst>
                  <a:ext uri="{FF2B5EF4-FFF2-40B4-BE49-F238E27FC236}">
                    <a16:creationId xmlns:a16="http://schemas.microsoft.com/office/drawing/2014/main" id="{9A41D680-0E1B-9482-F439-86DADBC23FA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34972" y="1928279"/>
                <a:ext cx="9882" cy="61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107" name="Group 1018">
                <a:extLst>
                  <a:ext uri="{FF2B5EF4-FFF2-40B4-BE49-F238E27FC236}">
                    <a16:creationId xmlns:a16="http://schemas.microsoft.com/office/drawing/2014/main" id="{5616EBC8-80F3-6DE3-E904-283DFD0E0AD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45135" y="1549065"/>
                <a:ext cx="3106586" cy="2757018"/>
                <a:chOff x="528638" y="2306638"/>
                <a:chExt cx="3992563" cy="3543301"/>
              </a:xfrm>
            </p:grpSpPr>
            <p:sp>
              <p:nvSpPr>
                <p:cNvPr id="237" name="Freeform 38">
                  <a:extLst>
                    <a:ext uri="{FF2B5EF4-FFF2-40B4-BE49-F238E27FC236}">
                      <a16:creationId xmlns:a16="http://schemas.microsoft.com/office/drawing/2014/main" id="{1636F28B-B27E-5C46-9A3E-A81D944B5D0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58800" y="4167188"/>
                  <a:ext cx="139700" cy="38100"/>
                </a:xfrm>
                <a:custGeom>
                  <a:avLst/>
                  <a:gdLst>
                    <a:gd name="T0" fmla="*/ 75 w 76"/>
                    <a:gd name="T1" fmla="*/ 21 h 21"/>
                    <a:gd name="T2" fmla="*/ 76 w 76"/>
                    <a:gd name="T3" fmla="*/ 13 h 21"/>
                    <a:gd name="T4" fmla="*/ 2 w 76"/>
                    <a:gd name="T5" fmla="*/ 0 h 21"/>
                    <a:gd name="T6" fmla="*/ 0 w 76"/>
                    <a:gd name="T7" fmla="*/ 8 h 21"/>
                    <a:gd name="T8" fmla="*/ 75 w 76"/>
                    <a:gd name="T9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6" h="21">
                      <a:moveTo>
                        <a:pt x="75" y="21"/>
                      </a:moveTo>
                      <a:cubicBezTo>
                        <a:pt x="75" y="18"/>
                        <a:pt x="76" y="15"/>
                        <a:pt x="76" y="13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2"/>
                        <a:pt x="1" y="5"/>
                        <a:pt x="0" y="8"/>
                      </a:cubicBezTo>
                      <a:lnTo>
                        <a:pt x="75" y="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8" name="Freeform 45">
                  <a:extLst>
                    <a:ext uri="{FF2B5EF4-FFF2-40B4-BE49-F238E27FC236}">
                      <a16:creationId xmlns:a16="http://schemas.microsoft.com/office/drawing/2014/main" id="{86BBE3B7-8A4C-D991-6D99-93D269D6FD7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95313" y="3963988"/>
                  <a:ext cx="177800" cy="80963"/>
                </a:xfrm>
                <a:custGeom>
                  <a:avLst/>
                  <a:gdLst>
                    <a:gd name="T0" fmla="*/ 0 w 96"/>
                    <a:gd name="T1" fmla="*/ 19 h 44"/>
                    <a:gd name="T2" fmla="*/ 91 w 96"/>
                    <a:gd name="T3" fmla="*/ 44 h 44"/>
                    <a:gd name="T4" fmla="*/ 93 w 96"/>
                    <a:gd name="T5" fmla="*/ 35 h 44"/>
                    <a:gd name="T6" fmla="*/ 96 w 96"/>
                    <a:gd name="T7" fmla="*/ 25 h 44"/>
                    <a:gd name="T8" fmla="*/ 6 w 96"/>
                    <a:gd name="T9" fmla="*/ 0 h 44"/>
                    <a:gd name="T10" fmla="*/ 3 w 96"/>
                    <a:gd name="T11" fmla="*/ 10 h 44"/>
                    <a:gd name="T12" fmla="*/ 0 w 96"/>
                    <a:gd name="T13" fmla="*/ 19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6" h="44">
                      <a:moveTo>
                        <a:pt x="0" y="19"/>
                      </a:moveTo>
                      <a:cubicBezTo>
                        <a:pt x="91" y="44"/>
                        <a:pt x="91" y="44"/>
                        <a:pt x="91" y="44"/>
                      </a:cubicBezTo>
                      <a:cubicBezTo>
                        <a:pt x="91" y="43"/>
                        <a:pt x="93" y="36"/>
                        <a:pt x="93" y="35"/>
                      </a:cubicBezTo>
                      <a:cubicBezTo>
                        <a:pt x="94" y="33"/>
                        <a:pt x="96" y="26"/>
                        <a:pt x="96" y="25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5" y="1"/>
                        <a:pt x="3" y="8"/>
                        <a:pt x="3" y="10"/>
                      </a:cubicBezTo>
                      <a:cubicBezTo>
                        <a:pt x="3" y="11"/>
                        <a:pt x="1" y="18"/>
                        <a:pt x="0" y="1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239" name="Group 1238">
                  <a:extLst>
                    <a:ext uri="{FF2B5EF4-FFF2-40B4-BE49-F238E27FC236}">
                      <a16:creationId xmlns:a16="http://schemas.microsoft.com/office/drawing/2014/main" id="{E4C3CCAD-4C65-B128-4AF8-55A0F9649568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528638" y="2306638"/>
                  <a:ext cx="3992563" cy="3543301"/>
                  <a:chOff x="528638" y="2306638"/>
                  <a:chExt cx="3992563" cy="3543301"/>
                </a:xfrm>
              </p:grpSpPr>
              <p:sp>
                <p:nvSpPr>
                  <p:cNvPr id="240" name="Oval 10">
                    <a:extLst>
                      <a:ext uri="{FF2B5EF4-FFF2-40B4-BE49-F238E27FC236}">
                        <a16:creationId xmlns:a16="http://schemas.microsoft.com/office/drawing/2014/main" id="{1922275B-9BAA-21C2-7890-AE3BB366E2D5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957263" y="5762626"/>
                    <a:ext cx="87313" cy="8731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1" name="Freeform 11">
                    <a:extLst>
                      <a:ext uri="{FF2B5EF4-FFF2-40B4-BE49-F238E27FC236}">
                        <a16:creationId xmlns:a16="http://schemas.microsoft.com/office/drawing/2014/main" id="{11D47B67-B52B-D812-23B2-AC36B0EDDA4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008188" y="2438401"/>
                    <a:ext cx="63500" cy="136525"/>
                  </a:xfrm>
                  <a:custGeom>
                    <a:avLst/>
                    <a:gdLst>
                      <a:gd name="T0" fmla="*/ 26 w 34"/>
                      <a:gd name="T1" fmla="*/ 74 h 74"/>
                      <a:gd name="T2" fmla="*/ 34 w 34"/>
                      <a:gd name="T3" fmla="*/ 71 h 74"/>
                      <a:gd name="T4" fmla="*/ 8 w 34"/>
                      <a:gd name="T5" fmla="*/ 0 h 74"/>
                      <a:gd name="T6" fmla="*/ 0 w 34"/>
                      <a:gd name="T7" fmla="*/ 2 h 74"/>
                      <a:gd name="T8" fmla="*/ 26 w 34"/>
                      <a:gd name="T9" fmla="*/ 7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" h="74">
                        <a:moveTo>
                          <a:pt x="26" y="74"/>
                        </a:moveTo>
                        <a:cubicBezTo>
                          <a:pt x="28" y="73"/>
                          <a:pt x="31" y="72"/>
                          <a:pt x="34" y="71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3" y="1"/>
                          <a:pt x="0" y="2"/>
                        </a:cubicBezTo>
                        <a:lnTo>
                          <a:pt x="26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2" name="Freeform 12">
                    <a:extLst>
                      <a:ext uri="{FF2B5EF4-FFF2-40B4-BE49-F238E27FC236}">
                        <a16:creationId xmlns:a16="http://schemas.microsoft.com/office/drawing/2014/main" id="{243F96EA-6CE8-7D15-6EB5-932799449AD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389188" y="2338388"/>
                    <a:ext cx="39688" cy="139700"/>
                  </a:xfrm>
                  <a:custGeom>
                    <a:avLst/>
                    <a:gdLst>
                      <a:gd name="T0" fmla="*/ 13 w 21"/>
                      <a:gd name="T1" fmla="*/ 76 h 76"/>
                      <a:gd name="T2" fmla="*/ 21 w 21"/>
                      <a:gd name="T3" fmla="*/ 75 h 76"/>
                      <a:gd name="T4" fmla="*/ 8 w 21"/>
                      <a:gd name="T5" fmla="*/ 0 h 76"/>
                      <a:gd name="T6" fmla="*/ 0 w 21"/>
                      <a:gd name="T7" fmla="*/ 1 h 76"/>
                      <a:gd name="T8" fmla="*/ 13 w 21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6">
                        <a:moveTo>
                          <a:pt x="13" y="76"/>
                        </a:moveTo>
                        <a:cubicBezTo>
                          <a:pt x="15" y="75"/>
                          <a:pt x="18" y="75"/>
                          <a:pt x="21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2" y="1"/>
                          <a:pt x="0" y="1"/>
                        </a:cubicBezTo>
                        <a:lnTo>
                          <a:pt x="13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3" name="Freeform 13">
                    <a:extLst>
                      <a:ext uri="{FF2B5EF4-FFF2-40B4-BE49-F238E27FC236}">
                        <a16:creationId xmlns:a16="http://schemas.microsoft.com/office/drawing/2014/main" id="{B035DB7F-450E-E075-F16D-DB6971228FE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584450" y="2314576"/>
                    <a:ext cx="28575" cy="139700"/>
                  </a:xfrm>
                  <a:custGeom>
                    <a:avLst/>
                    <a:gdLst>
                      <a:gd name="T0" fmla="*/ 7 w 15"/>
                      <a:gd name="T1" fmla="*/ 76 h 76"/>
                      <a:gd name="T2" fmla="*/ 15 w 15"/>
                      <a:gd name="T3" fmla="*/ 75 h 76"/>
                      <a:gd name="T4" fmla="*/ 8 w 15"/>
                      <a:gd name="T5" fmla="*/ 0 h 76"/>
                      <a:gd name="T6" fmla="*/ 0 w 15"/>
                      <a:gd name="T7" fmla="*/ 1 h 76"/>
                      <a:gd name="T8" fmla="*/ 7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7" y="76"/>
                        </a:moveTo>
                        <a:cubicBezTo>
                          <a:pt x="9" y="76"/>
                          <a:pt x="12" y="75"/>
                          <a:pt x="15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6" y="0"/>
                          <a:pt x="3" y="0"/>
                          <a:pt x="0" y="1"/>
                        </a:cubicBezTo>
                        <a:lnTo>
                          <a:pt x="7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4" name="Freeform 14">
                    <a:extLst>
                      <a:ext uri="{FF2B5EF4-FFF2-40B4-BE49-F238E27FC236}">
                        <a16:creationId xmlns:a16="http://schemas.microsoft.com/office/drawing/2014/main" id="{84EF5A6D-010E-80DF-9711-FD8237D6226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197100" y="2378076"/>
                    <a:ext cx="49213" cy="141288"/>
                  </a:xfrm>
                  <a:custGeom>
                    <a:avLst/>
                    <a:gdLst>
                      <a:gd name="T0" fmla="*/ 19 w 27"/>
                      <a:gd name="T1" fmla="*/ 76 h 76"/>
                      <a:gd name="T2" fmla="*/ 27 w 27"/>
                      <a:gd name="T3" fmla="*/ 73 h 76"/>
                      <a:gd name="T4" fmla="*/ 7 w 27"/>
                      <a:gd name="T5" fmla="*/ 0 h 76"/>
                      <a:gd name="T6" fmla="*/ 0 w 27"/>
                      <a:gd name="T7" fmla="*/ 2 h 76"/>
                      <a:gd name="T8" fmla="*/ 19 w 27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6">
                        <a:moveTo>
                          <a:pt x="19" y="76"/>
                        </a:moveTo>
                        <a:cubicBezTo>
                          <a:pt x="22" y="75"/>
                          <a:pt x="24" y="74"/>
                          <a:pt x="27" y="73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2" y="2"/>
                          <a:pt x="0" y="2"/>
                        </a:cubicBezTo>
                        <a:lnTo>
                          <a:pt x="19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5" name="Freeform 15">
                    <a:extLst>
                      <a:ext uri="{FF2B5EF4-FFF2-40B4-BE49-F238E27FC236}">
                        <a16:creationId xmlns:a16="http://schemas.microsoft.com/office/drawing/2014/main" id="{FE43860B-36F6-64F1-466A-78F6122FDF7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322638" y="2381251"/>
                    <a:ext cx="49213" cy="138113"/>
                  </a:xfrm>
                  <a:custGeom>
                    <a:avLst/>
                    <a:gdLst>
                      <a:gd name="T0" fmla="*/ 0 w 27"/>
                      <a:gd name="T1" fmla="*/ 73 h 75"/>
                      <a:gd name="T2" fmla="*/ 8 w 27"/>
                      <a:gd name="T3" fmla="*/ 75 h 75"/>
                      <a:gd name="T4" fmla="*/ 27 w 27"/>
                      <a:gd name="T5" fmla="*/ 2 h 75"/>
                      <a:gd name="T6" fmla="*/ 20 w 27"/>
                      <a:gd name="T7" fmla="*/ 0 h 75"/>
                      <a:gd name="T8" fmla="*/ 0 w 27"/>
                      <a:gd name="T9" fmla="*/ 73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5">
                        <a:moveTo>
                          <a:pt x="0" y="73"/>
                        </a:moveTo>
                        <a:cubicBezTo>
                          <a:pt x="3" y="74"/>
                          <a:pt x="5" y="75"/>
                          <a:pt x="8" y="75"/>
                        </a:cubicBezTo>
                        <a:cubicBezTo>
                          <a:pt x="27" y="2"/>
                          <a:pt x="27" y="2"/>
                          <a:pt x="27" y="2"/>
                        </a:cubicBezTo>
                        <a:cubicBezTo>
                          <a:pt x="25" y="1"/>
                          <a:pt x="22" y="1"/>
                          <a:pt x="20" y="0"/>
                        </a:cubicBezTo>
                        <a:lnTo>
                          <a:pt x="0" y="7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6" name="Freeform 16">
                    <a:extLst>
                      <a:ext uri="{FF2B5EF4-FFF2-40B4-BE49-F238E27FC236}">
                        <a16:creationId xmlns:a16="http://schemas.microsoft.com/office/drawing/2014/main" id="{911DDFE4-81D2-D4D3-3F7A-9365394475B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763838" y="2306638"/>
                    <a:ext cx="38100" cy="174625"/>
                  </a:xfrm>
                  <a:custGeom>
                    <a:avLst/>
                    <a:gdLst>
                      <a:gd name="T0" fmla="*/ 0 w 20"/>
                      <a:gd name="T1" fmla="*/ 0 h 94"/>
                      <a:gd name="T2" fmla="*/ 0 w 20"/>
                      <a:gd name="T3" fmla="*/ 94 h 94"/>
                      <a:gd name="T4" fmla="*/ 10 w 20"/>
                      <a:gd name="T5" fmla="*/ 94 h 94"/>
                      <a:gd name="T6" fmla="*/ 20 w 20"/>
                      <a:gd name="T7" fmla="*/ 94 h 94"/>
                      <a:gd name="T8" fmla="*/ 20 w 20"/>
                      <a:gd name="T9" fmla="*/ 0 h 94"/>
                      <a:gd name="T10" fmla="*/ 10 w 20"/>
                      <a:gd name="T11" fmla="*/ 0 h 94"/>
                      <a:gd name="T12" fmla="*/ 0 w 20"/>
                      <a:gd name="T13" fmla="*/ 0 h 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" h="94">
                        <a:moveTo>
                          <a:pt x="0" y="0"/>
                        </a:moveTo>
                        <a:cubicBezTo>
                          <a:pt x="0" y="94"/>
                          <a:pt x="0" y="94"/>
                          <a:pt x="0" y="94"/>
                        </a:cubicBezTo>
                        <a:cubicBezTo>
                          <a:pt x="1" y="94"/>
                          <a:pt x="8" y="94"/>
                          <a:pt x="10" y="94"/>
                        </a:cubicBezTo>
                        <a:cubicBezTo>
                          <a:pt x="11" y="94"/>
                          <a:pt x="18" y="94"/>
                          <a:pt x="20" y="94"/>
                        </a:cubicBezTo>
                        <a:cubicBezTo>
                          <a:pt x="20" y="0"/>
                          <a:pt x="20" y="0"/>
                          <a:pt x="20" y="0"/>
                        </a:cubicBezTo>
                        <a:cubicBezTo>
                          <a:pt x="18" y="0"/>
                          <a:pt x="11" y="0"/>
                          <a:pt x="10" y="0"/>
                        </a:cubicBezTo>
                        <a:cubicBezTo>
                          <a:pt x="8" y="0"/>
                          <a:pt x="1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7" name="Freeform 17">
                    <a:extLst>
                      <a:ext uri="{FF2B5EF4-FFF2-40B4-BE49-F238E27FC236}">
                        <a16:creationId xmlns:a16="http://schemas.microsoft.com/office/drawing/2014/main" id="{587D020D-8040-3059-EE51-DD3F09148C9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143250" y="2339976"/>
                    <a:ext cx="38100" cy="138113"/>
                  </a:xfrm>
                  <a:custGeom>
                    <a:avLst/>
                    <a:gdLst>
                      <a:gd name="T0" fmla="*/ 0 w 21"/>
                      <a:gd name="T1" fmla="*/ 74 h 75"/>
                      <a:gd name="T2" fmla="*/ 8 w 21"/>
                      <a:gd name="T3" fmla="*/ 75 h 75"/>
                      <a:gd name="T4" fmla="*/ 21 w 21"/>
                      <a:gd name="T5" fmla="*/ 1 h 75"/>
                      <a:gd name="T6" fmla="*/ 13 w 21"/>
                      <a:gd name="T7" fmla="*/ 0 h 75"/>
                      <a:gd name="T8" fmla="*/ 0 w 21"/>
                      <a:gd name="T9" fmla="*/ 74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5">
                        <a:moveTo>
                          <a:pt x="0" y="74"/>
                        </a:moveTo>
                        <a:cubicBezTo>
                          <a:pt x="2" y="75"/>
                          <a:pt x="5" y="75"/>
                          <a:pt x="8" y="75"/>
                        </a:cubicBezTo>
                        <a:cubicBezTo>
                          <a:pt x="21" y="1"/>
                          <a:pt x="21" y="1"/>
                          <a:pt x="21" y="1"/>
                        </a:cubicBezTo>
                        <a:cubicBezTo>
                          <a:pt x="18" y="0"/>
                          <a:pt x="15" y="0"/>
                          <a:pt x="13" y="0"/>
                        </a:cubicBezTo>
                        <a:lnTo>
                          <a:pt x="0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8" name="Freeform 18">
                    <a:extLst>
                      <a:ext uri="{FF2B5EF4-FFF2-40B4-BE49-F238E27FC236}">
                        <a16:creationId xmlns:a16="http://schemas.microsoft.com/office/drawing/2014/main" id="{1A3008CB-014D-9807-3C8D-5E79831EDED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959100" y="2314576"/>
                    <a:ext cx="26988" cy="139700"/>
                  </a:xfrm>
                  <a:custGeom>
                    <a:avLst/>
                    <a:gdLst>
                      <a:gd name="T0" fmla="*/ 0 w 15"/>
                      <a:gd name="T1" fmla="*/ 76 h 76"/>
                      <a:gd name="T2" fmla="*/ 8 w 15"/>
                      <a:gd name="T3" fmla="*/ 76 h 76"/>
                      <a:gd name="T4" fmla="*/ 15 w 15"/>
                      <a:gd name="T5" fmla="*/ 1 h 76"/>
                      <a:gd name="T6" fmla="*/ 7 w 15"/>
                      <a:gd name="T7" fmla="*/ 0 h 76"/>
                      <a:gd name="T8" fmla="*/ 0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0" y="76"/>
                        </a:moveTo>
                        <a:cubicBezTo>
                          <a:pt x="3" y="76"/>
                          <a:pt x="5" y="76"/>
                          <a:pt x="8" y="76"/>
                        </a:cubicBezTo>
                        <a:cubicBezTo>
                          <a:pt x="15" y="1"/>
                          <a:pt x="15" y="1"/>
                          <a:pt x="15" y="1"/>
                        </a:cubicBezTo>
                        <a:cubicBezTo>
                          <a:pt x="12" y="1"/>
                          <a:pt x="9" y="0"/>
                          <a:pt x="7" y="0"/>
                        </a:cubicBezTo>
                        <a:lnTo>
                          <a:pt x="0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9" name="Freeform 19">
                    <a:extLst>
                      <a:ext uri="{FF2B5EF4-FFF2-40B4-BE49-F238E27FC236}">
                        <a16:creationId xmlns:a16="http://schemas.microsoft.com/office/drawing/2014/main" id="{409DFADD-1A71-D5D6-ABCA-AD728E4F0A1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27100" y="3265488"/>
                    <a:ext cx="123825" cy="92075"/>
                  </a:xfrm>
                  <a:custGeom>
                    <a:avLst/>
                    <a:gdLst>
                      <a:gd name="T0" fmla="*/ 63 w 67"/>
                      <a:gd name="T1" fmla="*/ 50 h 50"/>
                      <a:gd name="T2" fmla="*/ 67 w 67"/>
                      <a:gd name="T3" fmla="*/ 43 h 50"/>
                      <a:gd name="T4" fmla="*/ 5 w 67"/>
                      <a:gd name="T5" fmla="*/ 0 h 50"/>
                      <a:gd name="T6" fmla="*/ 0 w 67"/>
                      <a:gd name="T7" fmla="*/ 6 h 50"/>
                      <a:gd name="T8" fmla="*/ 63 w 67"/>
                      <a:gd name="T9" fmla="*/ 5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7" h="50">
                        <a:moveTo>
                          <a:pt x="63" y="50"/>
                        </a:moveTo>
                        <a:cubicBezTo>
                          <a:pt x="64" y="48"/>
                          <a:pt x="66" y="46"/>
                          <a:pt x="67" y="43"/>
                        </a:cubicBezTo>
                        <a:cubicBezTo>
                          <a:pt x="5" y="0"/>
                          <a:pt x="5" y="0"/>
                          <a:pt x="5" y="0"/>
                        </a:cubicBezTo>
                        <a:cubicBezTo>
                          <a:pt x="3" y="2"/>
                          <a:pt x="2" y="4"/>
                          <a:pt x="0" y="6"/>
                        </a:cubicBezTo>
                        <a:lnTo>
                          <a:pt x="63" y="5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0" name="Freeform 20">
                    <a:extLst>
                      <a:ext uri="{FF2B5EF4-FFF2-40B4-BE49-F238E27FC236}">
                        <a16:creationId xmlns:a16="http://schemas.microsoft.com/office/drawing/2014/main" id="{705B3D26-C546-4F59-9562-D80E4679889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0738" y="3430588"/>
                    <a:ext cx="130175" cy="82550"/>
                  </a:xfrm>
                  <a:custGeom>
                    <a:avLst/>
                    <a:gdLst>
                      <a:gd name="T0" fmla="*/ 66 w 70"/>
                      <a:gd name="T1" fmla="*/ 45 h 45"/>
                      <a:gd name="T2" fmla="*/ 70 w 70"/>
                      <a:gd name="T3" fmla="*/ 38 h 45"/>
                      <a:gd name="T4" fmla="*/ 4 w 70"/>
                      <a:gd name="T5" fmla="*/ 0 h 45"/>
                      <a:gd name="T6" fmla="*/ 0 w 70"/>
                      <a:gd name="T7" fmla="*/ 7 h 45"/>
                      <a:gd name="T8" fmla="*/ 66 w 70"/>
                      <a:gd name="T9" fmla="*/ 45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66" y="45"/>
                        </a:moveTo>
                        <a:cubicBezTo>
                          <a:pt x="68" y="43"/>
                          <a:pt x="69" y="41"/>
                          <a:pt x="70" y="38"/>
                        </a:cubicBez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3" y="3"/>
                          <a:pt x="2" y="5"/>
                          <a:pt x="0" y="7"/>
                        </a:cubicBezTo>
                        <a:lnTo>
                          <a:pt x="66" y="4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1" name="Freeform 21">
                    <a:extLst>
                      <a:ext uri="{FF2B5EF4-FFF2-40B4-BE49-F238E27FC236}">
                        <a16:creationId xmlns:a16="http://schemas.microsoft.com/office/drawing/2014/main" id="{7E9D4B93-377E-07A9-C341-7938CBB7C8D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1838" y="3606801"/>
                    <a:ext cx="133350" cy="71438"/>
                  </a:xfrm>
                  <a:custGeom>
                    <a:avLst/>
                    <a:gdLst>
                      <a:gd name="T0" fmla="*/ 69 w 72"/>
                      <a:gd name="T1" fmla="*/ 39 h 39"/>
                      <a:gd name="T2" fmla="*/ 72 w 72"/>
                      <a:gd name="T3" fmla="*/ 32 h 39"/>
                      <a:gd name="T4" fmla="*/ 3 w 72"/>
                      <a:gd name="T5" fmla="*/ 0 h 39"/>
                      <a:gd name="T6" fmla="*/ 0 w 72"/>
                      <a:gd name="T7" fmla="*/ 7 h 39"/>
                      <a:gd name="T8" fmla="*/ 69 w 72"/>
                      <a:gd name="T9" fmla="*/ 39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69" y="39"/>
                        </a:moveTo>
                        <a:cubicBezTo>
                          <a:pt x="70" y="37"/>
                          <a:pt x="71" y="34"/>
                          <a:pt x="72" y="32"/>
                        </a:cubicBezTo>
                        <a:cubicBezTo>
                          <a:pt x="3" y="0"/>
                          <a:pt x="3" y="0"/>
                          <a:pt x="3" y="0"/>
                        </a:cubicBezTo>
                        <a:cubicBezTo>
                          <a:pt x="2" y="2"/>
                          <a:pt x="1" y="4"/>
                          <a:pt x="0" y="7"/>
                        </a:cubicBezTo>
                        <a:lnTo>
                          <a:pt x="69" y="3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2" name="Freeform 22">
                    <a:extLst>
                      <a:ext uri="{FF2B5EF4-FFF2-40B4-BE49-F238E27FC236}">
                        <a16:creationId xmlns:a16="http://schemas.microsoft.com/office/drawing/2014/main" id="{47416D90-CB05-8960-D3EC-3562F0440E8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498850" y="2438401"/>
                    <a:ext cx="60325" cy="138113"/>
                  </a:xfrm>
                  <a:custGeom>
                    <a:avLst/>
                    <a:gdLst>
                      <a:gd name="T0" fmla="*/ 0 w 33"/>
                      <a:gd name="T1" fmla="*/ 72 h 75"/>
                      <a:gd name="T2" fmla="*/ 7 w 33"/>
                      <a:gd name="T3" fmla="*/ 75 h 75"/>
                      <a:gd name="T4" fmla="*/ 33 w 33"/>
                      <a:gd name="T5" fmla="*/ 3 h 75"/>
                      <a:gd name="T6" fmla="*/ 26 w 33"/>
                      <a:gd name="T7" fmla="*/ 0 h 75"/>
                      <a:gd name="T8" fmla="*/ 0 w 33"/>
                      <a:gd name="T9" fmla="*/ 72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3" h="75">
                        <a:moveTo>
                          <a:pt x="0" y="72"/>
                        </a:moveTo>
                        <a:cubicBezTo>
                          <a:pt x="2" y="73"/>
                          <a:pt x="5" y="74"/>
                          <a:pt x="7" y="75"/>
                        </a:cubicBezTo>
                        <a:cubicBezTo>
                          <a:pt x="33" y="3"/>
                          <a:pt x="33" y="3"/>
                          <a:pt x="33" y="3"/>
                        </a:cubicBezTo>
                        <a:cubicBezTo>
                          <a:pt x="31" y="2"/>
                          <a:pt x="28" y="1"/>
                          <a:pt x="26" y="0"/>
                        </a:cubicBezTo>
                        <a:lnTo>
                          <a:pt x="0" y="7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3" name="Freeform 23">
                    <a:extLst>
                      <a:ext uri="{FF2B5EF4-FFF2-40B4-BE49-F238E27FC236}">
                        <a16:creationId xmlns:a16="http://schemas.microsoft.com/office/drawing/2014/main" id="{52980EC2-B8AE-78C3-189D-AA7919C1E28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649413" y="2601913"/>
                    <a:ext cx="84138" cy="130175"/>
                  </a:xfrm>
                  <a:custGeom>
                    <a:avLst/>
                    <a:gdLst>
                      <a:gd name="T0" fmla="*/ 38 w 45"/>
                      <a:gd name="T1" fmla="*/ 70 h 70"/>
                      <a:gd name="T2" fmla="*/ 45 w 45"/>
                      <a:gd name="T3" fmla="*/ 66 h 70"/>
                      <a:gd name="T4" fmla="*/ 7 w 45"/>
                      <a:gd name="T5" fmla="*/ 0 h 70"/>
                      <a:gd name="T6" fmla="*/ 0 w 45"/>
                      <a:gd name="T7" fmla="*/ 4 h 70"/>
                      <a:gd name="T8" fmla="*/ 38 w 45"/>
                      <a:gd name="T9" fmla="*/ 70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38" y="70"/>
                        </a:moveTo>
                        <a:cubicBezTo>
                          <a:pt x="41" y="68"/>
                          <a:pt x="43" y="67"/>
                          <a:pt x="45" y="66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3" y="2"/>
                          <a:pt x="0" y="4"/>
                        </a:cubicBezTo>
                        <a:lnTo>
                          <a:pt x="38" y="7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4" name="Freeform 24">
                    <a:extLst>
                      <a:ext uri="{FF2B5EF4-FFF2-40B4-BE49-F238E27FC236}">
                        <a16:creationId xmlns:a16="http://schemas.microsoft.com/office/drawing/2014/main" id="{D819D4D8-02D2-CE3A-C9F4-3FE0E3FDF0E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323975" y="2832101"/>
                    <a:ext cx="101600" cy="117475"/>
                  </a:xfrm>
                  <a:custGeom>
                    <a:avLst/>
                    <a:gdLst>
                      <a:gd name="T0" fmla="*/ 49 w 55"/>
                      <a:gd name="T1" fmla="*/ 63 h 63"/>
                      <a:gd name="T2" fmla="*/ 55 w 55"/>
                      <a:gd name="T3" fmla="*/ 58 h 63"/>
                      <a:gd name="T4" fmla="*/ 6 w 55"/>
                      <a:gd name="T5" fmla="*/ 0 h 63"/>
                      <a:gd name="T6" fmla="*/ 0 w 55"/>
                      <a:gd name="T7" fmla="*/ 5 h 63"/>
                      <a:gd name="T8" fmla="*/ 49 w 55"/>
                      <a:gd name="T9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49" y="63"/>
                        </a:moveTo>
                        <a:cubicBezTo>
                          <a:pt x="51" y="61"/>
                          <a:pt x="53" y="60"/>
                          <a:pt x="55" y="58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5"/>
                        </a:cubicBezTo>
                        <a:lnTo>
                          <a:pt x="49" y="6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5" name="Freeform 25">
                    <a:extLst>
                      <a:ext uri="{FF2B5EF4-FFF2-40B4-BE49-F238E27FC236}">
                        <a16:creationId xmlns:a16="http://schemas.microsoft.com/office/drawing/2014/main" id="{B402521D-F12D-9B14-95D5-9EA5DD06637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479550" y="2711451"/>
                    <a:ext cx="92075" cy="123825"/>
                  </a:xfrm>
                  <a:custGeom>
                    <a:avLst/>
                    <a:gdLst>
                      <a:gd name="T0" fmla="*/ 44 w 50"/>
                      <a:gd name="T1" fmla="*/ 67 h 67"/>
                      <a:gd name="T2" fmla="*/ 50 w 50"/>
                      <a:gd name="T3" fmla="*/ 62 h 67"/>
                      <a:gd name="T4" fmla="*/ 6 w 50"/>
                      <a:gd name="T5" fmla="*/ 0 h 67"/>
                      <a:gd name="T6" fmla="*/ 0 w 50"/>
                      <a:gd name="T7" fmla="*/ 4 h 67"/>
                      <a:gd name="T8" fmla="*/ 44 w 50"/>
                      <a:gd name="T9" fmla="*/ 67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0" h="67">
                        <a:moveTo>
                          <a:pt x="44" y="67"/>
                        </a:moveTo>
                        <a:cubicBezTo>
                          <a:pt x="46" y="65"/>
                          <a:pt x="48" y="64"/>
                          <a:pt x="50" y="62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4"/>
                        </a:cubicBezTo>
                        <a:lnTo>
                          <a:pt x="44" y="6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6" name="Freeform 26">
                    <a:extLst>
                      <a:ext uri="{FF2B5EF4-FFF2-40B4-BE49-F238E27FC236}">
                        <a16:creationId xmlns:a16="http://schemas.microsoft.com/office/drawing/2014/main" id="{FEDD5809-E3FC-2870-6C08-A1A665501F5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271963" y="2960688"/>
                    <a:ext cx="109538" cy="111125"/>
                  </a:xfrm>
                  <a:custGeom>
                    <a:avLst/>
                    <a:gdLst>
                      <a:gd name="T0" fmla="*/ 5 w 59"/>
                      <a:gd name="T1" fmla="*/ 60 h 60"/>
                      <a:gd name="T2" fmla="*/ 59 w 59"/>
                      <a:gd name="T3" fmla="*/ 6 h 60"/>
                      <a:gd name="T4" fmla="*/ 56 w 59"/>
                      <a:gd name="T5" fmla="*/ 3 h 60"/>
                      <a:gd name="T6" fmla="*/ 54 w 59"/>
                      <a:gd name="T7" fmla="*/ 0 h 60"/>
                      <a:gd name="T8" fmla="*/ 0 w 59"/>
                      <a:gd name="T9" fmla="*/ 54 h 60"/>
                      <a:gd name="T10" fmla="*/ 5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" y="60"/>
                        </a:moveTo>
                        <a:cubicBezTo>
                          <a:pt x="59" y="6"/>
                          <a:pt x="59" y="6"/>
                          <a:pt x="59" y="6"/>
                        </a:cubicBezTo>
                        <a:cubicBezTo>
                          <a:pt x="58" y="5"/>
                          <a:pt x="57" y="4"/>
                          <a:pt x="56" y="3"/>
                        </a:cubicBezTo>
                        <a:cubicBezTo>
                          <a:pt x="55" y="2"/>
                          <a:pt x="55" y="1"/>
                          <a:pt x="54" y="0"/>
                        </a:cubicBezTo>
                        <a:cubicBezTo>
                          <a:pt x="0" y="54"/>
                          <a:pt x="0" y="54"/>
                          <a:pt x="0" y="54"/>
                        </a:cubicBezTo>
                        <a:cubicBezTo>
                          <a:pt x="2" y="56"/>
                          <a:pt x="4" y="58"/>
                          <a:pt x="5" y="6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7" name="Freeform 27">
                    <a:extLst>
                      <a:ext uri="{FF2B5EF4-FFF2-40B4-BE49-F238E27FC236}">
                        <a16:creationId xmlns:a16="http://schemas.microsoft.com/office/drawing/2014/main" id="{5DF253DB-9028-727F-65B2-45ACF34B67A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79513" y="2963863"/>
                    <a:ext cx="109538" cy="111125"/>
                  </a:xfrm>
                  <a:custGeom>
                    <a:avLst/>
                    <a:gdLst>
                      <a:gd name="T0" fmla="*/ 54 w 59"/>
                      <a:gd name="T1" fmla="*/ 60 h 60"/>
                      <a:gd name="T2" fmla="*/ 59 w 59"/>
                      <a:gd name="T3" fmla="*/ 54 h 60"/>
                      <a:gd name="T4" fmla="*/ 6 w 59"/>
                      <a:gd name="T5" fmla="*/ 0 h 60"/>
                      <a:gd name="T6" fmla="*/ 5 w 59"/>
                      <a:gd name="T7" fmla="*/ 1 h 60"/>
                      <a:gd name="T8" fmla="*/ 0 w 59"/>
                      <a:gd name="T9" fmla="*/ 6 h 60"/>
                      <a:gd name="T10" fmla="*/ 54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4" y="60"/>
                        </a:moveTo>
                        <a:cubicBezTo>
                          <a:pt x="56" y="58"/>
                          <a:pt x="57" y="56"/>
                          <a:pt x="59" y="54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5" y="1"/>
                          <a:pt x="5" y="1"/>
                          <a:pt x="5" y="1"/>
                        </a:cubicBezTo>
                        <a:cubicBezTo>
                          <a:pt x="3" y="3"/>
                          <a:pt x="2" y="4"/>
                          <a:pt x="0" y="6"/>
                        </a:cubicBezTo>
                        <a:lnTo>
                          <a:pt x="54" y="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8" name="Freeform 28">
                    <a:extLst>
                      <a:ext uri="{FF2B5EF4-FFF2-40B4-BE49-F238E27FC236}">
                        <a16:creationId xmlns:a16="http://schemas.microsoft.com/office/drawing/2014/main" id="{ADD4C30A-A709-18D7-443E-34CA19E9F7C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28638" y="4557713"/>
                    <a:ext cx="138113" cy="14288"/>
                  </a:xfrm>
                  <a:custGeom>
                    <a:avLst/>
                    <a:gdLst>
                      <a:gd name="T0" fmla="*/ 75 w 75"/>
                      <a:gd name="T1" fmla="*/ 0 h 8"/>
                      <a:gd name="T2" fmla="*/ 0 w 75"/>
                      <a:gd name="T3" fmla="*/ 0 h 8"/>
                      <a:gd name="T4" fmla="*/ 0 w 75"/>
                      <a:gd name="T5" fmla="*/ 8 h 8"/>
                      <a:gd name="T6" fmla="*/ 75 w 75"/>
                      <a:gd name="T7" fmla="*/ 8 h 8"/>
                      <a:gd name="T8" fmla="*/ 75 w 75"/>
                      <a:gd name="T9" fmla="*/ 0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8">
                        <a:moveTo>
                          <a:pt x="75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cubicBezTo>
                          <a:pt x="75" y="8"/>
                          <a:pt x="75" y="8"/>
                          <a:pt x="75" y="8"/>
                        </a:cubicBezTo>
                        <a:cubicBezTo>
                          <a:pt x="75" y="5"/>
                          <a:pt x="75" y="3"/>
                          <a:pt x="75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9" name="Freeform 29">
                    <a:extLst>
                      <a:ext uri="{FF2B5EF4-FFF2-40B4-BE49-F238E27FC236}">
                        <a16:creationId xmlns:a16="http://schemas.microsoft.com/office/drawing/2014/main" id="{7CCE5B93-8C38-AA8D-1862-067E966FA78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133850" y="2828926"/>
                    <a:ext cx="103188" cy="115888"/>
                  </a:xfrm>
                  <a:custGeom>
                    <a:avLst/>
                    <a:gdLst>
                      <a:gd name="T0" fmla="*/ 0 w 55"/>
                      <a:gd name="T1" fmla="*/ 58 h 63"/>
                      <a:gd name="T2" fmla="*/ 6 w 55"/>
                      <a:gd name="T3" fmla="*/ 63 h 63"/>
                      <a:gd name="T4" fmla="*/ 55 w 55"/>
                      <a:gd name="T5" fmla="*/ 5 h 63"/>
                      <a:gd name="T6" fmla="*/ 49 w 55"/>
                      <a:gd name="T7" fmla="*/ 0 h 63"/>
                      <a:gd name="T8" fmla="*/ 0 w 55"/>
                      <a:gd name="T9" fmla="*/ 58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0" y="58"/>
                        </a:moveTo>
                        <a:cubicBezTo>
                          <a:pt x="2" y="60"/>
                          <a:pt x="4" y="62"/>
                          <a:pt x="6" y="63"/>
                        </a:cubicBezTo>
                        <a:cubicBezTo>
                          <a:pt x="55" y="5"/>
                          <a:pt x="55" y="5"/>
                          <a:pt x="55" y="5"/>
                        </a:cubicBezTo>
                        <a:cubicBezTo>
                          <a:pt x="53" y="3"/>
                          <a:pt x="51" y="2"/>
                          <a:pt x="49" y="0"/>
                        </a:cubicBezTo>
                        <a:lnTo>
                          <a:pt x="0" y="58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0" name="Freeform 30">
                    <a:extLst>
                      <a:ext uri="{FF2B5EF4-FFF2-40B4-BE49-F238E27FC236}">
                        <a16:creationId xmlns:a16="http://schemas.microsoft.com/office/drawing/2014/main" id="{B5A65501-72BA-D56E-FD35-33128D5CC45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58813" y="3787776"/>
                    <a:ext cx="136525" cy="60325"/>
                  </a:xfrm>
                  <a:custGeom>
                    <a:avLst/>
                    <a:gdLst>
                      <a:gd name="T0" fmla="*/ 71 w 74"/>
                      <a:gd name="T1" fmla="*/ 33 h 33"/>
                      <a:gd name="T2" fmla="*/ 74 w 74"/>
                      <a:gd name="T3" fmla="*/ 26 h 33"/>
                      <a:gd name="T4" fmla="*/ 2 w 74"/>
                      <a:gd name="T5" fmla="*/ 0 h 33"/>
                      <a:gd name="T6" fmla="*/ 0 w 74"/>
                      <a:gd name="T7" fmla="*/ 7 h 33"/>
                      <a:gd name="T8" fmla="*/ 71 w 74"/>
                      <a:gd name="T9" fmla="*/ 33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4" h="33">
                        <a:moveTo>
                          <a:pt x="71" y="33"/>
                        </a:moveTo>
                        <a:cubicBezTo>
                          <a:pt x="72" y="31"/>
                          <a:pt x="73" y="28"/>
                          <a:pt x="74" y="26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2" y="2"/>
                          <a:pt x="1" y="5"/>
                          <a:pt x="0" y="7"/>
                        </a:cubicBezTo>
                        <a:lnTo>
                          <a:pt x="71" y="3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1" name="Freeform 31">
                    <a:extLst>
                      <a:ext uri="{FF2B5EF4-FFF2-40B4-BE49-F238E27FC236}">
                        <a16:creationId xmlns:a16="http://schemas.microsoft.com/office/drawing/2014/main" id="{F73AEA80-DA11-4D66-1DD6-5983A6F3BA8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832225" y="2605088"/>
                    <a:ext cx="84138" cy="128588"/>
                  </a:xfrm>
                  <a:custGeom>
                    <a:avLst/>
                    <a:gdLst>
                      <a:gd name="T0" fmla="*/ 0 w 45"/>
                      <a:gd name="T1" fmla="*/ 65 h 70"/>
                      <a:gd name="T2" fmla="*/ 7 w 45"/>
                      <a:gd name="T3" fmla="*/ 70 h 70"/>
                      <a:gd name="T4" fmla="*/ 45 w 45"/>
                      <a:gd name="T5" fmla="*/ 4 h 70"/>
                      <a:gd name="T6" fmla="*/ 38 w 45"/>
                      <a:gd name="T7" fmla="*/ 0 h 70"/>
                      <a:gd name="T8" fmla="*/ 0 w 45"/>
                      <a:gd name="T9" fmla="*/ 65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0" y="65"/>
                        </a:moveTo>
                        <a:cubicBezTo>
                          <a:pt x="3" y="67"/>
                          <a:pt x="5" y="68"/>
                          <a:pt x="7" y="70"/>
                        </a:cubicBezTo>
                        <a:cubicBezTo>
                          <a:pt x="45" y="4"/>
                          <a:pt x="45" y="4"/>
                          <a:pt x="45" y="4"/>
                        </a:cubicBezTo>
                        <a:cubicBezTo>
                          <a:pt x="43" y="2"/>
                          <a:pt x="41" y="1"/>
                          <a:pt x="38" y="0"/>
                        </a:cubicBezTo>
                        <a:lnTo>
                          <a:pt x="0" y="65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2" name="Freeform 32">
                    <a:extLst>
                      <a:ext uri="{FF2B5EF4-FFF2-40B4-BE49-F238E27FC236}">
                        <a16:creationId xmlns:a16="http://schemas.microsoft.com/office/drawing/2014/main" id="{9A7C485B-3CF8-D678-BD76-5268AF7A4FB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987800" y="2708276"/>
                    <a:ext cx="95250" cy="123825"/>
                  </a:xfrm>
                  <a:custGeom>
                    <a:avLst/>
                    <a:gdLst>
                      <a:gd name="T0" fmla="*/ 0 w 51"/>
                      <a:gd name="T1" fmla="*/ 63 h 67"/>
                      <a:gd name="T2" fmla="*/ 7 w 51"/>
                      <a:gd name="T3" fmla="*/ 67 h 67"/>
                      <a:gd name="T4" fmla="*/ 51 w 51"/>
                      <a:gd name="T5" fmla="*/ 5 h 67"/>
                      <a:gd name="T6" fmla="*/ 44 w 51"/>
                      <a:gd name="T7" fmla="*/ 0 h 67"/>
                      <a:gd name="T8" fmla="*/ 0 w 51"/>
                      <a:gd name="T9" fmla="*/ 63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1" h="67">
                        <a:moveTo>
                          <a:pt x="0" y="63"/>
                        </a:moveTo>
                        <a:cubicBezTo>
                          <a:pt x="2" y="64"/>
                          <a:pt x="5" y="66"/>
                          <a:pt x="7" y="67"/>
                        </a:cubicBezTo>
                        <a:cubicBezTo>
                          <a:pt x="51" y="5"/>
                          <a:pt x="51" y="5"/>
                          <a:pt x="51" y="5"/>
                        </a:cubicBezTo>
                        <a:cubicBezTo>
                          <a:pt x="48" y="3"/>
                          <a:pt x="46" y="2"/>
                          <a:pt x="44" y="0"/>
                        </a:cubicBezTo>
                        <a:lnTo>
                          <a:pt x="0" y="63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3" name="Freeform 33">
                    <a:extLst>
                      <a:ext uri="{FF2B5EF4-FFF2-40B4-BE49-F238E27FC236}">
                        <a16:creationId xmlns:a16="http://schemas.microsoft.com/office/drawing/2014/main" id="{40F074C1-0AD4-9DCC-4ECF-57927525BC6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61988" y="5280026"/>
                    <a:ext cx="139700" cy="60325"/>
                  </a:xfrm>
                  <a:custGeom>
                    <a:avLst/>
                    <a:gdLst>
                      <a:gd name="T0" fmla="*/ 75 w 75"/>
                      <a:gd name="T1" fmla="*/ 7 h 33"/>
                      <a:gd name="T2" fmla="*/ 72 w 75"/>
                      <a:gd name="T3" fmla="*/ 0 h 33"/>
                      <a:gd name="T4" fmla="*/ 0 w 75"/>
                      <a:gd name="T5" fmla="*/ 26 h 33"/>
                      <a:gd name="T6" fmla="*/ 3 w 75"/>
                      <a:gd name="T7" fmla="*/ 33 h 33"/>
                      <a:gd name="T8" fmla="*/ 75 w 75"/>
                      <a:gd name="T9" fmla="*/ 7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33">
                        <a:moveTo>
                          <a:pt x="75" y="7"/>
                        </a:moveTo>
                        <a:cubicBezTo>
                          <a:pt x="74" y="5"/>
                          <a:pt x="73" y="2"/>
                          <a:pt x="72" y="0"/>
                        </a:cubicBezTo>
                        <a:cubicBezTo>
                          <a:pt x="0" y="26"/>
                          <a:pt x="0" y="26"/>
                          <a:pt x="0" y="26"/>
                        </a:cubicBezTo>
                        <a:cubicBezTo>
                          <a:pt x="1" y="28"/>
                          <a:pt x="2" y="31"/>
                          <a:pt x="3" y="33"/>
                        </a:cubicBezTo>
                        <a:lnTo>
                          <a:pt x="75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4" name="Freeform 34">
                    <a:extLst>
                      <a:ext uri="{FF2B5EF4-FFF2-40B4-BE49-F238E27FC236}">
                        <a16:creationId xmlns:a16="http://schemas.microsoft.com/office/drawing/2014/main" id="{0764C842-1F35-CFAD-1DA1-539BC81FA4E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04838" y="5103813"/>
                    <a:ext cx="138113" cy="50800"/>
                  </a:xfrm>
                  <a:custGeom>
                    <a:avLst/>
                    <a:gdLst>
                      <a:gd name="T0" fmla="*/ 75 w 75"/>
                      <a:gd name="T1" fmla="*/ 8 h 27"/>
                      <a:gd name="T2" fmla="*/ 73 w 75"/>
                      <a:gd name="T3" fmla="*/ 0 h 27"/>
                      <a:gd name="T4" fmla="*/ 0 w 75"/>
                      <a:gd name="T5" fmla="*/ 20 h 27"/>
                      <a:gd name="T6" fmla="*/ 2 w 75"/>
                      <a:gd name="T7" fmla="*/ 27 h 27"/>
                      <a:gd name="T8" fmla="*/ 75 w 75"/>
                      <a:gd name="T9" fmla="*/ 8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27">
                        <a:moveTo>
                          <a:pt x="75" y="8"/>
                        </a:moveTo>
                        <a:cubicBezTo>
                          <a:pt x="74" y="5"/>
                          <a:pt x="74" y="3"/>
                          <a:pt x="73" y="0"/>
                        </a:cubicBezTo>
                        <a:cubicBezTo>
                          <a:pt x="0" y="20"/>
                          <a:pt x="0" y="20"/>
                          <a:pt x="0" y="20"/>
                        </a:cubicBezTo>
                        <a:cubicBezTo>
                          <a:pt x="0" y="22"/>
                          <a:pt x="1" y="25"/>
                          <a:pt x="2" y="27"/>
                        </a:cubicBezTo>
                        <a:lnTo>
                          <a:pt x="75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5" name="Freeform 35">
                    <a:extLst>
                      <a:ext uri="{FF2B5EF4-FFF2-40B4-BE49-F238E27FC236}">
                        <a16:creationId xmlns:a16="http://schemas.microsoft.com/office/drawing/2014/main" id="{D36B60B1-52FD-1C16-6604-F75A299366F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8675" y="5613401"/>
                    <a:ext cx="130175" cy="82550"/>
                  </a:xfrm>
                  <a:custGeom>
                    <a:avLst/>
                    <a:gdLst>
                      <a:gd name="T0" fmla="*/ 70 w 70"/>
                      <a:gd name="T1" fmla="*/ 7 h 45"/>
                      <a:gd name="T2" fmla="*/ 66 w 70"/>
                      <a:gd name="T3" fmla="*/ 0 h 45"/>
                      <a:gd name="T4" fmla="*/ 0 w 70"/>
                      <a:gd name="T5" fmla="*/ 38 h 45"/>
                      <a:gd name="T6" fmla="*/ 4 w 70"/>
                      <a:gd name="T7" fmla="*/ 45 h 45"/>
                      <a:gd name="T8" fmla="*/ 70 w 70"/>
                      <a:gd name="T9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70" y="7"/>
                        </a:moveTo>
                        <a:cubicBezTo>
                          <a:pt x="69" y="4"/>
                          <a:pt x="67" y="2"/>
                          <a:pt x="66" y="0"/>
                        </a:cubicBezTo>
                        <a:cubicBezTo>
                          <a:pt x="0" y="38"/>
                          <a:pt x="0" y="38"/>
                          <a:pt x="0" y="38"/>
                        </a:cubicBezTo>
                        <a:cubicBezTo>
                          <a:pt x="1" y="40"/>
                          <a:pt x="3" y="42"/>
                          <a:pt x="4" y="45"/>
                        </a:cubicBezTo>
                        <a:lnTo>
                          <a:pt x="70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6" name="Freeform 36">
                    <a:extLst>
                      <a:ext uri="{FF2B5EF4-FFF2-40B4-BE49-F238E27FC236}">
                        <a16:creationId xmlns:a16="http://schemas.microsoft.com/office/drawing/2014/main" id="{9C164A9F-3603-966A-8D05-917AE01F03C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61975" y="4924426"/>
                    <a:ext cx="141288" cy="38100"/>
                  </a:xfrm>
                  <a:custGeom>
                    <a:avLst/>
                    <a:gdLst>
                      <a:gd name="T0" fmla="*/ 76 w 76"/>
                      <a:gd name="T1" fmla="*/ 8 h 21"/>
                      <a:gd name="T2" fmla="*/ 74 w 76"/>
                      <a:gd name="T3" fmla="*/ 0 h 21"/>
                      <a:gd name="T4" fmla="*/ 0 w 76"/>
                      <a:gd name="T5" fmla="*/ 13 h 21"/>
                      <a:gd name="T6" fmla="*/ 1 w 76"/>
                      <a:gd name="T7" fmla="*/ 21 h 21"/>
                      <a:gd name="T8" fmla="*/ 76 w 76"/>
                      <a:gd name="T9" fmla="*/ 8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21">
                        <a:moveTo>
                          <a:pt x="76" y="8"/>
                        </a:moveTo>
                        <a:cubicBezTo>
                          <a:pt x="75" y="5"/>
                          <a:pt x="75" y="3"/>
                          <a:pt x="74" y="0"/>
                        </a:cubicBez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0" y="16"/>
                          <a:pt x="1" y="18"/>
                          <a:pt x="1" y="21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7" name="Freeform 37">
                    <a:extLst>
                      <a:ext uri="{FF2B5EF4-FFF2-40B4-BE49-F238E27FC236}">
                        <a16:creationId xmlns:a16="http://schemas.microsoft.com/office/drawing/2014/main" id="{9465F0DB-4C63-3AC9-DDF3-6B55736389A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8188" y="5449888"/>
                    <a:ext cx="133350" cy="73025"/>
                  </a:xfrm>
                  <a:custGeom>
                    <a:avLst/>
                    <a:gdLst>
                      <a:gd name="T0" fmla="*/ 72 w 72"/>
                      <a:gd name="T1" fmla="*/ 7 h 39"/>
                      <a:gd name="T2" fmla="*/ 69 w 72"/>
                      <a:gd name="T3" fmla="*/ 0 h 39"/>
                      <a:gd name="T4" fmla="*/ 0 w 72"/>
                      <a:gd name="T5" fmla="*/ 32 h 39"/>
                      <a:gd name="T6" fmla="*/ 3 w 72"/>
                      <a:gd name="T7" fmla="*/ 39 h 39"/>
                      <a:gd name="T8" fmla="*/ 72 w 72"/>
                      <a:gd name="T9" fmla="*/ 7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72" y="7"/>
                        </a:moveTo>
                        <a:cubicBezTo>
                          <a:pt x="71" y="4"/>
                          <a:pt x="70" y="2"/>
                          <a:pt x="69" y="0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1" y="34"/>
                          <a:pt x="2" y="37"/>
                          <a:pt x="3" y="39"/>
                        </a:cubicBezTo>
                        <a:lnTo>
                          <a:pt x="72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8" name="Freeform 39">
                    <a:extLst>
                      <a:ext uri="{FF2B5EF4-FFF2-40B4-BE49-F238E27FC236}">
                        <a16:creationId xmlns:a16="http://schemas.microsoft.com/office/drawing/2014/main" id="{084BEDB8-BE60-5E1A-3AB3-0B2871AD03C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740276"/>
                    <a:ext cx="139700" cy="28575"/>
                  </a:xfrm>
                  <a:custGeom>
                    <a:avLst/>
                    <a:gdLst>
                      <a:gd name="T0" fmla="*/ 76 w 76"/>
                      <a:gd name="T1" fmla="*/ 8 h 15"/>
                      <a:gd name="T2" fmla="*/ 75 w 76"/>
                      <a:gd name="T3" fmla="*/ 0 h 15"/>
                      <a:gd name="T4" fmla="*/ 0 w 76"/>
                      <a:gd name="T5" fmla="*/ 7 h 15"/>
                      <a:gd name="T6" fmla="*/ 1 w 76"/>
                      <a:gd name="T7" fmla="*/ 15 h 15"/>
                      <a:gd name="T8" fmla="*/ 76 w 76"/>
                      <a:gd name="T9" fmla="*/ 8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15">
                        <a:moveTo>
                          <a:pt x="76" y="8"/>
                        </a:moveTo>
                        <a:cubicBezTo>
                          <a:pt x="76" y="6"/>
                          <a:pt x="76" y="3"/>
                          <a:pt x="75" y="0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10"/>
                          <a:pt x="1" y="12"/>
                          <a:pt x="1" y="15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9" name="Freeform 40">
                    <a:extLst>
                      <a:ext uri="{FF2B5EF4-FFF2-40B4-BE49-F238E27FC236}">
                        <a16:creationId xmlns:a16="http://schemas.microsoft.com/office/drawing/2014/main" id="{410BBBA4-D206-31D2-7FE5-70E797D8532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360863"/>
                    <a:ext cx="138113" cy="28575"/>
                  </a:xfrm>
                  <a:custGeom>
                    <a:avLst/>
                    <a:gdLst>
                      <a:gd name="T0" fmla="*/ 75 w 75"/>
                      <a:gd name="T1" fmla="*/ 15 h 15"/>
                      <a:gd name="T2" fmla="*/ 75 w 75"/>
                      <a:gd name="T3" fmla="*/ 7 h 15"/>
                      <a:gd name="T4" fmla="*/ 0 w 75"/>
                      <a:gd name="T5" fmla="*/ 0 h 15"/>
                      <a:gd name="T6" fmla="*/ 0 w 75"/>
                      <a:gd name="T7" fmla="*/ 8 h 15"/>
                      <a:gd name="T8" fmla="*/ 75 w 75"/>
                      <a:gd name="T9" fmla="*/ 15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5">
                        <a:moveTo>
                          <a:pt x="75" y="15"/>
                        </a:moveTo>
                        <a:cubicBezTo>
                          <a:pt x="75" y="12"/>
                          <a:pt x="75" y="9"/>
                          <a:pt x="75" y="7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lnTo>
                          <a:pt x="75" y="1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0" name="Freeform 41">
                    <a:extLst>
                      <a:ext uri="{FF2B5EF4-FFF2-40B4-BE49-F238E27FC236}">
                        <a16:creationId xmlns:a16="http://schemas.microsoft.com/office/drawing/2014/main" id="{BB2DED2C-E16D-0495-3FC9-E4C2FCAFC2C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644900" y="2508251"/>
                    <a:ext cx="107950" cy="171450"/>
                  </a:xfrm>
                  <a:custGeom>
                    <a:avLst/>
                    <a:gdLst>
                      <a:gd name="T0" fmla="*/ 39 w 58"/>
                      <a:gd name="T1" fmla="*/ 0 h 93"/>
                      <a:gd name="T2" fmla="*/ 0 w 58"/>
                      <a:gd name="T3" fmla="*/ 85 h 93"/>
                      <a:gd name="T4" fmla="*/ 10 w 58"/>
                      <a:gd name="T5" fmla="*/ 89 h 93"/>
                      <a:gd name="T6" fmla="*/ 19 w 58"/>
                      <a:gd name="T7" fmla="*/ 93 h 93"/>
                      <a:gd name="T8" fmla="*/ 58 w 58"/>
                      <a:gd name="T9" fmla="*/ 8 h 93"/>
                      <a:gd name="T10" fmla="*/ 49 w 58"/>
                      <a:gd name="T11" fmla="*/ 4 h 93"/>
                      <a:gd name="T12" fmla="*/ 39 w 58"/>
                      <a:gd name="T13" fmla="*/ 0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39" y="0"/>
                        </a:moveTo>
                        <a:cubicBezTo>
                          <a:pt x="0" y="85"/>
                          <a:pt x="0" y="85"/>
                          <a:pt x="0" y="85"/>
                        </a:cubicBezTo>
                        <a:cubicBezTo>
                          <a:pt x="2" y="85"/>
                          <a:pt x="8" y="88"/>
                          <a:pt x="10" y="89"/>
                        </a:cubicBezTo>
                        <a:cubicBezTo>
                          <a:pt x="11" y="90"/>
                          <a:pt x="17" y="93"/>
                          <a:pt x="19" y="93"/>
                        </a:cubicBezTo>
                        <a:cubicBezTo>
                          <a:pt x="58" y="8"/>
                          <a:pt x="58" y="8"/>
                          <a:pt x="58" y="8"/>
                        </a:cubicBezTo>
                        <a:cubicBezTo>
                          <a:pt x="56" y="8"/>
                          <a:pt x="50" y="4"/>
                          <a:pt x="49" y="4"/>
                        </a:cubicBezTo>
                        <a:cubicBezTo>
                          <a:pt x="47" y="3"/>
                          <a:pt x="41" y="0"/>
                          <a:pt x="39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1" name="Freeform 42">
                    <a:extLst>
                      <a:ext uri="{FF2B5EF4-FFF2-40B4-BE49-F238E27FC236}">
                        <a16:creationId xmlns:a16="http://schemas.microsoft.com/office/drawing/2014/main" id="{59AD048A-4601-B5B0-A65E-E977B0D22CD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364038" y="3095626"/>
                    <a:ext cx="157163" cy="139700"/>
                  </a:xfrm>
                  <a:custGeom>
                    <a:avLst/>
                    <a:gdLst>
                      <a:gd name="T0" fmla="*/ 72 w 85"/>
                      <a:gd name="T1" fmla="*/ 0 h 76"/>
                      <a:gd name="T2" fmla="*/ 0 w 85"/>
                      <a:gd name="T3" fmla="*/ 60 h 76"/>
                      <a:gd name="T4" fmla="*/ 6 w 85"/>
                      <a:gd name="T5" fmla="*/ 68 h 76"/>
                      <a:gd name="T6" fmla="*/ 13 w 85"/>
                      <a:gd name="T7" fmla="*/ 76 h 76"/>
                      <a:gd name="T8" fmla="*/ 85 w 85"/>
                      <a:gd name="T9" fmla="*/ 16 h 76"/>
                      <a:gd name="T10" fmla="*/ 78 w 85"/>
                      <a:gd name="T11" fmla="*/ 8 h 76"/>
                      <a:gd name="T12" fmla="*/ 72 w 85"/>
                      <a:gd name="T13" fmla="*/ 0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6">
                        <a:moveTo>
                          <a:pt x="72" y="0"/>
                        </a:move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1" y="61"/>
                          <a:pt x="6" y="67"/>
                          <a:pt x="6" y="68"/>
                        </a:cubicBezTo>
                        <a:cubicBezTo>
                          <a:pt x="7" y="69"/>
                          <a:pt x="12" y="75"/>
                          <a:pt x="13" y="76"/>
                        </a:cubicBezTo>
                        <a:cubicBezTo>
                          <a:pt x="85" y="16"/>
                          <a:pt x="85" y="16"/>
                          <a:pt x="85" y="16"/>
                        </a:cubicBezTo>
                        <a:cubicBezTo>
                          <a:pt x="84" y="15"/>
                          <a:pt x="79" y="9"/>
                          <a:pt x="78" y="8"/>
                        </a:cubicBezTo>
                        <a:cubicBezTo>
                          <a:pt x="78" y="7"/>
                          <a:pt x="73" y="1"/>
                          <a:pt x="72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2" name="Freeform 43">
                    <a:extLst>
                      <a:ext uri="{FF2B5EF4-FFF2-40B4-BE49-F238E27FC236}">
                        <a16:creationId xmlns:a16="http://schemas.microsoft.com/office/drawing/2014/main" id="{61362B2A-54F5-6BA4-C95F-6E705C257B7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814513" y="2506663"/>
                    <a:ext cx="107950" cy="171450"/>
                  </a:xfrm>
                  <a:custGeom>
                    <a:avLst/>
                    <a:gdLst>
                      <a:gd name="T0" fmla="*/ 0 w 58"/>
                      <a:gd name="T1" fmla="*/ 9 h 93"/>
                      <a:gd name="T2" fmla="*/ 40 w 58"/>
                      <a:gd name="T3" fmla="*/ 93 h 93"/>
                      <a:gd name="T4" fmla="*/ 49 w 58"/>
                      <a:gd name="T5" fmla="*/ 89 h 93"/>
                      <a:gd name="T6" fmla="*/ 58 w 58"/>
                      <a:gd name="T7" fmla="*/ 85 h 93"/>
                      <a:gd name="T8" fmla="*/ 18 w 58"/>
                      <a:gd name="T9" fmla="*/ 0 h 93"/>
                      <a:gd name="T10" fmla="*/ 9 w 58"/>
                      <a:gd name="T11" fmla="*/ 4 h 93"/>
                      <a:gd name="T12" fmla="*/ 0 w 58"/>
                      <a:gd name="T13" fmla="*/ 9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0" y="9"/>
                        </a:moveTo>
                        <a:cubicBezTo>
                          <a:pt x="40" y="93"/>
                          <a:pt x="40" y="93"/>
                          <a:pt x="40" y="93"/>
                        </a:cubicBezTo>
                        <a:cubicBezTo>
                          <a:pt x="41" y="93"/>
                          <a:pt x="47" y="90"/>
                          <a:pt x="49" y="89"/>
                        </a:cubicBezTo>
                        <a:cubicBezTo>
                          <a:pt x="50" y="88"/>
                          <a:pt x="57" y="85"/>
                          <a:pt x="58" y="85"/>
                        </a:cubicBezTo>
                        <a:cubicBezTo>
                          <a:pt x="18" y="0"/>
                          <a:pt x="18" y="0"/>
                          <a:pt x="18" y="0"/>
                        </a:cubicBezTo>
                        <a:cubicBezTo>
                          <a:pt x="17" y="1"/>
                          <a:pt x="10" y="4"/>
                          <a:pt x="9" y="4"/>
                        </a:cubicBezTo>
                        <a:cubicBezTo>
                          <a:pt x="7" y="5"/>
                          <a:pt x="1" y="8"/>
                          <a:pt x="0" y="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3" name="Freeform 44">
                    <a:extLst>
                      <a:ext uri="{FF2B5EF4-FFF2-40B4-BE49-F238E27FC236}">
                        <a16:creationId xmlns:a16="http://schemas.microsoft.com/office/drawing/2014/main" id="{D72BC8F5-652F-D4C7-2DE3-37FA1625D32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225" y="3100388"/>
                    <a:ext cx="157163" cy="139700"/>
                  </a:xfrm>
                  <a:custGeom>
                    <a:avLst/>
                    <a:gdLst>
                      <a:gd name="T0" fmla="*/ 0 w 85"/>
                      <a:gd name="T1" fmla="*/ 16 h 75"/>
                      <a:gd name="T2" fmla="*/ 72 w 85"/>
                      <a:gd name="T3" fmla="*/ 75 h 75"/>
                      <a:gd name="T4" fmla="*/ 78 w 85"/>
                      <a:gd name="T5" fmla="*/ 67 h 75"/>
                      <a:gd name="T6" fmla="*/ 85 w 85"/>
                      <a:gd name="T7" fmla="*/ 59 h 75"/>
                      <a:gd name="T8" fmla="*/ 12 w 85"/>
                      <a:gd name="T9" fmla="*/ 0 h 75"/>
                      <a:gd name="T10" fmla="*/ 6 w 85"/>
                      <a:gd name="T11" fmla="*/ 8 h 75"/>
                      <a:gd name="T12" fmla="*/ 0 w 85"/>
                      <a:gd name="T13" fmla="*/ 16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5">
                        <a:moveTo>
                          <a:pt x="0" y="16"/>
                        </a:moveTo>
                        <a:cubicBezTo>
                          <a:pt x="72" y="75"/>
                          <a:pt x="72" y="75"/>
                          <a:pt x="72" y="75"/>
                        </a:cubicBezTo>
                        <a:cubicBezTo>
                          <a:pt x="73" y="74"/>
                          <a:pt x="78" y="68"/>
                          <a:pt x="78" y="67"/>
                        </a:cubicBezTo>
                        <a:cubicBezTo>
                          <a:pt x="79" y="66"/>
                          <a:pt x="84" y="60"/>
                          <a:pt x="85" y="59"/>
                        </a:cubicBezTo>
                        <a:cubicBezTo>
                          <a:pt x="12" y="0"/>
                          <a:pt x="12" y="0"/>
                          <a:pt x="12" y="0"/>
                        </a:cubicBezTo>
                        <a:cubicBezTo>
                          <a:pt x="11" y="1"/>
                          <a:pt x="7" y="7"/>
                          <a:pt x="6" y="8"/>
                        </a:cubicBezTo>
                        <a:cubicBezTo>
                          <a:pt x="5" y="9"/>
                          <a:pt x="0" y="14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4" name="Freeform 46">
                    <a:extLst>
                      <a:ext uri="{FF2B5EF4-FFF2-40B4-BE49-F238E27FC236}">
                        <a16:creationId xmlns:a16="http://schemas.microsoft.com/office/drawing/2014/main" id="{B49B9811-B13E-2FB8-C573-E35152A8E7F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58800" y="4906963"/>
                    <a:ext cx="177800" cy="69850"/>
                  </a:xfrm>
                  <a:custGeom>
                    <a:avLst/>
                    <a:gdLst>
                      <a:gd name="T0" fmla="*/ 4 w 96"/>
                      <a:gd name="T1" fmla="*/ 37 h 37"/>
                      <a:gd name="T2" fmla="*/ 96 w 96"/>
                      <a:gd name="T3" fmla="*/ 20 h 37"/>
                      <a:gd name="T4" fmla="*/ 94 w 96"/>
                      <a:gd name="T5" fmla="*/ 10 h 37"/>
                      <a:gd name="T6" fmla="*/ 92 w 96"/>
                      <a:gd name="T7" fmla="*/ 0 h 37"/>
                      <a:gd name="T8" fmla="*/ 0 w 96"/>
                      <a:gd name="T9" fmla="*/ 17 h 37"/>
                      <a:gd name="T10" fmla="*/ 2 w 96"/>
                      <a:gd name="T11" fmla="*/ 27 h 37"/>
                      <a:gd name="T12" fmla="*/ 4 w 96"/>
                      <a:gd name="T13" fmla="*/ 37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6" h="37">
                        <a:moveTo>
                          <a:pt x="4" y="37"/>
                        </a:moveTo>
                        <a:cubicBezTo>
                          <a:pt x="96" y="20"/>
                          <a:pt x="96" y="20"/>
                          <a:pt x="96" y="20"/>
                        </a:cubicBezTo>
                        <a:cubicBezTo>
                          <a:pt x="96" y="19"/>
                          <a:pt x="94" y="12"/>
                          <a:pt x="94" y="10"/>
                        </a:cubicBezTo>
                        <a:cubicBezTo>
                          <a:pt x="94" y="9"/>
                          <a:pt x="93" y="2"/>
                          <a:pt x="92" y="0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1" y="18"/>
                          <a:pt x="2" y="25"/>
                          <a:pt x="2" y="27"/>
                        </a:cubicBezTo>
                        <a:cubicBezTo>
                          <a:pt x="2" y="28"/>
                          <a:pt x="4" y="35"/>
                          <a:pt x="4" y="3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08" name="Group 1019">
                <a:extLst>
                  <a:ext uri="{FF2B5EF4-FFF2-40B4-BE49-F238E27FC236}">
                    <a16:creationId xmlns:a16="http://schemas.microsoft.com/office/drawing/2014/main" id="{1B680745-7464-0002-5991-4A2FCD5C342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486427" y="2263024"/>
                <a:ext cx="1699667" cy="2477857"/>
                <a:chOff x="1866900" y="3224213"/>
                <a:chExt cx="2184400" cy="3184525"/>
              </a:xfrm>
            </p:grpSpPr>
            <p:sp>
              <p:nvSpPr>
                <p:cNvPr id="233" name="Freeform 47">
                  <a:extLst>
                    <a:ext uri="{FF2B5EF4-FFF2-40B4-BE49-F238E27FC236}">
                      <a16:creationId xmlns:a16="http://schemas.microsoft.com/office/drawing/2014/main" id="{E3FA4CA2-F670-276D-341D-36080B91E86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933575" y="3373438"/>
                  <a:ext cx="2117725" cy="3035300"/>
                </a:xfrm>
                <a:custGeom>
                  <a:avLst/>
                  <a:gdLst>
                    <a:gd name="T0" fmla="*/ 1142 w 1142"/>
                    <a:gd name="T1" fmla="*/ 0 h 1640"/>
                    <a:gd name="T2" fmla="*/ 883 w 1142"/>
                    <a:gd name="T3" fmla="*/ 142 h 1640"/>
                    <a:gd name="T4" fmla="*/ 947 w 1142"/>
                    <a:gd name="T5" fmla="*/ 186 h 1640"/>
                    <a:gd name="T6" fmla="*/ 619 w 1142"/>
                    <a:gd name="T7" fmla="*/ 667 h 1640"/>
                    <a:gd name="T8" fmla="*/ 588 w 1142"/>
                    <a:gd name="T9" fmla="*/ 663 h 1640"/>
                    <a:gd name="T10" fmla="*/ 465 w 1142"/>
                    <a:gd name="T11" fmla="*/ 729 h 1640"/>
                    <a:gd name="T12" fmla="*/ 463 w 1142"/>
                    <a:gd name="T13" fmla="*/ 895 h 1640"/>
                    <a:gd name="T14" fmla="*/ 0 w 1142"/>
                    <a:gd name="T15" fmla="*/ 1576 h 1640"/>
                    <a:gd name="T16" fmla="*/ 93 w 1142"/>
                    <a:gd name="T17" fmla="*/ 1640 h 1640"/>
                    <a:gd name="T18" fmla="*/ 558 w 1142"/>
                    <a:gd name="T19" fmla="*/ 959 h 1640"/>
                    <a:gd name="T20" fmla="*/ 588 w 1142"/>
                    <a:gd name="T21" fmla="*/ 963 h 1640"/>
                    <a:gd name="T22" fmla="*/ 712 w 1142"/>
                    <a:gd name="T23" fmla="*/ 897 h 1640"/>
                    <a:gd name="T24" fmla="*/ 713 w 1142"/>
                    <a:gd name="T25" fmla="*/ 731 h 1640"/>
                    <a:gd name="T26" fmla="*/ 1041 w 1142"/>
                    <a:gd name="T27" fmla="*/ 250 h 1640"/>
                    <a:gd name="T28" fmla="*/ 1105 w 1142"/>
                    <a:gd name="T29" fmla="*/ 293 h 1640"/>
                    <a:gd name="T30" fmla="*/ 1142 w 1142"/>
                    <a:gd name="T31" fmla="*/ 0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142" h="1640">
                      <a:moveTo>
                        <a:pt x="1142" y="0"/>
                      </a:move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619" y="667"/>
                        <a:pt x="619" y="667"/>
                        <a:pt x="619" y="667"/>
                      </a:cubicBezTo>
                      <a:cubicBezTo>
                        <a:pt x="609" y="665"/>
                        <a:pt x="599" y="663"/>
                        <a:pt x="588" y="663"/>
                      </a:cubicBezTo>
                      <a:cubicBezTo>
                        <a:pt x="541" y="663"/>
                        <a:pt x="494" y="686"/>
                        <a:pt x="465" y="729"/>
                      </a:cubicBezTo>
                      <a:cubicBezTo>
                        <a:pt x="430" y="780"/>
                        <a:pt x="431" y="846"/>
                        <a:pt x="463" y="895"/>
                      </a:cubicBezTo>
                      <a:cubicBezTo>
                        <a:pt x="463" y="895"/>
                        <a:pt x="56" y="1493"/>
                        <a:pt x="0" y="1576"/>
                      </a:cubicBezTo>
                      <a:cubicBezTo>
                        <a:pt x="93" y="1640"/>
                        <a:pt x="93" y="1640"/>
                        <a:pt x="93" y="1640"/>
                      </a:cubicBezTo>
                      <a:cubicBezTo>
                        <a:pt x="153" y="1551"/>
                        <a:pt x="558" y="959"/>
                        <a:pt x="558" y="959"/>
                      </a:cubicBezTo>
                      <a:cubicBezTo>
                        <a:pt x="568" y="961"/>
                        <a:pt x="578" y="963"/>
                        <a:pt x="588" y="963"/>
                      </a:cubicBezTo>
                      <a:cubicBezTo>
                        <a:pt x="636" y="963"/>
                        <a:pt x="683" y="940"/>
                        <a:pt x="712" y="897"/>
                      </a:cubicBezTo>
                      <a:cubicBezTo>
                        <a:pt x="747" y="846"/>
                        <a:pt x="745" y="780"/>
                        <a:pt x="713" y="731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142" y="0"/>
                        <a:pt x="1142" y="0"/>
                        <a:pt x="1142" y="0"/>
                      </a:cubicBezTo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4" name="Freeform 48">
                  <a:extLst>
                    <a:ext uri="{FF2B5EF4-FFF2-40B4-BE49-F238E27FC236}">
                      <a16:creationId xmlns:a16="http://schemas.microsoft.com/office/drawing/2014/main" id="{2E3F76C4-FB8A-972E-F6BE-1620E79CA18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866900" y="3224213"/>
                  <a:ext cx="2117725" cy="3036888"/>
                </a:xfrm>
                <a:custGeom>
                  <a:avLst/>
                  <a:gdLst>
                    <a:gd name="T0" fmla="*/ 0 w 1142"/>
                    <a:gd name="T1" fmla="*/ 1576 h 1640"/>
                    <a:gd name="T2" fmla="*/ 463 w 1142"/>
                    <a:gd name="T3" fmla="*/ 895 h 1640"/>
                    <a:gd name="T4" fmla="*/ 465 w 1142"/>
                    <a:gd name="T5" fmla="*/ 729 h 1640"/>
                    <a:gd name="T6" fmla="*/ 619 w 1142"/>
                    <a:gd name="T7" fmla="*/ 667 h 1640"/>
                    <a:gd name="T8" fmla="*/ 947 w 1142"/>
                    <a:gd name="T9" fmla="*/ 186 h 1640"/>
                    <a:gd name="T10" fmla="*/ 883 w 1142"/>
                    <a:gd name="T11" fmla="*/ 142 h 1640"/>
                    <a:gd name="T12" fmla="*/ 1142 w 1142"/>
                    <a:gd name="T13" fmla="*/ 0 h 1640"/>
                    <a:gd name="T14" fmla="*/ 1105 w 1142"/>
                    <a:gd name="T15" fmla="*/ 293 h 1640"/>
                    <a:gd name="T16" fmla="*/ 1041 w 1142"/>
                    <a:gd name="T17" fmla="*/ 250 h 1640"/>
                    <a:gd name="T18" fmla="*/ 713 w 1142"/>
                    <a:gd name="T19" fmla="*/ 731 h 1640"/>
                    <a:gd name="T20" fmla="*/ 712 w 1142"/>
                    <a:gd name="T21" fmla="*/ 897 h 1640"/>
                    <a:gd name="T22" fmla="*/ 558 w 1142"/>
                    <a:gd name="T23" fmla="*/ 959 h 1640"/>
                    <a:gd name="T24" fmla="*/ 93 w 1142"/>
                    <a:gd name="T25" fmla="*/ 1640 h 1640"/>
                    <a:gd name="T26" fmla="*/ 0 w 1142"/>
                    <a:gd name="T27" fmla="*/ 1576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42" h="1640">
                      <a:moveTo>
                        <a:pt x="0" y="1576"/>
                      </a:moveTo>
                      <a:cubicBezTo>
                        <a:pt x="56" y="1493"/>
                        <a:pt x="463" y="895"/>
                        <a:pt x="463" y="895"/>
                      </a:cubicBezTo>
                      <a:cubicBezTo>
                        <a:pt x="431" y="846"/>
                        <a:pt x="430" y="780"/>
                        <a:pt x="465" y="729"/>
                      </a:cubicBezTo>
                      <a:cubicBezTo>
                        <a:pt x="500" y="677"/>
                        <a:pt x="562" y="655"/>
                        <a:pt x="619" y="667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1142" y="0"/>
                        <a:pt x="1142" y="0"/>
                        <a:pt x="1142" y="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713" y="731"/>
                        <a:pt x="713" y="731"/>
                        <a:pt x="713" y="731"/>
                      </a:cubicBezTo>
                      <a:cubicBezTo>
                        <a:pt x="745" y="780"/>
                        <a:pt x="747" y="846"/>
                        <a:pt x="712" y="897"/>
                      </a:cubicBezTo>
                      <a:cubicBezTo>
                        <a:pt x="677" y="949"/>
                        <a:pt x="615" y="971"/>
                        <a:pt x="558" y="959"/>
                      </a:cubicBezTo>
                      <a:cubicBezTo>
                        <a:pt x="558" y="959"/>
                        <a:pt x="153" y="1551"/>
                        <a:pt x="93" y="1640"/>
                      </a:cubicBezTo>
                      <a:lnTo>
                        <a:pt x="0" y="157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5" name="Freeform 49">
                  <a:extLst>
                    <a:ext uri="{FF2B5EF4-FFF2-40B4-BE49-F238E27FC236}">
                      <a16:creationId xmlns:a16="http://schemas.microsoft.com/office/drawing/2014/main" id="{BAD2E086-600D-CF9A-3562-3E5243A7D11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849563" y="4622801"/>
                  <a:ext cx="215900" cy="214313"/>
                </a:xfrm>
                <a:custGeom>
                  <a:avLst/>
                  <a:gdLst>
                    <a:gd name="T0" fmla="*/ 100 w 116"/>
                    <a:gd name="T1" fmla="*/ 87 h 116"/>
                    <a:gd name="T2" fmla="*/ 30 w 116"/>
                    <a:gd name="T3" fmla="*/ 100 h 116"/>
                    <a:gd name="T4" fmla="*/ 16 w 116"/>
                    <a:gd name="T5" fmla="*/ 29 h 116"/>
                    <a:gd name="T6" fmla="*/ 87 w 116"/>
                    <a:gd name="T7" fmla="*/ 16 h 116"/>
                    <a:gd name="T8" fmla="*/ 100 w 116"/>
                    <a:gd name="T9" fmla="*/ 87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" h="116">
                      <a:moveTo>
                        <a:pt x="100" y="87"/>
                      </a:moveTo>
                      <a:cubicBezTo>
                        <a:pt x="85" y="110"/>
                        <a:pt x="53" y="116"/>
                        <a:pt x="30" y="100"/>
                      </a:cubicBezTo>
                      <a:cubicBezTo>
                        <a:pt x="6" y="84"/>
                        <a:pt x="0" y="53"/>
                        <a:pt x="16" y="29"/>
                      </a:cubicBezTo>
                      <a:cubicBezTo>
                        <a:pt x="32" y="6"/>
                        <a:pt x="64" y="0"/>
                        <a:pt x="87" y="16"/>
                      </a:cubicBezTo>
                      <a:cubicBezTo>
                        <a:pt x="110" y="32"/>
                        <a:pt x="116" y="63"/>
                        <a:pt x="100" y="87"/>
                      </a:cubicBezTo>
                      <a:close/>
                    </a:path>
                  </a:pathLst>
                </a:custGeom>
                <a:solidFill>
                  <a:srgbClr val="002B6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6" name="Oval 50">
                  <a:extLst>
                    <a:ext uri="{FF2B5EF4-FFF2-40B4-BE49-F238E27FC236}">
                      <a16:creationId xmlns:a16="http://schemas.microsoft.com/office/drawing/2014/main" id="{22D1CEFD-B3C6-BDBC-E26F-A950A970B8D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2919413" y="4694238"/>
                  <a:ext cx="73025" cy="73025"/>
                </a:xfrm>
                <a:prstGeom prst="ellipse">
                  <a:avLst/>
                </a:prstGeom>
                <a:solidFill>
                  <a:srgbClr val="56B9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9" name="Group 1020">
                <a:extLst>
                  <a:ext uri="{FF2B5EF4-FFF2-40B4-BE49-F238E27FC236}">
                    <a16:creationId xmlns:a16="http://schemas.microsoft.com/office/drawing/2014/main" id="{963C6BAA-6A49-BF89-4819-4CC582BB848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163860" y="3516775"/>
                <a:ext cx="839952" cy="104994"/>
                <a:chOff x="4022725" y="4835526"/>
                <a:chExt cx="1079500" cy="134938"/>
              </a:xfrm>
            </p:grpSpPr>
            <p:sp>
              <p:nvSpPr>
                <p:cNvPr id="110" name="Rectangle 53">
                  <a:extLst>
                    <a:ext uri="{FF2B5EF4-FFF2-40B4-BE49-F238E27FC236}">
                      <a16:creationId xmlns:a16="http://schemas.microsoft.com/office/drawing/2014/main" id="{A4F1E2BD-C9FA-F5CA-B290-2C9DDDB078E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Rectangle 54">
                  <a:extLst>
                    <a:ext uri="{FF2B5EF4-FFF2-40B4-BE49-F238E27FC236}">
                      <a16:creationId xmlns:a16="http://schemas.microsoft.com/office/drawing/2014/main" id="{1A6A2ACE-C5B1-7C84-D468-F506010619F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Rectangle 55">
                  <a:extLst>
                    <a:ext uri="{FF2B5EF4-FFF2-40B4-BE49-F238E27FC236}">
                      <a16:creationId xmlns:a16="http://schemas.microsoft.com/office/drawing/2014/main" id="{87DD9538-DF83-6D2C-BA72-148012660DB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Rectangle 56">
                  <a:extLst>
                    <a:ext uri="{FF2B5EF4-FFF2-40B4-BE49-F238E27FC236}">
                      <a16:creationId xmlns:a16="http://schemas.microsoft.com/office/drawing/2014/main" id="{F103E607-DD93-7FBF-8645-2CC8CC749C9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4" name="Rectangle 57">
                  <a:extLst>
                    <a:ext uri="{FF2B5EF4-FFF2-40B4-BE49-F238E27FC236}">
                      <a16:creationId xmlns:a16="http://schemas.microsoft.com/office/drawing/2014/main" id="{EE169260-4883-C170-4F53-B0101EE6AA2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Rectangle 58">
                  <a:extLst>
                    <a:ext uri="{FF2B5EF4-FFF2-40B4-BE49-F238E27FC236}">
                      <a16:creationId xmlns:a16="http://schemas.microsoft.com/office/drawing/2014/main" id="{5CD72828-40D5-4682-9987-B67E2916A94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reeform 59">
                  <a:extLst>
                    <a:ext uri="{FF2B5EF4-FFF2-40B4-BE49-F238E27FC236}">
                      <a16:creationId xmlns:a16="http://schemas.microsoft.com/office/drawing/2014/main" id="{EBA2D4AE-A845-B6DE-10A7-D6A93106DAB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 60">
                  <a:extLst>
                    <a:ext uri="{FF2B5EF4-FFF2-40B4-BE49-F238E27FC236}">
                      <a16:creationId xmlns:a16="http://schemas.microsoft.com/office/drawing/2014/main" id="{B82CC638-C0C0-71AE-FBBB-6041A529E1C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reeform 61">
                  <a:extLst>
                    <a:ext uri="{FF2B5EF4-FFF2-40B4-BE49-F238E27FC236}">
                      <a16:creationId xmlns:a16="http://schemas.microsoft.com/office/drawing/2014/main" id="{B7684EF4-A286-3B9C-C043-BC4AD5F6DD9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Freeform 62">
                  <a:extLst>
                    <a:ext uri="{FF2B5EF4-FFF2-40B4-BE49-F238E27FC236}">
                      <a16:creationId xmlns:a16="http://schemas.microsoft.com/office/drawing/2014/main" id="{A63FAB76-AF9D-7CBE-A6F2-56D4812DD41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Rectangle 63">
                  <a:extLst>
                    <a:ext uri="{FF2B5EF4-FFF2-40B4-BE49-F238E27FC236}">
                      <a16:creationId xmlns:a16="http://schemas.microsoft.com/office/drawing/2014/main" id="{34D6F09A-2CBB-8BA0-B8C7-5DC1B325A77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Rectangle 64">
                  <a:extLst>
                    <a:ext uri="{FF2B5EF4-FFF2-40B4-BE49-F238E27FC236}">
                      <a16:creationId xmlns:a16="http://schemas.microsoft.com/office/drawing/2014/main" id="{BDC2C352-9785-32EB-FF8E-F93933B45B4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Rectangle 65">
                  <a:extLst>
                    <a:ext uri="{FF2B5EF4-FFF2-40B4-BE49-F238E27FC236}">
                      <a16:creationId xmlns:a16="http://schemas.microsoft.com/office/drawing/2014/main" id="{094FBFFB-252B-9869-9825-5F05167E982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Rectangle 66">
                  <a:extLst>
                    <a:ext uri="{FF2B5EF4-FFF2-40B4-BE49-F238E27FC236}">
                      <a16:creationId xmlns:a16="http://schemas.microsoft.com/office/drawing/2014/main" id="{D785CD5F-4630-D936-028F-8E77D1800AC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Rectangle 67">
                  <a:extLst>
                    <a:ext uri="{FF2B5EF4-FFF2-40B4-BE49-F238E27FC236}">
                      <a16:creationId xmlns:a16="http://schemas.microsoft.com/office/drawing/2014/main" id="{EBE6BB50-D88A-F270-A75D-EBD233942FD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Rectangle 68">
                  <a:extLst>
                    <a:ext uri="{FF2B5EF4-FFF2-40B4-BE49-F238E27FC236}">
                      <a16:creationId xmlns:a16="http://schemas.microsoft.com/office/drawing/2014/main" id="{822C1D45-6CDC-63D6-527F-DACC37AB382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Rectangle 69">
                  <a:extLst>
                    <a:ext uri="{FF2B5EF4-FFF2-40B4-BE49-F238E27FC236}">
                      <a16:creationId xmlns:a16="http://schemas.microsoft.com/office/drawing/2014/main" id="{E7957786-61F4-E448-5445-C516AD215A8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Rectangle 70">
                  <a:extLst>
                    <a:ext uri="{FF2B5EF4-FFF2-40B4-BE49-F238E27FC236}">
                      <a16:creationId xmlns:a16="http://schemas.microsoft.com/office/drawing/2014/main" id="{68E8CB5A-D172-7FBA-1749-A5674648E85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Rectangle 71">
                  <a:extLst>
                    <a:ext uri="{FF2B5EF4-FFF2-40B4-BE49-F238E27FC236}">
                      <a16:creationId xmlns:a16="http://schemas.microsoft.com/office/drawing/2014/main" id="{D9C3828B-EE0B-97E9-2FA4-771619D051A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Rectangle 72">
                  <a:extLst>
                    <a:ext uri="{FF2B5EF4-FFF2-40B4-BE49-F238E27FC236}">
                      <a16:creationId xmlns:a16="http://schemas.microsoft.com/office/drawing/2014/main" id="{EF72500D-2EA9-1714-AA67-869AC68661F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Rectangle 73">
                  <a:extLst>
                    <a:ext uri="{FF2B5EF4-FFF2-40B4-BE49-F238E27FC236}">
                      <a16:creationId xmlns:a16="http://schemas.microsoft.com/office/drawing/2014/main" id="{4A73A268-5DB8-57D7-2071-1329146990B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Rectangle 74">
                  <a:extLst>
                    <a:ext uri="{FF2B5EF4-FFF2-40B4-BE49-F238E27FC236}">
                      <a16:creationId xmlns:a16="http://schemas.microsoft.com/office/drawing/2014/main" id="{04EB7D05-E1B9-7F0C-57FD-5EAB8C6FD8B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Rectangle 75">
                  <a:extLst>
                    <a:ext uri="{FF2B5EF4-FFF2-40B4-BE49-F238E27FC236}">
                      <a16:creationId xmlns:a16="http://schemas.microsoft.com/office/drawing/2014/main" id="{FF90D434-52C2-00D0-2443-FF821B9FD45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Rectangle 76">
                  <a:extLst>
                    <a:ext uri="{FF2B5EF4-FFF2-40B4-BE49-F238E27FC236}">
                      <a16:creationId xmlns:a16="http://schemas.microsoft.com/office/drawing/2014/main" id="{48253B0E-35A8-B21F-C134-ABB39A129FB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Rectangle 77">
                  <a:extLst>
                    <a:ext uri="{FF2B5EF4-FFF2-40B4-BE49-F238E27FC236}">
                      <a16:creationId xmlns:a16="http://schemas.microsoft.com/office/drawing/2014/main" id="{2D1F0849-892F-EA6A-58AC-07BB9ED60FE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Rectangle 78">
                  <a:extLst>
                    <a:ext uri="{FF2B5EF4-FFF2-40B4-BE49-F238E27FC236}">
                      <a16:creationId xmlns:a16="http://schemas.microsoft.com/office/drawing/2014/main" id="{3F486756-AFB2-FB4B-77EC-9734C80FFE8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Rectangle 79">
                  <a:extLst>
                    <a:ext uri="{FF2B5EF4-FFF2-40B4-BE49-F238E27FC236}">
                      <a16:creationId xmlns:a16="http://schemas.microsoft.com/office/drawing/2014/main" id="{0C3BA238-5877-A611-AC1A-D8B11CCAD94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Rectangle 80">
                  <a:extLst>
                    <a:ext uri="{FF2B5EF4-FFF2-40B4-BE49-F238E27FC236}">
                      <a16:creationId xmlns:a16="http://schemas.microsoft.com/office/drawing/2014/main" id="{98CC079A-647E-74B0-3292-C535FFE2E40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Rectangle 81">
                  <a:extLst>
                    <a:ext uri="{FF2B5EF4-FFF2-40B4-BE49-F238E27FC236}">
                      <a16:creationId xmlns:a16="http://schemas.microsoft.com/office/drawing/2014/main" id="{75B1BF4B-4D90-0120-68EF-19F893E05B2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Rectangle 82">
                  <a:extLst>
                    <a:ext uri="{FF2B5EF4-FFF2-40B4-BE49-F238E27FC236}">
                      <a16:creationId xmlns:a16="http://schemas.microsoft.com/office/drawing/2014/main" id="{64C2DB8A-3C2C-5D2E-EF72-30C82BFB3FB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Rectangle 83">
                  <a:extLst>
                    <a:ext uri="{FF2B5EF4-FFF2-40B4-BE49-F238E27FC236}">
                      <a16:creationId xmlns:a16="http://schemas.microsoft.com/office/drawing/2014/main" id="{2A43B51B-33CB-7B4E-0B41-21B24F4D187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Rectangle 84">
                  <a:extLst>
                    <a:ext uri="{FF2B5EF4-FFF2-40B4-BE49-F238E27FC236}">
                      <a16:creationId xmlns:a16="http://schemas.microsoft.com/office/drawing/2014/main" id="{F11D2657-4602-CBD2-5088-96BD69017B2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Rectangle 85">
                  <a:extLst>
                    <a:ext uri="{FF2B5EF4-FFF2-40B4-BE49-F238E27FC236}">
                      <a16:creationId xmlns:a16="http://schemas.microsoft.com/office/drawing/2014/main" id="{51082A73-6255-902C-89EF-72B991E6ECF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3" name="Rectangle 86">
                  <a:extLst>
                    <a:ext uri="{FF2B5EF4-FFF2-40B4-BE49-F238E27FC236}">
                      <a16:creationId xmlns:a16="http://schemas.microsoft.com/office/drawing/2014/main" id="{FE40BD7F-118D-B8EF-8721-FBF52693F77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Rectangle 87">
                  <a:extLst>
                    <a:ext uri="{FF2B5EF4-FFF2-40B4-BE49-F238E27FC236}">
                      <a16:creationId xmlns:a16="http://schemas.microsoft.com/office/drawing/2014/main" id="{19569EA6-09BC-A842-CCAD-309E037D986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Rectangle 88">
                  <a:extLst>
                    <a:ext uri="{FF2B5EF4-FFF2-40B4-BE49-F238E27FC236}">
                      <a16:creationId xmlns:a16="http://schemas.microsoft.com/office/drawing/2014/main" id="{5505AC1F-6D3E-A005-3D0E-5AC6EF183ED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Freeform 89">
                  <a:extLst>
                    <a:ext uri="{FF2B5EF4-FFF2-40B4-BE49-F238E27FC236}">
                      <a16:creationId xmlns:a16="http://schemas.microsoft.com/office/drawing/2014/main" id="{1E0F4513-8045-CFF7-8423-582B6B0BAF3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eform 90">
                  <a:extLst>
                    <a:ext uri="{FF2B5EF4-FFF2-40B4-BE49-F238E27FC236}">
                      <a16:creationId xmlns:a16="http://schemas.microsoft.com/office/drawing/2014/main" id="{E5A8E41A-A63D-E71E-8FAB-83393BB3E09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 91">
                  <a:extLst>
                    <a:ext uri="{FF2B5EF4-FFF2-40B4-BE49-F238E27FC236}">
                      <a16:creationId xmlns:a16="http://schemas.microsoft.com/office/drawing/2014/main" id="{200A944C-2076-8777-5278-0B47130F833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951413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Rectangle 92">
                  <a:extLst>
                    <a:ext uri="{FF2B5EF4-FFF2-40B4-BE49-F238E27FC236}">
                      <a16:creationId xmlns:a16="http://schemas.microsoft.com/office/drawing/2014/main" id="{5D6779E4-EDC4-5D86-F758-3CB5CD42054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Rectangle 93">
                  <a:extLst>
                    <a:ext uri="{FF2B5EF4-FFF2-40B4-BE49-F238E27FC236}">
                      <a16:creationId xmlns:a16="http://schemas.microsoft.com/office/drawing/2014/main" id="{92723E9C-E7FE-3771-8178-521C684F1A0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Rectangle 94">
                  <a:extLst>
                    <a:ext uri="{FF2B5EF4-FFF2-40B4-BE49-F238E27FC236}">
                      <a16:creationId xmlns:a16="http://schemas.microsoft.com/office/drawing/2014/main" id="{E3094819-9CA4-952B-1EE2-C20E3FED604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Rectangle 95">
                  <a:extLst>
                    <a:ext uri="{FF2B5EF4-FFF2-40B4-BE49-F238E27FC236}">
                      <a16:creationId xmlns:a16="http://schemas.microsoft.com/office/drawing/2014/main" id="{32FFF8C0-C65C-ECF3-B157-4A9A132CD72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Freeform 96">
                  <a:extLst>
                    <a:ext uri="{FF2B5EF4-FFF2-40B4-BE49-F238E27FC236}">
                      <a16:creationId xmlns:a16="http://schemas.microsoft.com/office/drawing/2014/main" id="{28B02BB8-9543-1EDD-5554-3E1C6E089D2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Freeform 97">
                  <a:extLst>
                    <a:ext uri="{FF2B5EF4-FFF2-40B4-BE49-F238E27FC236}">
                      <a16:creationId xmlns:a16="http://schemas.microsoft.com/office/drawing/2014/main" id="{7598853A-603B-E6EB-B5E4-6125F1553F6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Rectangle 98">
                  <a:extLst>
                    <a:ext uri="{FF2B5EF4-FFF2-40B4-BE49-F238E27FC236}">
                      <a16:creationId xmlns:a16="http://schemas.microsoft.com/office/drawing/2014/main" id="{6B60BF2B-0DB5-A2A5-EC19-D3AE40490FF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Rectangle 99">
                  <a:extLst>
                    <a:ext uri="{FF2B5EF4-FFF2-40B4-BE49-F238E27FC236}">
                      <a16:creationId xmlns:a16="http://schemas.microsoft.com/office/drawing/2014/main" id="{78B98356-6FA1-7280-AAF1-6D682D0D126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reeform 100">
                  <a:extLst>
                    <a:ext uri="{FF2B5EF4-FFF2-40B4-BE49-F238E27FC236}">
                      <a16:creationId xmlns:a16="http://schemas.microsoft.com/office/drawing/2014/main" id="{3F1C0070-B556-F9FA-AF3E-526FA281877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 101">
                  <a:extLst>
                    <a:ext uri="{FF2B5EF4-FFF2-40B4-BE49-F238E27FC236}">
                      <a16:creationId xmlns:a16="http://schemas.microsoft.com/office/drawing/2014/main" id="{FB0E4159-BAFC-A838-B14E-69039608BC5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Freeform 102">
                  <a:extLst>
                    <a:ext uri="{FF2B5EF4-FFF2-40B4-BE49-F238E27FC236}">
                      <a16:creationId xmlns:a16="http://schemas.microsoft.com/office/drawing/2014/main" id="{3BB36719-621D-B9CD-BF87-AA0B4462F30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Freeform 103">
                  <a:extLst>
                    <a:ext uri="{FF2B5EF4-FFF2-40B4-BE49-F238E27FC236}">
                      <a16:creationId xmlns:a16="http://schemas.microsoft.com/office/drawing/2014/main" id="{2A041472-5A4F-E3E6-ABD3-8B4FBE2CE9C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Rectangle 104">
                  <a:extLst>
                    <a:ext uri="{FF2B5EF4-FFF2-40B4-BE49-F238E27FC236}">
                      <a16:creationId xmlns:a16="http://schemas.microsoft.com/office/drawing/2014/main" id="{2B3707CD-B170-5805-2A8A-81BA3520702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Rectangle 105">
                  <a:extLst>
                    <a:ext uri="{FF2B5EF4-FFF2-40B4-BE49-F238E27FC236}">
                      <a16:creationId xmlns:a16="http://schemas.microsoft.com/office/drawing/2014/main" id="{5B1E8FE6-0F96-F91D-F3A1-F9E51EB12CB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Rectangle 106">
                  <a:extLst>
                    <a:ext uri="{FF2B5EF4-FFF2-40B4-BE49-F238E27FC236}">
                      <a16:creationId xmlns:a16="http://schemas.microsoft.com/office/drawing/2014/main" id="{C0DE74E3-3C6D-68EF-4B9F-BB4A08B3815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Rectangle 107">
                  <a:extLst>
                    <a:ext uri="{FF2B5EF4-FFF2-40B4-BE49-F238E27FC236}">
                      <a16:creationId xmlns:a16="http://schemas.microsoft.com/office/drawing/2014/main" id="{B86CB175-C68A-82CB-EA7F-E267AACD060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Rectangle 108">
                  <a:extLst>
                    <a:ext uri="{FF2B5EF4-FFF2-40B4-BE49-F238E27FC236}">
                      <a16:creationId xmlns:a16="http://schemas.microsoft.com/office/drawing/2014/main" id="{3970F18E-1F6A-ACF3-6144-6BA8D5C65F0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Rectangle 109">
                  <a:extLst>
                    <a:ext uri="{FF2B5EF4-FFF2-40B4-BE49-F238E27FC236}">
                      <a16:creationId xmlns:a16="http://schemas.microsoft.com/office/drawing/2014/main" id="{B510EBFF-199B-3157-501C-42DD2C913AF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reeform 110">
                  <a:extLst>
                    <a:ext uri="{FF2B5EF4-FFF2-40B4-BE49-F238E27FC236}">
                      <a16:creationId xmlns:a16="http://schemas.microsoft.com/office/drawing/2014/main" id="{B9C3E262-AD43-9A0C-0346-022239C6217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 111">
                  <a:extLst>
                    <a:ext uri="{FF2B5EF4-FFF2-40B4-BE49-F238E27FC236}">
                      <a16:creationId xmlns:a16="http://schemas.microsoft.com/office/drawing/2014/main" id="{4BFAECC4-E7EF-61EC-303C-53C928DD634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Rectangle 112">
                  <a:extLst>
                    <a:ext uri="{FF2B5EF4-FFF2-40B4-BE49-F238E27FC236}">
                      <a16:creationId xmlns:a16="http://schemas.microsoft.com/office/drawing/2014/main" id="{F4B1E857-FBE0-E601-7A21-CE519A7A1FC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Rectangle 113">
                  <a:extLst>
                    <a:ext uri="{FF2B5EF4-FFF2-40B4-BE49-F238E27FC236}">
                      <a16:creationId xmlns:a16="http://schemas.microsoft.com/office/drawing/2014/main" id="{A920F0CC-BDA6-1090-0768-0D31925C36D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Rectangle 114">
                  <a:extLst>
                    <a:ext uri="{FF2B5EF4-FFF2-40B4-BE49-F238E27FC236}">
                      <a16:creationId xmlns:a16="http://schemas.microsoft.com/office/drawing/2014/main" id="{28D24106-A915-6FDA-FB1D-635AEFEF4B4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Rectangle 115">
                  <a:extLst>
                    <a:ext uri="{FF2B5EF4-FFF2-40B4-BE49-F238E27FC236}">
                      <a16:creationId xmlns:a16="http://schemas.microsoft.com/office/drawing/2014/main" id="{7005BE4D-37DD-22B7-CFB2-BF649DF95BB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Freeform 116">
                  <a:extLst>
                    <a:ext uri="{FF2B5EF4-FFF2-40B4-BE49-F238E27FC236}">
                      <a16:creationId xmlns:a16="http://schemas.microsoft.com/office/drawing/2014/main" id="{0D3A8A88-3BF5-0CAF-C0BB-B614CE1AC05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Freeform 117">
                  <a:extLst>
                    <a:ext uri="{FF2B5EF4-FFF2-40B4-BE49-F238E27FC236}">
                      <a16:creationId xmlns:a16="http://schemas.microsoft.com/office/drawing/2014/main" id="{39D304A6-1F08-02DA-56BD-CEF2E1F1DFB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Rectangle 118">
                  <a:extLst>
                    <a:ext uri="{FF2B5EF4-FFF2-40B4-BE49-F238E27FC236}">
                      <a16:creationId xmlns:a16="http://schemas.microsoft.com/office/drawing/2014/main" id="{05691D1E-4F1F-F6C1-9014-C0D959B3A78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Rectangle 119">
                  <a:extLst>
                    <a:ext uri="{FF2B5EF4-FFF2-40B4-BE49-F238E27FC236}">
                      <a16:creationId xmlns:a16="http://schemas.microsoft.com/office/drawing/2014/main" id="{27DF1AD1-1A6C-6E09-59CA-639F30AE7E6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Rectangle 120">
                  <a:extLst>
                    <a:ext uri="{FF2B5EF4-FFF2-40B4-BE49-F238E27FC236}">
                      <a16:creationId xmlns:a16="http://schemas.microsoft.com/office/drawing/2014/main" id="{F4CF608A-511F-521D-05E4-C2138C75ADC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Rectangle 121">
                  <a:extLst>
                    <a:ext uri="{FF2B5EF4-FFF2-40B4-BE49-F238E27FC236}">
                      <a16:creationId xmlns:a16="http://schemas.microsoft.com/office/drawing/2014/main" id="{0FDC0A0B-1912-5BB4-B84B-9D67BF878E1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Rectangle 122">
                  <a:extLst>
                    <a:ext uri="{FF2B5EF4-FFF2-40B4-BE49-F238E27FC236}">
                      <a16:creationId xmlns:a16="http://schemas.microsoft.com/office/drawing/2014/main" id="{213724D3-0F9F-B414-11F6-AF569B3A81C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Rectangle 123">
                  <a:extLst>
                    <a:ext uri="{FF2B5EF4-FFF2-40B4-BE49-F238E27FC236}">
                      <a16:creationId xmlns:a16="http://schemas.microsoft.com/office/drawing/2014/main" id="{F7512B50-C72E-4EE7-CC06-69E1EAFA197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Freeform 124">
                  <a:extLst>
                    <a:ext uri="{FF2B5EF4-FFF2-40B4-BE49-F238E27FC236}">
                      <a16:creationId xmlns:a16="http://schemas.microsoft.com/office/drawing/2014/main" id="{8AD9D4D6-8B99-C448-C34D-39717118A56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Freeform 125">
                  <a:extLst>
                    <a:ext uri="{FF2B5EF4-FFF2-40B4-BE49-F238E27FC236}">
                      <a16:creationId xmlns:a16="http://schemas.microsoft.com/office/drawing/2014/main" id="{B0B8F135-7993-C9D6-3A20-27553BA722F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Rectangle 126">
                  <a:extLst>
                    <a:ext uri="{FF2B5EF4-FFF2-40B4-BE49-F238E27FC236}">
                      <a16:creationId xmlns:a16="http://schemas.microsoft.com/office/drawing/2014/main" id="{5F887CFC-DA4F-EF13-C05B-FC880A73C10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Rectangle 127">
                  <a:extLst>
                    <a:ext uri="{FF2B5EF4-FFF2-40B4-BE49-F238E27FC236}">
                      <a16:creationId xmlns:a16="http://schemas.microsoft.com/office/drawing/2014/main" id="{05044E6F-7E53-4C56-F07E-E41049B2F2A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Rectangle 128">
                  <a:extLst>
                    <a:ext uri="{FF2B5EF4-FFF2-40B4-BE49-F238E27FC236}">
                      <a16:creationId xmlns:a16="http://schemas.microsoft.com/office/drawing/2014/main" id="{8D8E666F-C884-EC7B-F13A-EE5578E3164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Rectangle 129">
                  <a:extLst>
                    <a:ext uri="{FF2B5EF4-FFF2-40B4-BE49-F238E27FC236}">
                      <a16:creationId xmlns:a16="http://schemas.microsoft.com/office/drawing/2014/main" id="{992879ED-7468-7534-C31F-7457FE8DEE8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Freeform 130">
                  <a:extLst>
                    <a:ext uri="{FF2B5EF4-FFF2-40B4-BE49-F238E27FC236}">
                      <a16:creationId xmlns:a16="http://schemas.microsoft.com/office/drawing/2014/main" id="{CA5EF36E-10CE-BC90-DB77-F1CC978B21D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Freeform 131">
                  <a:extLst>
                    <a:ext uri="{FF2B5EF4-FFF2-40B4-BE49-F238E27FC236}">
                      <a16:creationId xmlns:a16="http://schemas.microsoft.com/office/drawing/2014/main" id="{E60443BE-ED93-0E1E-8900-DB1628509D2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Freeform 132">
                  <a:extLst>
                    <a:ext uri="{FF2B5EF4-FFF2-40B4-BE49-F238E27FC236}">
                      <a16:creationId xmlns:a16="http://schemas.microsoft.com/office/drawing/2014/main" id="{56A54DD5-21A5-64D4-CC2B-C440154732F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40288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Rectangle 133">
                  <a:extLst>
                    <a:ext uri="{FF2B5EF4-FFF2-40B4-BE49-F238E27FC236}">
                      <a16:creationId xmlns:a16="http://schemas.microsoft.com/office/drawing/2014/main" id="{8B937759-05B0-8872-4DEF-BCC313ED5F6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Rectangle 134">
                  <a:extLst>
                    <a:ext uri="{FF2B5EF4-FFF2-40B4-BE49-F238E27FC236}">
                      <a16:creationId xmlns:a16="http://schemas.microsoft.com/office/drawing/2014/main" id="{18B15103-A63B-324A-866A-DFCA3689F52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Rectangle 135">
                  <a:extLst>
                    <a:ext uri="{FF2B5EF4-FFF2-40B4-BE49-F238E27FC236}">
                      <a16:creationId xmlns:a16="http://schemas.microsoft.com/office/drawing/2014/main" id="{DDF17E85-A35B-8E22-BB76-D5224C1D988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Rectangle 136">
                  <a:extLst>
                    <a:ext uri="{FF2B5EF4-FFF2-40B4-BE49-F238E27FC236}">
                      <a16:creationId xmlns:a16="http://schemas.microsoft.com/office/drawing/2014/main" id="{B99FDC9D-37CD-C1EC-338F-62B42DA3C94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4" name="Rectangle 137">
                  <a:extLst>
                    <a:ext uri="{FF2B5EF4-FFF2-40B4-BE49-F238E27FC236}">
                      <a16:creationId xmlns:a16="http://schemas.microsoft.com/office/drawing/2014/main" id="{7805292D-A381-3DC5-B516-519E0B0CAE7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Rectangle 138">
                  <a:extLst>
                    <a:ext uri="{FF2B5EF4-FFF2-40B4-BE49-F238E27FC236}">
                      <a16:creationId xmlns:a16="http://schemas.microsoft.com/office/drawing/2014/main" id="{A62AD4AA-9D04-73F7-61AC-1DE633937A2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Rectangle 139">
                  <a:extLst>
                    <a:ext uri="{FF2B5EF4-FFF2-40B4-BE49-F238E27FC236}">
                      <a16:creationId xmlns:a16="http://schemas.microsoft.com/office/drawing/2014/main" id="{8EE2FEBB-773C-D78F-CBA3-1C9CAB51143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Rectangle 140">
                  <a:extLst>
                    <a:ext uri="{FF2B5EF4-FFF2-40B4-BE49-F238E27FC236}">
                      <a16:creationId xmlns:a16="http://schemas.microsoft.com/office/drawing/2014/main" id="{34085715-D50D-258B-E632-7E1E6142867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Rectangle 141">
                  <a:extLst>
                    <a:ext uri="{FF2B5EF4-FFF2-40B4-BE49-F238E27FC236}">
                      <a16:creationId xmlns:a16="http://schemas.microsoft.com/office/drawing/2014/main" id="{6835B42C-1B35-4A75-BC42-9196D7A7DD8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Rectangle 142">
                  <a:extLst>
                    <a:ext uri="{FF2B5EF4-FFF2-40B4-BE49-F238E27FC236}">
                      <a16:creationId xmlns:a16="http://schemas.microsoft.com/office/drawing/2014/main" id="{660A8319-E24D-BD08-4FCA-7883697F95B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Freeform 143">
                  <a:extLst>
                    <a:ext uri="{FF2B5EF4-FFF2-40B4-BE49-F238E27FC236}">
                      <a16:creationId xmlns:a16="http://schemas.microsoft.com/office/drawing/2014/main" id="{3198A2BA-AF0D-1EE1-E551-AD60BAB6F2E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Freeform 144">
                  <a:extLst>
                    <a:ext uri="{FF2B5EF4-FFF2-40B4-BE49-F238E27FC236}">
                      <a16:creationId xmlns:a16="http://schemas.microsoft.com/office/drawing/2014/main" id="{3D6FB35E-AAAD-7126-1891-64CD58A86E4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Rectangle 145">
                  <a:extLst>
                    <a:ext uri="{FF2B5EF4-FFF2-40B4-BE49-F238E27FC236}">
                      <a16:creationId xmlns:a16="http://schemas.microsoft.com/office/drawing/2014/main" id="{3710333D-DCCE-A923-AFCB-04D48B32C34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Rectangle 146">
                  <a:extLst>
                    <a:ext uri="{FF2B5EF4-FFF2-40B4-BE49-F238E27FC236}">
                      <a16:creationId xmlns:a16="http://schemas.microsoft.com/office/drawing/2014/main" id="{8FB176FF-F687-D4A6-D686-17642F156DA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Freeform 147">
                  <a:extLst>
                    <a:ext uri="{FF2B5EF4-FFF2-40B4-BE49-F238E27FC236}">
                      <a16:creationId xmlns:a16="http://schemas.microsoft.com/office/drawing/2014/main" id="{EE17F0D4-1D54-E4AD-8DEA-0389116E16F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Freeform 148">
                  <a:extLst>
                    <a:ext uri="{FF2B5EF4-FFF2-40B4-BE49-F238E27FC236}">
                      <a16:creationId xmlns:a16="http://schemas.microsoft.com/office/drawing/2014/main" id="{F104AEB9-B9CE-ED88-5190-00BB3A6C7A0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6" name="Freeform 149">
                  <a:extLst>
                    <a:ext uri="{FF2B5EF4-FFF2-40B4-BE49-F238E27FC236}">
                      <a16:creationId xmlns:a16="http://schemas.microsoft.com/office/drawing/2014/main" id="{43E5B7AB-9688-88DB-1EB7-A8D8EDEFAF9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7" name="Freeform 150">
                  <a:extLst>
                    <a:ext uri="{FF2B5EF4-FFF2-40B4-BE49-F238E27FC236}">
                      <a16:creationId xmlns:a16="http://schemas.microsoft.com/office/drawing/2014/main" id="{F3144902-41FF-873C-9CE8-06C291B61C9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Rectangle 151">
                  <a:extLst>
                    <a:ext uri="{FF2B5EF4-FFF2-40B4-BE49-F238E27FC236}">
                      <a16:creationId xmlns:a16="http://schemas.microsoft.com/office/drawing/2014/main" id="{B4BD0A79-4D0F-7BD1-AD64-FD395665EBC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Rectangle 152">
                  <a:extLst>
                    <a:ext uri="{FF2B5EF4-FFF2-40B4-BE49-F238E27FC236}">
                      <a16:creationId xmlns:a16="http://schemas.microsoft.com/office/drawing/2014/main" id="{F43FCFBF-4F37-806D-25EA-5104FFEE815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Rectangle 153">
                  <a:extLst>
                    <a:ext uri="{FF2B5EF4-FFF2-40B4-BE49-F238E27FC236}">
                      <a16:creationId xmlns:a16="http://schemas.microsoft.com/office/drawing/2014/main" id="{654530C4-52B7-3655-87AB-12A5078FEF5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Rectangle 154">
                  <a:extLst>
                    <a:ext uri="{FF2B5EF4-FFF2-40B4-BE49-F238E27FC236}">
                      <a16:creationId xmlns:a16="http://schemas.microsoft.com/office/drawing/2014/main" id="{6511D6D9-3A47-E72C-0359-BE0750CB9D5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Rectangle 155">
                  <a:extLst>
                    <a:ext uri="{FF2B5EF4-FFF2-40B4-BE49-F238E27FC236}">
                      <a16:creationId xmlns:a16="http://schemas.microsoft.com/office/drawing/2014/main" id="{8E16A9AB-7E15-146C-E250-C7B2B6C6E29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Rectangle 156">
                  <a:extLst>
                    <a:ext uri="{FF2B5EF4-FFF2-40B4-BE49-F238E27FC236}">
                      <a16:creationId xmlns:a16="http://schemas.microsoft.com/office/drawing/2014/main" id="{AC88FA01-1A7E-9DF8-B167-ACD03A6E16A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Freeform 157">
                  <a:extLst>
                    <a:ext uri="{FF2B5EF4-FFF2-40B4-BE49-F238E27FC236}">
                      <a16:creationId xmlns:a16="http://schemas.microsoft.com/office/drawing/2014/main" id="{CB7B4973-BD49-9C2C-AE65-EC9DD68B34D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Freeform 158">
                  <a:extLst>
                    <a:ext uri="{FF2B5EF4-FFF2-40B4-BE49-F238E27FC236}">
                      <a16:creationId xmlns:a16="http://schemas.microsoft.com/office/drawing/2014/main" id="{4A452CEF-83BB-5484-5461-4ADA8AA65B1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Rectangle 159">
                  <a:extLst>
                    <a:ext uri="{FF2B5EF4-FFF2-40B4-BE49-F238E27FC236}">
                      <a16:creationId xmlns:a16="http://schemas.microsoft.com/office/drawing/2014/main" id="{A3E9F844-5310-5A46-2A83-FD8429D7080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7" name="Rectangle 160">
                  <a:extLst>
                    <a:ext uri="{FF2B5EF4-FFF2-40B4-BE49-F238E27FC236}">
                      <a16:creationId xmlns:a16="http://schemas.microsoft.com/office/drawing/2014/main" id="{5B63AB75-F6F2-85C2-EB60-79E5C0156AE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8" name="Rectangle 161">
                  <a:extLst>
                    <a:ext uri="{FF2B5EF4-FFF2-40B4-BE49-F238E27FC236}">
                      <a16:creationId xmlns:a16="http://schemas.microsoft.com/office/drawing/2014/main" id="{5FF5CC5D-CA4B-7C2C-10C0-37E6FBC3789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9" name="Rectangle 162">
                  <a:extLst>
                    <a:ext uri="{FF2B5EF4-FFF2-40B4-BE49-F238E27FC236}">
                      <a16:creationId xmlns:a16="http://schemas.microsoft.com/office/drawing/2014/main" id="{97B10049-307D-7FDB-2591-C943409C220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Rectangle 163">
                  <a:extLst>
                    <a:ext uri="{FF2B5EF4-FFF2-40B4-BE49-F238E27FC236}">
                      <a16:creationId xmlns:a16="http://schemas.microsoft.com/office/drawing/2014/main" id="{E37646DC-4C48-1D1B-AD43-F0E5B5DD44C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Rectangle 164">
                  <a:extLst>
                    <a:ext uri="{FF2B5EF4-FFF2-40B4-BE49-F238E27FC236}">
                      <a16:creationId xmlns:a16="http://schemas.microsoft.com/office/drawing/2014/main" id="{C7FB66D2-D9F4-0D78-27DE-83EF60AA716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Rectangle 165">
                  <a:extLst>
                    <a:ext uri="{FF2B5EF4-FFF2-40B4-BE49-F238E27FC236}">
                      <a16:creationId xmlns:a16="http://schemas.microsoft.com/office/drawing/2014/main" id="{65B81B40-62E1-5330-737B-6F7846EED7C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Rectangle 166">
                  <a:extLst>
                    <a:ext uri="{FF2B5EF4-FFF2-40B4-BE49-F238E27FC236}">
                      <a16:creationId xmlns:a16="http://schemas.microsoft.com/office/drawing/2014/main" id="{6506E40F-E001-783A-D774-97D6022D0E3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Rectangle 167">
                  <a:extLst>
                    <a:ext uri="{FF2B5EF4-FFF2-40B4-BE49-F238E27FC236}">
                      <a16:creationId xmlns:a16="http://schemas.microsoft.com/office/drawing/2014/main" id="{7E1EDE62-E17B-8E10-16DF-86D7D732543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Rectangle 168">
                  <a:extLst>
                    <a:ext uri="{FF2B5EF4-FFF2-40B4-BE49-F238E27FC236}">
                      <a16:creationId xmlns:a16="http://schemas.microsoft.com/office/drawing/2014/main" id="{2AAF7941-24E0-295C-5CC1-1DA2A7BC1A9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Rectangle 169">
                  <a:extLst>
                    <a:ext uri="{FF2B5EF4-FFF2-40B4-BE49-F238E27FC236}">
                      <a16:creationId xmlns:a16="http://schemas.microsoft.com/office/drawing/2014/main" id="{3FACB47C-1ABB-3D86-B835-E94738B85DB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Rectangle 170">
                  <a:extLst>
                    <a:ext uri="{FF2B5EF4-FFF2-40B4-BE49-F238E27FC236}">
                      <a16:creationId xmlns:a16="http://schemas.microsoft.com/office/drawing/2014/main" id="{0BBBC2BA-2E1B-47A0-A86F-D23E2BE2FD0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 171">
                  <a:extLst>
                    <a:ext uri="{FF2B5EF4-FFF2-40B4-BE49-F238E27FC236}">
                      <a16:creationId xmlns:a16="http://schemas.microsoft.com/office/drawing/2014/main" id="{FAE50101-59DA-81DF-5FBB-C72906BB100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 172">
                  <a:extLst>
                    <a:ext uri="{FF2B5EF4-FFF2-40B4-BE49-F238E27FC236}">
                      <a16:creationId xmlns:a16="http://schemas.microsoft.com/office/drawing/2014/main" id="{765548A3-89B3-0567-EA8E-EEA107DC0A7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Rectangle 173">
                  <a:extLst>
                    <a:ext uri="{FF2B5EF4-FFF2-40B4-BE49-F238E27FC236}">
                      <a16:creationId xmlns:a16="http://schemas.microsoft.com/office/drawing/2014/main" id="{70D0A595-92AB-0545-CBEE-6CBF1EAEA2D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19563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1" name="Rectangle 174">
                  <a:extLst>
                    <a:ext uri="{FF2B5EF4-FFF2-40B4-BE49-F238E27FC236}">
                      <a16:creationId xmlns:a16="http://schemas.microsoft.com/office/drawing/2014/main" id="{5D86F6D4-A9B1-63BF-F321-5B92C39D88E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1938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2" name="Freeform 175">
                  <a:extLst>
                    <a:ext uri="{FF2B5EF4-FFF2-40B4-BE49-F238E27FC236}">
                      <a16:creationId xmlns:a16="http://schemas.microsoft.com/office/drawing/2014/main" id="{51052603-08EF-8E37-EEAF-69BAFC7CABA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022725" y="4899026"/>
                  <a:ext cx="20638" cy="17463"/>
                </a:xfrm>
                <a:custGeom>
                  <a:avLst/>
                  <a:gdLst>
                    <a:gd name="T0" fmla="*/ 1 w 13"/>
                    <a:gd name="T1" fmla="*/ 11 h 11"/>
                    <a:gd name="T2" fmla="*/ 13 w 13"/>
                    <a:gd name="T3" fmla="*/ 11 h 11"/>
                    <a:gd name="T4" fmla="*/ 13 w 13"/>
                    <a:gd name="T5" fmla="*/ 0 h 11"/>
                    <a:gd name="T6" fmla="*/ 0 w 13"/>
                    <a:gd name="T7" fmla="*/ 0 h 11"/>
                    <a:gd name="T8" fmla="*/ 1 w 13"/>
                    <a:gd name="T9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1">
                      <a:moveTo>
                        <a:pt x="1" y="11"/>
                      </a:moveTo>
                      <a:lnTo>
                        <a:pt x="13" y="11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1" y="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0" name="Group 6">
              <a:extLst>
                <a:ext uri="{FF2B5EF4-FFF2-40B4-BE49-F238E27FC236}">
                  <a16:creationId xmlns:a16="http://schemas.microsoft.com/office/drawing/2014/main" id="{CB6822B8-F00F-C809-3FDF-1E7F746A6BD5}"/>
                </a:ext>
              </a:extLst>
            </p:cNvPr>
            <p:cNvGrpSpPr/>
            <p:nvPr/>
          </p:nvGrpSpPr>
          <p:grpSpPr>
            <a:xfrm>
              <a:off x="1868421" y="3874372"/>
              <a:ext cx="2908640" cy="1223224"/>
              <a:chOff x="1868421" y="3874372"/>
              <a:chExt cx="2908640" cy="1223224"/>
            </a:xfrm>
          </p:grpSpPr>
          <p:grpSp>
            <p:nvGrpSpPr>
              <p:cNvPr id="16" name="Group 2">
                <a:extLst>
                  <a:ext uri="{FF2B5EF4-FFF2-40B4-BE49-F238E27FC236}">
                    <a16:creationId xmlns:a16="http://schemas.microsoft.com/office/drawing/2014/main" id="{4BB538E2-F74A-A44E-5B59-463A6C8FEF22}"/>
                  </a:ext>
                </a:extLst>
              </p:cNvPr>
              <p:cNvGrpSpPr/>
              <p:nvPr/>
            </p:nvGrpSpPr>
            <p:grpSpPr>
              <a:xfrm>
                <a:off x="1868421" y="3874372"/>
                <a:ext cx="1112318" cy="1215895"/>
                <a:chOff x="1868421" y="3874372"/>
                <a:chExt cx="1112318" cy="1215895"/>
              </a:xfrm>
            </p:grpSpPr>
            <p:sp>
              <p:nvSpPr>
                <p:cNvPr id="82" name="Freeform 177">
                  <a:extLst>
                    <a:ext uri="{FF2B5EF4-FFF2-40B4-BE49-F238E27FC236}">
                      <a16:creationId xmlns:a16="http://schemas.microsoft.com/office/drawing/2014/main" id="{B21FDD32-EE87-E5F3-40C2-F28FAD02B3C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163948" y="4817283"/>
                  <a:ext cx="124002" cy="272984"/>
                </a:xfrm>
                <a:custGeom>
                  <a:avLst/>
                  <a:gdLst>
                    <a:gd name="T0" fmla="*/ 20 w 119"/>
                    <a:gd name="T1" fmla="*/ 0 h 262"/>
                    <a:gd name="T2" fmla="*/ 3 w 119"/>
                    <a:gd name="T3" fmla="*/ 0 h 262"/>
                    <a:gd name="T4" fmla="*/ 4 w 119"/>
                    <a:gd name="T5" fmla="*/ 6 h 262"/>
                    <a:gd name="T6" fmla="*/ 22 w 119"/>
                    <a:gd name="T7" fmla="*/ 13 h 262"/>
                    <a:gd name="T8" fmla="*/ 42 w 119"/>
                    <a:gd name="T9" fmla="*/ 23 h 262"/>
                    <a:gd name="T10" fmla="*/ 46 w 119"/>
                    <a:gd name="T11" fmla="*/ 26 h 262"/>
                    <a:gd name="T12" fmla="*/ 35 w 119"/>
                    <a:gd name="T13" fmla="*/ 28 h 262"/>
                    <a:gd name="T14" fmla="*/ 37 w 119"/>
                    <a:gd name="T15" fmla="*/ 262 h 262"/>
                    <a:gd name="T16" fmla="*/ 119 w 119"/>
                    <a:gd name="T17" fmla="*/ 262 h 262"/>
                    <a:gd name="T18" fmla="*/ 69 w 119"/>
                    <a:gd name="T19" fmla="*/ 23 h 262"/>
                    <a:gd name="T20" fmla="*/ 68 w 119"/>
                    <a:gd name="T21" fmla="*/ 23 h 262"/>
                    <a:gd name="T22" fmla="*/ 69 w 119"/>
                    <a:gd name="T23" fmla="*/ 1 h 262"/>
                    <a:gd name="T24" fmla="*/ 49 w 119"/>
                    <a:gd name="T25" fmla="*/ 1 h 262"/>
                    <a:gd name="T26" fmla="*/ 48 w 119"/>
                    <a:gd name="T27" fmla="*/ 9 h 262"/>
                    <a:gd name="T28" fmla="*/ 20 w 119"/>
                    <a:gd name="T29" fmla="*/ 0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9" h="262">
                      <a:moveTo>
                        <a:pt x="20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0" y="5"/>
                        <a:pt x="4" y="6"/>
                      </a:cubicBezTo>
                      <a:cubicBezTo>
                        <a:pt x="6" y="7"/>
                        <a:pt x="22" y="13"/>
                        <a:pt x="22" y="13"/>
                      </a:cubicBezTo>
                      <a:cubicBezTo>
                        <a:pt x="42" y="23"/>
                        <a:pt x="42" y="23"/>
                        <a:pt x="42" y="23"/>
                      </a:cubicBezTo>
                      <a:cubicBezTo>
                        <a:pt x="46" y="26"/>
                        <a:pt x="46" y="26"/>
                        <a:pt x="46" y="26"/>
                      </a:cubicBezTo>
                      <a:cubicBezTo>
                        <a:pt x="35" y="28"/>
                        <a:pt x="35" y="28"/>
                        <a:pt x="35" y="28"/>
                      </a:cubicBezTo>
                      <a:cubicBezTo>
                        <a:pt x="37" y="262"/>
                        <a:pt x="37" y="262"/>
                        <a:pt x="37" y="262"/>
                      </a:cubicBezTo>
                      <a:cubicBezTo>
                        <a:pt x="119" y="262"/>
                        <a:pt x="119" y="262"/>
                        <a:pt x="119" y="262"/>
                      </a:cubicBezTo>
                      <a:cubicBezTo>
                        <a:pt x="105" y="159"/>
                        <a:pt x="69" y="23"/>
                        <a:pt x="69" y="23"/>
                      </a:cubicBezTo>
                      <a:cubicBezTo>
                        <a:pt x="68" y="23"/>
                        <a:pt x="68" y="23"/>
                        <a:pt x="68" y="23"/>
                      </a:cubicBezTo>
                      <a:cubicBezTo>
                        <a:pt x="69" y="1"/>
                        <a:pt x="69" y="1"/>
                        <a:pt x="69" y="1"/>
                      </a:cubicBezTo>
                      <a:cubicBezTo>
                        <a:pt x="49" y="1"/>
                        <a:pt x="49" y="1"/>
                        <a:pt x="49" y="1"/>
                      </a:cubicBezTo>
                      <a:cubicBezTo>
                        <a:pt x="48" y="9"/>
                        <a:pt x="48" y="9"/>
                        <a:pt x="48" y="9"/>
                      </a:cubicBezTo>
                      <a:cubicBezTo>
                        <a:pt x="20" y="0"/>
                        <a:pt x="20" y="0"/>
                        <a:pt x="20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grpSp>
              <p:nvGrpSpPr>
                <p:cNvPr id="83" name="Group 1087">
                  <a:extLst>
                    <a:ext uri="{FF2B5EF4-FFF2-40B4-BE49-F238E27FC236}">
                      <a16:creationId xmlns:a16="http://schemas.microsoft.com/office/drawing/2014/main" id="{35B6CF2E-F9A8-F0DD-1A11-FD5450F234EE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1868421" y="3874372"/>
                  <a:ext cx="1112318" cy="907889"/>
                  <a:chOff x="10205244" y="514350"/>
                  <a:chExt cx="1429544" cy="1166813"/>
                </a:xfrm>
              </p:grpSpPr>
              <p:sp>
                <p:nvSpPr>
                  <p:cNvPr id="84" name="Freeform 254">
                    <a:extLst>
                      <a:ext uri="{FF2B5EF4-FFF2-40B4-BE49-F238E27FC236}">
                        <a16:creationId xmlns:a16="http://schemas.microsoft.com/office/drawing/2014/main" id="{C547872E-09E5-8B87-4B4C-55DAEA74F03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05244" y="950913"/>
                    <a:ext cx="88900" cy="63500"/>
                  </a:xfrm>
                  <a:custGeom>
                    <a:avLst/>
                    <a:gdLst>
                      <a:gd name="T0" fmla="*/ 47 w 48"/>
                      <a:gd name="T1" fmla="*/ 8 h 35"/>
                      <a:gd name="T2" fmla="*/ 47 w 48"/>
                      <a:gd name="T3" fmla="*/ 0 h 35"/>
                      <a:gd name="T4" fmla="*/ 16 w 48"/>
                      <a:gd name="T5" fmla="*/ 3 h 35"/>
                      <a:gd name="T6" fmla="*/ 21 w 48"/>
                      <a:gd name="T7" fmla="*/ 6 h 35"/>
                      <a:gd name="T8" fmla="*/ 29 w 48"/>
                      <a:gd name="T9" fmla="*/ 7 h 35"/>
                      <a:gd name="T10" fmla="*/ 14 w 48"/>
                      <a:gd name="T11" fmla="*/ 24 h 35"/>
                      <a:gd name="T12" fmla="*/ 2 w 48"/>
                      <a:gd name="T13" fmla="*/ 24 h 35"/>
                      <a:gd name="T14" fmla="*/ 0 w 48"/>
                      <a:gd name="T15" fmla="*/ 28 h 35"/>
                      <a:gd name="T16" fmla="*/ 15 w 48"/>
                      <a:gd name="T17" fmla="*/ 29 h 35"/>
                      <a:gd name="T18" fmla="*/ 5 w 48"/>
                      <a:gd name="T19" fmla="*/ 33 h 35"/>
                      <a:gd name="T20" fmla="*/ 6 w 48"/>
                      <a:gd name="T21" fmla="*/ 35 h 35"/>
                      <a:gd name="T22" fmla="*/ 27 w 48"/>
                      <a:gd name="T23" fmla="*/ 31 h 35"/>
                      <a:gd name="T24" fmla="*/ 31 w 48"/>
                      <a:gd name="T25" fmla="*/ 27 h 35"/>
                      <a:gd name="T26" fmla="*/ 39 w 48"/>
                      <a:gd name="T27" fmla="*/ 19 h 35"/>
                      <a:gd name="T28" fmla="*/ 44 w 48"/>
                      <a:gd name="T29" fmla="*/ 14 h 35"/>
                      <a:gd name="T30" fmla="*/ 48 w 48"/>
                      <a:gd name="T31" fmla="*/ 14 h 35"/>
                      <a:gd name="T32" fmla="*/ 47 w 48"/>
                      <a:gd name="T33" fmla="*/ 8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48" h="35">
                        <a:moveTo>
                          <a:pt x="47" y="8"/>
                        </a:moveTo>
                        <a:cubicBezTo>
                          <a:pt x="47" y="4"/>
                          <a:pt x="47" y="2"/>
                          <a:pt x="47" y="0"/>
                        </a:cubicBezTo>
                        <a:cubicBezTo>
                          <a:pt x="36" y="0"/>
                          <a:pt x="16" y="3"/>
                          <a:pt x="16" y="3"/>
                        </a:cubicBezTo>
                        <a:cubicBezTo>
                          <a:pt x="16" y="3"/>
                          <a:pt x="16" y="6"/>
                          <a:pt x="21" y="6"/>
                        </a:cubicBezTo>
                        <a:cubicBezTo>
                          <a:pt x="26" y="6"/>
                          <a:pt x="29" y="7"/>
                          <a:pt x="29" y="7"/>
                        </a:cubicBezTo>
                        <a:cubicBezTo>
                          <a:pt x="14" y="24"/>
                          <a:pt x="14" y="24"/>
                          <a:pt x="14" y="24"/>
                        </a:cubicBezTo>
                        <a:cubicBezTo>
                          <a:pt x="14" y="24"/>
                          <a:pt x="4" y="24"/>
                          <a:pt x="2" y="24"/>
                        </a:cubicBezTo>
                        <a:cubicBezTo>
                          <a:pt x="1" y="25"/>
                          <a:pt x="0" y="27"/>
                          <a:pt x="0" y="28"/>
                        </a:cubicBezTo>
                        <a:cubicBezTo>
                          <a:pt x="4" y="28"/>
                          <a:pt x="15" y="29"/>
                          <a:pt x="15" y="29"/>
                        </a:cubicBezTo>
                        <a:cubicBezTo>
                          <a:pt x="15" y="29"/>
                          <a:pt x="7" y="31"/>
                          <a:pt x="5" y="33"/>
                        </a:cubicBezTo>
                        <a:cubicBezTo>
                          <a:pt x="5" y="33"/>
                          <a:pt x="4" y="35"/>
                          <a:pt x="6" y="35"/>
                        </a:cubicBezTo>
                        <a:cubicBezTo>
                          <a:pt x="15" y="34"/>
                          <a:pt x="26" y="32"/>
                          <a:pt x="27" y="31"/>
                        </a:cubicBezTo>
                        <a:cubicBezTo>
                          <a:pt x="29" y="29"/>
                          <a:pt x="31" y="27"/>
                          <a:pt x="31" y="27"/>
                        </a:cubicBezTo>
                        <a:cubicBezTo>
                          <a:pt x="31" y="27"/>
                          <a:pt x="35" y="23"/>
                          <a:pt x="39" y="19"/>
                        </a:cubicBezTo>
                        <a:cubicBezTo>
                          <a:pt x="43" y="16"/>
                          <a:pt x="44" y="14"/>
                          <a:pt x="44" y="14"/>
                        </a:cubicBezTo>
                        <a:cubicBezTo>
                          <a:pt x="48" y="14"/>
                          <a:pt x="48" y="14"/>
                          <a:pt x="48" y="14"/>
                        </a:cubicBezTo>
                        <a:cubicBezTo>
                          <a:pt x="48" y="14"/>
                          <a:pt x="47" y="11"/>
                          <a:pt x="47" y="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5" name="Freeform 235">
                    <a:extLst>
                      <a:ext uri="{FF2B5EF4-FFF2-40B4-BE49-F238E27FC236}">
                        <a16:creationId xmlns:a16="http://schemas.microsoft.com/office/drawing/2014/main" id="{2128B29E-3893-5EF0-EBB2-77CE24E5F63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20438" y="976313"/>
                    <a:ext cx="206375" cy="155575"/>
                  </a:xfrm>
                  <a:custGeom>
                    <a:avLst/>
                    <a:gdLst>
                      <a:gd name="T0" fmla="*/ 112 w 112"/>
                      <a:gd name="T1" fmla="*/ 84 h 84"/>
                      <a:gd name="T2" fmla="*/ 30 w 112"/>
                      <a:gd name="T3" fmla="*/ 73 h 84"/>
                      <a:gd name="T4" fmla="*/ 0 w 112"/>
                      <a:gd name="T5" fmla="*/ 0 h 84"/>
                      <a:gd name="T6" fmla="*/ 68 w 112"/>
                      <a:gd name="T7" fmla="*/ 23 h 84"/>
                      <a:gd name="T8" fmla="*/ 112 w 112"/>
                      <a:gd name="T9" fmla="*/ 84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2" h="84">
                        <a:moveTo>
                          <a:pt x="112" y="84"/>
                        </a:moveTo>
                        <a:cubicBezTo>
                          <a:pt x="112" y="84"/>
                          <a:pt x="80" y="48"/>
                          <a:pt x="30" y="73"/>
                        </a:cubicBezTo>
                        <a:cubicBezTo>
                          <a:pt x="9" y="83"/>
                          <a:pt x="0" y="0"/>
                          <a:pt x="0" y="0"/>
                        </a:cubicBezTo>
                        <a:cubicBezTo>
                          <a:pt x="0" y="0"/>
                          <a:pt x="11" y="5"/>
                          <a:pt x="68" y="23"/>
                        </a:cubicBezTo>
                        <a:cubicBezTo>
                          <a:pt x="83" y="28"/>
                          <a:pt x="112" y="84"/>
                          <a:pt x="112" y="84"/>
                        </a:cubicBezTo>
                        <a:close/>
                      </a:path>
                    </a:pathLst>
                  </a:custGeom>
                  <a:solidFill>
                    <a:srgbClr val="5D819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" name="Freeform 236">
                    <a:extLst>
                      <a:ext uri="{FF2B5EF4-FFF2-40B4-BE49-F238E27FC236}">
                        <a16:creationId xmlns:a16="http://schemas.microsoft.com/office/drawing/2014/main" id="{E1F6FE84-F47E-5B27-2C8E-C856A6D2583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555413" y="1190625"/>
                    <a:ext cx="79375" cy="52388"/>
                  </a:xfrm>
                  <a:custGeom>
                    <a:avLst/>
                    <a:gdLst>
                      <a:gd name="T0" fmla="*/ 0 w 43"/>
                      <a:gd name="T1" fmla="*/ 12 h 28"/>
                      <a:gd name="T2" fmla="*/ 7 w 43"/>
                      <a:gd name="T3" fmla="*/ 0 h 28"/>
                      <a:gd name="T4" fmla="*/ 19 w 43"/>
                      <a:gd name="T5" fmla="*/ 7 h 28"/>
                      <a:gd name="T6" fmla="*/ 16 w 43"/>
                      <a:gd name="T7" fmla="*/ 12 h 28"/>
                      <a:gd name="T8" fmla="*/ 35 w 43"/>
                      <a:gd name="T9" fmla="*/ 18 h 28"/>
                      <a:gd name="T10" fmla="*/ 43 w 43"/>
                      <a:gd name="T11" fmla="*/ 24 h 28"/>
                      <a:gd name="T12" fmla="*/ 40 w 43"/>
                      <a:gd name="T13" fmla="*/ 27 h 28"/>
                      <a:gd name="T14" fmla="*/ 29 w 43"/>
                      <a:gd name="T15" fmla="*/ 25 h 28"/>
                      <a:gd name="T16" fmla="*/ 12 w 43"/>
                      <a:gd name="T17" fmla="*/ 24 h 28"/>
                      <a:gd name="T18" fmla="*/ 0 w 43"/>
                      <a:gd name="T19" fmla="*/ 12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3" h="28">
                        <a:moveTo>
                          <a:pt x="0" y="12"/>
                        </a:move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19" y="7"/>
                          <a:pt x="19" y="7"/>
                          <a:pt x="19" y="7"/>
                        </a:cubicBezTo>
                        <a:cubicBezTo>
                          <a:pt x="16" y="12"/>
                          <a:pt x="16" y="12"/>
                          <a:pt x="16" y="12"/>
                        </a:cubicBezTo>
                        <a:cubicBezTo>
                          <a:pt x="35" y="18"/>
                          <a:pt x="35" y="18"/>
                          <a:pt x="35" y="18"/>
                        </a:cubicBezTo>
                        <a:cubicBezTo>
                          <a:pt x="43" y="24"/>
                          <a:pt x="43" y="24"/>
                          <a:pt x="43" y="24"/>
                        </a:cubicBezTo>
                        <a:cubicBezTo>
                          <a:pt x="43" y="24"/>
                          <a:pt x="43" y="28"/>
                          <a:pt x="40" y="27"/>
                        </a:cubicBezTo>
                        <a:cubicBezTo>
                          <a:pt x="39" y="27"/>
                          <a:pt x="29" y="25"/>
                          <a:pt x="29" y="25"/>
                        </a:cubicBezTo>
                        <a:cubicBezTo>
                          <a:pt x="12" y="24"/>
                          <a:pt x="12" y="24"/>
                          <a:pt x="12" y="24"/>
                        </a:cubicBez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7" name="Freeform 237">
                    <a:extLst>
                      <a:ext uri="{FF2B5EF4-FFF2-40B4-BE49-F238E27FC236}">
                        <a16:creationId xmlns:a16="http://schemas.microsoft.com/office/drawing/2014/main" id="{60F4F9B5-BA9C-942E-31EC-13230FCE2EA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049000" y="1157288"/>
                    <a:ext cx="534988" cy="444500"/>
                  </a:xfrm>
                  <a:custGeom>
                    <a:avLst/>
                    <a:gdLst>
                      <a:gd name="T0" fmla="*/ 13 w 288"/>
                      <a:gd name="T1" fmla="*/ 30 h 240"/>
                      <a:gd name="T2" fmla="*/ 97 w 288"/>
                      <a:gd name="T3" fmla="*/ 29 h 240"/>
                      <a:gd name="T4" fmla="*/ 121 w 288"/>
                      <a:gd name="T5" fmla="*/ 154 h 240"/>
                      <a:gd name="T6" fmla="*/ 269 w 288"/>
                      <a:gd name="T7" fmla="*/ 26 h 240"/>
                      <a:gd name="T8" fmla="*/ 288 w 288"/>
                      <a:gd name="T9" fmla="*/ 44 h 240"/>
                      <a:gd name="T10" fmla="*/ 145 w 288"/>
                      <a:gd name="T11" fmla="*/ 206 h 240"/>
                      <a:gd name="T12" fmla="*/ 78 w 288"/>
                      <a:gd name="T13" fmla="*/ 202 h 240"/>
                      <a:gd name="T14" fmla="*/ 0 w 288"/>
                      <a:gd name="T15" fmla="*/ 68 h 240"/>
                      <a:gd name="T16" fmla="*/ 13 w 288"/>
                      <a:gd name="T17" fmla="*/ 30 h 2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88" h="240">
                        <a:moveTo>
                          <a:pt x="13" y="30"/>
                        </a:moveTo>
                        <a:cubicBezTo>
                          <a:pt x="13" y="30"/>
                          <a:pt x="86" y="0"/>
                          <a:pt x="97" y="29"/>
                        </a:cubicBezTo>
                        <a:cubicBezTo>
                          <a:pt x="114" y="69"/>
                          <a:pt x="119" y="127"/>
                          <a:pt x="121" y="154"/>
                        </a:cubicBezTo>
                        <a:cubicBezTo>
                          <a:pt x="269" y="26"/>
                          <a:pt x="269" y="26"/>
                          <a:pt x="269" y="26"/>
                        </a:cubicBezTo>
                        <a:cubicBezTo>
                          <a:pt x="288" y="44"/>
                          <a:pt x="288" y="44"/>
                          <a:pt x="288" y="44"/>
                        </a:cubicBezTo>
                        <a:cubicBezTo>
                          <a:pt x="288" y="44"/>
                          <a:pt x="154" y="192"/>
                          <a:pt x="145" y="206"/>
                        </a:cubicBezTo>
                        <a:cubicBezTo>
                          <a:pt x="135" y="220"/>
                          <a:pt x="102" y="240"/>
                          <a:pt x="78" y="202"/>
                        </a:cubicBezTo>
                        <a:cubicBezTo>
                          <a:pt x="55" y="163"/>
                          <a:pt x="14" y="93"/>
                          <a:pt x="0" y="68"/>
                        </a:cubicBezTo>
                        <a:cubicBezTo>
                          <a:pt x="107" y="63"/>
                          <a:pt x="13" y="30"/>
                          <a:pt x="13" y="3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8" name="Freeform 238">
                    <a:extLst>
                      <a:ext uri="{FF2B5EF4-FFF2-40B4-BE49-F238E27FC236}">
                        <a16:creationId xmlns:a16="http://schemas.microsoft.com/office/drawing/2014/main" id="{11AB2918-2B56-C5E8-2F2B-F16263ECD6D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50513" y="677863"/>
                    <a:ext cx="373063" cy="328613"/>
                  </a:xfrm>
                  <a:custGeom>
                    <a:avLst/>
                    <a:gdLst>
                      <a:gd name="T0" fmla="*/ 179 w 201"/>
                      <a:gd name="T1" fmla="*/ 0 h 177"/>
                      <a:gd name="T2" fmla="*/ 134 w 201"/>
                      <a:gd name="T3" fmla="*/ 67 h 177"/>
                      <a:gd name="T4" fmla="*/ 99 w 201"/>
                      <a:gd name="T5" fmla="*/ 122 h 177"/>
                      <a:gd name="T6" fmla="*/ 9 w 201"/>
                      <a:gd name="T7" fmla="*/ 39 h 177"/>
                      <a:gd name="T8" fmla="*/ 0 w 201"/>
                      <a:gd name="T9" fmla="*/ 48 h 177"/>
                      <a:gd name="T10" fmla="*/ 65 w 201"/>
                      <a:gd name="T11" fmla="*/ 141 h 177"/>
                      <a:gd name="T12" fmla="*/ 116 w 201"/>
                      <a:gd name="T13" fmla="*/ 177 h 177"/>
                      <a:gd name="T14" fmla="*/ 201 w 201"/>
                      <a:gd name="T15" fmla="*/ 87 h 177"/>
                      <a:gd name="T16" fmla="*/ 179 w 201"/>
                      <a:gd name="T17" fmla="*/ 0 h 1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1" h="177">
                        <a:moveTo>
                          <a:pt x="179" y="0"/>
                        </a:moveTo>
                        <a:cubicBezTo>
                          <a:pt x="179" y="0"/>
                          <a:pt x="155" y="11"/>
                          <a:pt x="134" y="67"/>
                        </a:cubicBezTo>
                        <a:cubicBezTo>
                          <a:pt x="121" y="98"/>
                          <a:pt x="99" y="122"/>
                          <a:pt x="99" y="122"/>
                        </a:cubicBezTo>
                        <a:cubicBezTo>
                          <a:pt x="9" y="39"/>
                          <a:pt x="9" y="39"/>
                          <a:pt x="9" y="39"/>
                        </a:cubicBezTo>
                        <a:cubicBezTo>
                          <a:pt x="0" y="48"/>
                          <a:pt x="0" y="48"/>
                          <a:pt x="0" y="48"/>
                        </a:cubicBezTo>
                        <a:cubicBezTo>
                          <a:pt x="0" y="48"/>
                          <a:pt x="41" y="108"/>
                          <a:pt x="65" y="141"/>
                        </a:cubicBezTo>
                        <a:cubicBezTo>
                          <a:pt x="86" y="172"/>
                          <a:pt x="116" y="177"/>
                          <a:pt x="116" y="177"/>
                        </a:cubicBezTo>
                        <a:cubicBezTo>
                          <a:pt x="201" y="87"/>
                          <a:pt x="201" y="87"/>
                          <a:pt x="201" y="87"/>
                        </a:cubicBezTo>
                        <a:lnTo>
                          <a:pt x="179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9" name="Freeform 239">
                    <a:extLst>
                      <a:ext uri="{FF2B5EF4-FFF2-40B4-BE49-F238E27FC236}">
                        <a16:creationId xmlns:a16="http://schemas.microsoft.com/office/drawing/2014/main" id="{3E498DB9-D6D9-21ED-72CB-43239A368E5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7525" y="700088"/>
                    <a:ext cx="284163" cy="404813"/>
                  </a:xfrm>
                  <a:custGeom>
                    <a:avLst/>
                    <a:gdLst>
                      <a:gd name="T0" fmla="*/ 154 w 154"/>
                      <a:gd name="T1" fmla="*/ 219 h 219"/>
                      <a:gd name="T2" fmla="*/ 32 w 154"/>
                      <a:gd name="T3" fmla="*/ 117 h 219"/>
                      <a:gd name="T4" fmla="*/ 43 w 154"/>
                      <a:gd name="T5" fmla="*/ 0 h 219"/>
                      <a:gd name="T6" fmla="*/ 154 w 154"/>
                      <a:gd name="T7" fmla="*/ 219 h 2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54" h="219">
                        <a:moveTo>
                          <a:pt x="154" y="219"/>
                        </a:moveTo>
                        <a:cubicBezTo>
                          <a:pt x="154" y="219"/>
                          <a:pt x="59" y="173"/>
                          <a:pt x="32" y="117"/>
                        </a:cubicBezTo>
                        <a:cubicBezTo>
                          <a:pt x="0" y="47"/>
                          <a:pt x="43" y="0"/>
                          <a:pt x="43" y="0"/>
                        </a:cubicBezTo>
                        <a:cubicBezTo>
                          <a:pt x="154" y="219"/>
                          <a:pt x="154" y="219"/>
                          <a:pt x="154" y="219"/>
                        </a:cubicBezTo>
                      </a:path>
                    </a:pathLst>
                  </a:custGeom>
                  <a:solidFill>
                    <a:srgbClr val="9FCDD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0" name="Freeform 240">
                    <a:extLst>
                      <a:ext uri="{FF2B5EF4-FFF2-40B4-BE49-F238E27FC236}">
                        <a16:creationId xmlns:a16="http://schemas.microsoft.com/office/drawing/2014/main" id="{A744ADFB-AC28-4AC7-46A4-BAA3FB3355B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18800" y="666750"/>
                    <a:ext cx="525463" cy="481013"/>
                  </a:xfrm>
                  <a:custGeom>
                    <a:avLst/>
                    <a:gdLst>
                      <a:gd name="T0" fmla="*/ 135 w 283"/>
                      <a:gd name="T1" fmla="*/ 260 h 260"/>
                      <a:gd name="T2" fmla="*/ 32 w 283"/>
                      <a:gd name="T3" fmla="*/ 116 h 260"/>
                      <a:gd name="T4" fmla="*/ 13 w 283"/>
                      <a:gd name="T5" fmla="*/ 25 h 260"/>
                      <a:gd name="T6" fmla="*/ 45 w 283"/>
                      <a:gd name="T7" fmla="*/ 0 h 260"/>
                      <a:gd name="T8" fmla="*/ 174 w 283"/>
                      <a:gd name="T9" fmla="*/ 74 h 260"/>
                      <a:gd name="T10" fmla="*/ 283 w 283"/>
                      <a:gd name="T11" fmla="*/ 245 h 260"/>
                      <a:gd name="T12" fmla="*/ 135 w 283"/>
                      <a:gd name="T13" fmla="*/ 26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3" h="260">
                        <a:moveTo>
                          <a:pt x="135" y="260"/>
                        </a:moveTo>
                        <a:cubicBezTo>
                          <a:pt x="135" y="260"/>
                          <a:pt x="85" y="180"/>
                          <a:pt x="32" y="116"/>
                        </a:cubicBezTo>
                        <a:cubicBezTo>
                          <a:pt x="0" y="76"/>
                          <a:pt x="13" y="25"/>
                          <a:pt x="13" y="25"/>
                        </a:cubicBezTo>
                        <a:cubicBezTo>
                          <a:pt x="13" y="25"/>
                          <a:pt x="30" y="1"/>
                          <a:pt x="45" y="0"/>
                        </a:cubicBezTo>
                        <a:cubicBezTo>
                          <a:pt x="71" y="7"/>
                          <a:pt x="133" y="22"/>
                          <a:pt x="174" y="74"/>
                        </a:cubicBezTo>
                        <a:cubicBezTo>
                          <a:pt x="232" y="148"/>
                          <a:pt x="283" y="245"/>
                          <a:pt x="283" y="245"/>
                        </a:cubicBezTo>
                        <a:cubicBezTo>
                          <a:pt x="135" y="260"/>
                          <a:pt x="135" y="260"/>
                          <a:pt x="135" y="260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1" name="Freeform 241">
                    <a:extLst>
                      <a:ext uri="{FF2B5EF4-FFF2-40B4-BE49-F238E27FC236}">
                        <a16:creationId xmlns:a16="http://schemas.microsoft.com/office/drawing/2014/main" id="{AC46B39A-0241-0689-83D9-3EF588E1B10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01350" y="911225"/>
                    <a:ext cx="23813" cy="30163"/>
                  </a:xfrm>
                  <a:custGeom>
                    <a:avLst/>
                    <a:gdLst>
                      <a:gd name="T0" fmla="*/ 0 w 13"/>
                      <a:gd name="T1" fmla="*/ 0 h 16"/>
                      <a:gd name="T2" fmla="*/ 13 w 13"/>
                      <a:gd name="T3" fmla="*/ 16 h 16"/>
                      <a:gd name="T4" fmla="*/ 6 w 13"/>
                      <a:gd name="T5" fmla="*/ 5 h 16"/>
                      <a:gd name="T6" fmla="*/ 0 w 13"/>
                      <a:gd name="T7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3" h="16">
                        <a:moveTo>
                          <a:pt x="0" y="0"/>
                        </a:moveTo>
                        <a:cubicBezTo>
                          <a:pt x="0" y="0"/>
                          <a:pt x="5" y="7"/>
                          <a:pt x="13" y="16"/>
                        </a:cubicBezTo>
                        <a:cubicBezTo>
                          <a:pt x="11" y="12"/>
                          <a:pt x="8" y="9"/>
                          <a:pt x="6" y="5"/>
                        </a:cubicBezTo>
                        <a:cubicBezTo>
                          <a:pt x="2" y="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2" name="Freeform 242">
                    <a:extLst>
                      <a:ext uri="{FF2B5EF4-FFF2-40B4-BE49-F238E27FC236}">
                        <a16:creationId xmlns:a16="http://schemas.microsoft.com/office/drawing/2014/main" id="{3A0F3187-42EC-9629-9C70-5191559797B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2463" y="920750"/>
                    <a:ext cx="252413" cy="200025"/>
                  </a:xfrm>
                  <a:custGeom>
                    <a:avLst/>
                    <a:gdLst>
                      <a:gd name="T0" fmla="*/ 0 w 136"/>
                      <a:gd name="T1" fmla="*/ 0 h 108"/>
                      <a:gd name="T2" fmla="*/ 7 w 136"/>
                      <a:gd name="T3" fmla="*/ 11 h 108"/>
                      <a:gd name="T4" fmla="*/ 63 w 136"/>
                      <a:gd name="T5" fmla="*/ 48 h 108"/>
                      <a:gd name="T6" fmla="*/ 124 w 136"/>
                      <a:gd name="T7" fmla="*/ 107 h 108"/>
                      <a:gd name="T8" fmla="*/ 136 w 136"/>
                      <a:gd name="T9" fmla="*/ 108 h 108"/>
                      <a:gd name="T10" fmla="*/ 62 w 136"/>
                      <a:gd name="T11" fmla="*/ 43 h 108"/>
                      <a:gd name="T12" fmla="*/ 0 w 136"/>
                      <a:gd name="T13" fmla="*/ 0 h 1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36" h="108">
                        <a:moveTo>
                          <a:pt x="0" y="0"/>
                        </a:moveTo>
                        <a:cubicBezTo>
                          <a:pt x="2" y="4"/>
                          <a:pt x="5" y="7"/>
                          <a:pt x="7" y="11"/>
                        </a:cubicBezTo>
                        <a:cubicBezTo>
                          <a:pt x="20" y="24"/>
                          <a:pt x="40" y="41"/>
                          <a:pt x="63" y="48"/>
                        </a:cubicBezTo>
                        <a:cubicBezTo>
                          <a:pt x="97" y="58"/>
                          <a:pt x="124" y="107"/>
                          <a:pt x="124" y="107"/>
                        </a:cubicBezTo>
                        <a:cubicBezTo>
                          <a:pt x="136" y="108"/>
                          <a:pt x="136" y="108"/>
                          <a:pt x="136" y="108"/>
                        </a:cubicBezTo>
                        <a:cubicBezTo>
                          <a:pt x="136" y="108"/>
                          <a:pt x="100" y="63"/>
                          <a:pt x="62" y="43"/>
                        </a:cubicBezTo>
                        <a:cubicBezTo>
                          <a:pt x="33" y="29"/>
                          <a:pt x="10" y="1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3" name="Freeform 243">
                    <a:extLst>
                      <a:ext uri="{FF2B5EF4-FFF2-40B4-BE49-F238E27FC236}">
                        <a16:creationId xmlns:a16="http://schemas.microsoft.com/office/drawing/2014/main" id="{69672833-3852-498E-A698-FE6A4486674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9438" y="730250"/>
                    <a:ext cx="211138" cy="368300"/>
                  </a:xfrm>
                  <a:custGeom>
                    <a:avLst/>
                    <a:gdLst>
                      <a:gd name="T0" fmla="*/ 5 w 114"/>
                      <a:gd name="T1" fmla="*/ 0 h 199"/>
                      <a:gd name="T2" fmla="*/ 2 w 114"/>
                      <a:gd name="T3" fmla="*/ 9 h 199"/>
                      <a:gd name="T4" fmla="*/ 8 w 114"/>
                      <a:gd name="T5" fmla="*/ 18 h 199"/>
                      <a:gd name="T6" fmla="*/ 17 w 114"/>
                      <a:gd name="T7" fmla="*/ 94 h 199"/>
                      <a:gd name="T8" fmla="*/ 83 w 114"/>
                      <a:gd name="T9" fmla="*/ 194 h 199"/>
                      <a:gd name="T10" fmla="*/ 114 w 114"/>
                      <a:gd name="T11" fmla="*/ 199 h 199"/>
                      <a:gd name="T12" fmla="*/ 111 w 114"/>
                      <a:gd name="T13" fmla="*/ 166 h 199"/>
                      <a:gd name="T14" fmla="*/ 33 w 114"/>
                      <a:gd name="T15" fmla="*/ 84 h 199"/>
                      <a:gd name="T16" fmla="*/ 14 w 114"/>
                      <a:gd name="T17" fmla="*/ 17 h 199"/>
                      <a:gd name="T18" fmla="*/ 17 w 114"/>
                      <a:gd name="T19" fmla="*/ 7 h 199"/>
                      <a:gd name="T20" fmla="*/ 5 w 114"/>
                      <a:gd name="T21" fmla="*/ 0 h 1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14" h="199">
                        <a:moveTo>
                          <a:pt x="5" y="0"/>
                        </a:moveTo>
                        <a:cubicBezTo>
                          <a:pt x="5" y="0"/>
                          <a:pt x="2" y="4"/>
                          <a:pt x="2" y="9"/>
                        </a:cubicBezTo>
                        <a:cubicBezTo>
                          <a:pt x="3" y="14"/>
                          <a:pt x="8" y="18"/>
                          <a:pt x="8" y="18"/>
                        </a:cubicBezTo>
                        <a:cubicBezTo>
                          <a:pt x="8" y="18"/>
                          <a:pt x="0" y="55"/>
                          <a:pt x="17" y="94"/>
                        </a:cubicBezTo>
                        <a:cubicBezTo>
                          <a:pt x="43" y="154"/>
                          <a:pt x="83" y="194"/>
                          <a:pt x="83" y="194"/>
                        </a:cubicBezTo>
                        <a:cubicBezTo>
                          <a:pt x="114" y="199"/>
                          <a:pt x="114" y="199"/>
                          <a:pt x="114" y="199"/>
                        </a:cubicBezTo>
                        <a:cubicBezTo>
                          <a:pt x="111" y="166"/>
                          <a:pt x="111" y="166"/>
                          <a:pt x="111" y="166"/>
                        </a:cubicBezTo>
                        <a:cubicBezTo>
                          <a:pt x="111" y="166"/>
                          <a:pt x="65" y="139"/>
                          <a:pt x="33" y="84"/>
                        </a:cubicBezTo>
                        <a:cubicBezTo>
                          <a:pt x="11" y="46"/>
                          <a:pt x="14" y="17"/>
                          <a:pt x="14" y="17"/>
                        </a:cubicBezTo>
                        <a:cubicBezTo>
                          <a:pt x="14" y="17"/>
                          <a:pt x="15" y="12"/>
                          <a:pt x="17" y="7"/>
                        </a:cubicBezTo>
                        <a:cubicBezTo>
                          <a:pt x="9" y="4"/>
                          <a:pt x="5" y="0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4" name="Freeform 244">
                    <a:extLst>
                      <a:ext uri="{FF2B5EF4-FFF2-40B4-BE49-F238E27FC236}">
                        <a16:creationId xmlns:a16="http://schemas.microsoft.com/office/drawing/2014/main" id="{A852508E-6343-89DE-0417-CE8E0497010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80700" y="617538"/>
                    <a:ext cx="131763" cy="107950"/>
                  </a:xfrm>
                  <a:custGeom>
                    <a:avLst/>
                    <a:gdLst>
                      <a:gd name="T0" fmla="*/ 70 w 71"/>
                      <a:gd name="T1" fmla="*/ 28 h 59"/>
                      <a:gd name="T2" fmla="*/ 71 w 71"/>
                      <a:gd name="T3" fmla="*/ 24 h 59"/>
                      <a:gd name="T4" fmla="*/ 62 w 71"/>
                      <a:gd name="T5" fmla="*/ 0 h 59"/>
                      <a:gd name="T6" fmla="*/ 42 w 71"/>
                      <a:gd name="T7" fmla="*/ 17 h 59"/>
                      <a:gd name="T8" fmla="*/ 21 w 71"/>
                      <a:gd name="T9" fmla="*/ 23 h 59"/>
                      <a:gd name="T10" fmla="*/ 0 w 71"/>
                      <a:gd name="T11" fmla="*/ 11 h 59"/>
                      <a:gd name="T12" fmla="*/ 36 w 71"/>
                      <a:gd name="T13" fmla="*/ 59 h 59"/>
                      <a:gd name="T14" fmla="*/ 70 w 71"/>
                      <a:gd name="T15" fmla="*/ 28 h 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1" h="59">
                        <a:moveTo>
                          <a:pt x="70" y="28"/>
                        </a:moveTo>
                        <a:cubicBezTo>
                          <a:pt x="69" y="26"/>
                          <a:pt x="71" y="24"/>
                          <a:pt x="71" y="24"/>
                        </a:cubicBezTo>
                        <a:cubicBezTo>
                          <a:pt x="62" y="0"/>
                          <a:pt x="62" y="0"/>
                          <a:pt x="62" y="0"/>
                        </a:cubicBezTo>
                        <a:cubicBezTo>
                          <a:pt x="62" y="0"/>
                          <a:pt x="48" y="10"/>
                          <a:pt x="42" y="17"/>
                        </a:cubicBezTo>
                        <a:cubicBezTo>
                          <a:pt x="36" y="24"/>
                          <a:pt x="25" y="24"/>
                          <a:pt x="21" y="23"/>
                        </a:cubicBezTo>
                        <a:cubicBezTo>
                          <a:pt x="13" y="19"/>
                          <a:pt x="0" y="11"/>
                          <a:pt x="0" y="11"/>
                        </a:cubicBezTo>
                        <a:cubicBezTo>
                          <a:pt x="0" y="11"/>
                          <a:pt x="24" y="28"/>
                          <a:pt x="36" y="59"/>
                        </a:cubicBezTo>
                        <a:cubicBezTo>
                          <a:pt x="60" y="44"/>
                          <a:pt x="67" y="33"/>
                          <a:pt x="70" y="2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5" name="Freeform 245">
                    <a:extLst>
                      <a:ext uri="{FF2B5EF4-FFF2-40B4-BE49-F238E27FC236}">
                        <a16:creationId xmlns:a16="http://schemas.microsoft.com/office/drawing/2014/main" id="{EAE82E57-D35F-28B6-F859-D8EE29E8272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9113" y="541338"/>
                    <a:ext cx="138113" cy="127000"/>
                  </a:xfrm>
                  <a:custGeom>
                    <a:avLst/>
                    <a:gdLst>
                      <a:gd name="T0" fmla="*/ 1 w 75"/>
                      <a:gd name="T1" fmla="*/ 52 h 69"/>
                      <a:gd name="T2" fmla="*/ 25 w 75"/>
                      <a:gd name="T3" fmla="*/ 65 h 69"/>
                      <a:gd name="T4" fmla="*/ 39 w 75"/>
                      <a:gd name="T5" fmla="*/ 62 h 69"/>
                      <a:gd name="T6" fmla="*/ 52 w 75"/>
                      <a:gd name="T7" fmla="*/ 51 h 69"/>
                      <a:gd name="T8" fmla="*/ 60 w 75"/>
                      <a:gd name="T9" fmla="*/ 50 h 69"/>
                      <a:gd name="T10" fmla="*/ 62 w 75"/>
                      <a:gd name="T11" fmla="*/ 39 h 69"/>
                      <a:gd name="T12" fmla="*/ 75 w 75"/>
                      <a:gd name="T13" fmla="*/ 12 h 69"/>
                      <a:gd name="T14" fmla="*/ 65 w 75"/>
                      <a:gd name="T15" fmla="*/ 1 h 69"/>
                      <a:gd name="T16" fmla="*/ 50 w 75"/>
                      <a:gd name="T17" fmla="*/ 0 h 69"/>
                      <a:gd name="T18" fmla="*/ 12 w 75"/>
                      <a:gd name="T19" fmla="*/ 20 h 69"/>
                      <a:gd name="T20" fmla="*/ 13 w 75"/>
                      <a:gd name="T21" fmla="*/ 23 h 69"/>
                      <a:gd name="T22" fmla="*/ 18 w 75"/>
                      <a:gd name="T23" fmla="*/ 27 h 69"/>
                      <a:gd name="T24" fmla="*/ 1 w 75"/>
                      <a:gd name="T25" fmla="*/ 51 h 69"/>
                      <a:gd name="T26" fmla="*/ 1 w 75"/>
                      <a:gd name="T27" fmla="*/ 52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75" h="69">
                        <a:moveTo>
                          <a:pt x="1" y="52"/>
                        </a:moveTo>
                        <a:cubicBezTo>
                          <a:pt x="7" y="56"/>
                          <a:pt x="19" y="63"/>
                          <a:pt x="25" y="65"/>
                        </a:cubicBezTo>
                        <a:cubicBezTo>
                          <a:pt x="33" y="69"/>
                          <a:pt x="39" y="62"/>
                          <a:pt x="39" y="62"/>
                        </a:cubicBezTo>
                        <a:cubicBezTo>
                          <a:pt x="52" y="51"/>
                          <a:pt x="52" y="51"/>
                          <a:pt x="52" y="51"/>
                        </a:cubicBezTo>
                        <a:cubicBezTo>
                          <a:pt x="52" y="51"/>
                          <a:pt x="56" y="51"/>
                          <a:pt x="60" y="50"/>
                        </a:cubicBezTo>
                        <a:cubicBezTo>
                          <a:pt x="62" y="49"/>
                          <a:pt x="66" y="45"/>
                          <a:pt x="62" y="39"/>
                        </a:cubicBezTo>
                        <a:cubicBezTo>
                          <a:pt x="54" y="30"/>
                          <a:pt x="75" y="12"/>
                          <a:pt x="75" y="12"/>
                        </a:cubicBezTo>
                        <a:cubicBezTo>
                          <a:pt x="65" y="1"/>
                          <a:pt x="65" y="1"/>
                          <a:pt x="65" y="1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12" y="20"/>
                          <a:pt x="12" y="20"/>
                          <a:pt x="12" y="20"/>
                        </a:cubicBezTo>
                        <a:cubicBezTo>
                          <a:pt x="12" y="20"/>
                          <a:pt x="11" y="22"/>
                          <a:pt x="13" y="23"/>
                        </a:cubicBezTo>
                        <a:cubicBezTo>
                          <a:pt x="15" y="25"/>
                          <a:pt x="18" y="27"/>
                          <a:pt x="18" y="27"/>
                        </a:cubicBezTo>
                        <a:cubicBezTo>
                          <a:pt x="18" y="27"/>
                          <a:pt x="2" y="50"/>
                          <a:pt x="1" y="51"/>
                        </a:cubicBezTo>
                        <a:cubicBezTo>
                          <a:pt x="0" y="52"/>
                          <a:pt x="1" y="52"/>
                          <a:pt x="1" y="52"/>
                        </a:cubicBezTo>
                        <a:close/>
                      </a:path>
                    </a:pathLst>
                  </a:custGeom>
                  <a:solidFill>
                    <a:srgbClr val="E9F6F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6" name="Freeform 246">
                    <a:extLst>
                      <a:ext uri="{FF2B5EF4-FFF2-40B4-BE49-F238E27FC236}">
                        <a16:creationId xmlns:a16="http://schemas.microsoft.com/office/drawing/2014/main" id="{93BFC233-79CA-6133-905D-9CC0E09432D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6263" y="563563"/>
                    <a:ext cx="19050" cy="22225"/>
                  </a:xfrm>
                  <a:custGeom>
                    <a:avLst/>
                    <a:gdLst>
                      <a:gd name="T0" fmla="*/ 1 w 10"/>
                      <a:gd name="T1" fmla="*/ 4 h 12"/>
                      <a:gd name="T2" fmla="*/ 2 w 10"/>
                      <a:gd name="T3" fmla="*/ 7 h 12"/>
                      <a:gd name="T4" fmla="*/ 9 w 10"/>
                      <a:gd name="T5" fmla="*/ 11 h 12"/>
                      <a:gd name="T6" fmla="*/ 4 w 10"/>
                      <a:gd name="T7" fmla="*/ 2 h 12"/>
                      <a:gd name="T8" fmla="*/ 1 w 10"/>
                      <a:gd name="T9" fmla="*/ 4 h 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" h="12">
                        <a:moveTo>
                          <a:pt x="1" y="4"/>
                        </a:moveTo>
                        <a:cubicBezTo>
                          <a:pt x="0" y="6"/>
                          <a:pt x="1" y="6"/>
                          <a:pt x="2" y="7"/>
                        </a:cubicBezTo>
                        <a:cubicBezTo>
                          <a:pt x="4" y="8"/>
                          <a:pt x="10" y="12"/>
                          <a:pt x="9" y="11"/>
                        </a:cubicBezTo>
                        <a:cubicBezTo>
                          <a:pt x="9" y="10"/>
                          <a:pt x="7" y="7"/>
                          <a:pt x="4" y="2"/>
                        </a:cubicBezTo>
                        <a:cubicBezTo>
                          <a:pt x="3" y="0"/>
                          <a:pt x="2" y="2"/>
                          <a:pt x="1" y="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7" name="Freeform 247">
                    <a:extLst>
                      <a:ext uri="{FF2B5EF4-FFF2-40B4-BE49-F238E27FC236}">
                        <a16:creationId xmlns:a16="http://schemas.microsoft.com/office/drawing/2014/main" id="{53CE0B8B-2118-E8EC-CDBE-4B409CAD641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514350"/>
                    <a:ext cx="103188" cy="147638"/>
                  </a:xfrm>
                  <a:custGeom>
                    <a:avLst/>
                    <a:gdLst>
                      <a:gd name="T0" fmla="*/ 56 w 56"/>
                      <a:gd name="T1" fmla="*/ 44 h 79"/>
                      <a:gd name="T2" fmla="*/ 15 w 56"/>
                      <a:gd name="T3" fmla="*/ 6 h 79"/>
                      <a:gd name="T4" fmla="*/ 12 w 56"/>
                      <a:gd name="T5" fmla="*/ 14 h 79"/>
                      <a:gd name="T6" fmla="*/ 26 w 56"/>
                      <a:gd name="T7" fmla="*/ 30 h 79"/>
                      <a:gd name="T8" fmla="*/ 8 w 56"/>
                      <a:gd name="T9" fmla="*/ 55 h 79"/>
                      <a:gd name="T10" fmla="*/ 25 w 56"/>
                      <a:gd name="T11" fmla="*/ 55 h 79"/>
                      <a:gd name="T12" fmla="*/ 34 w 56"/>
                      <a:gd name="T13" fmla="*/ 79 h 79"/>
                      <a:gd name="T14" fmla="*/ 56 w 56"/>
                      <a:gd name="T15" fmla="*/ 44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6" h="79">
                        <a:moveTo>
                          <a:pt x="56" y="44"/>
                        </a:moveTo>
                        <a:cubicBezTo>
                          <a:pt x="35" y="8"/>
                          <a:pt x="23" y="0"/>
                          <a:pt x="15" y="6"/>
                        </a:cubicBezTo>
                        <a:cubicBezTo>
                          <a:pt x="13" y="7"/>
                          <a:pt x="11" y="11"/>
                          <a:pt x="12" y="14"/>
                        </a:cubicBezTo>
                        <a:cubicBezTo>
                          <a:pt x="23" y="19"/>
                          <a:pt x="33" y="25"/>
                          <a:pt x="26" y="30"/>
                        </a:cubicBezTo>
                        <a:cubicBezTo>
                          <a:pt x="24" y="32"/>
                          <a:pt x="0" y="50"/>
                          <a:pt x="8" y="55"/>
                        </a:cubicBezTo>
                        <a:cubicBezTo>
                          <a:pt x="12" y="53"/>
                          <a:pt x="21" y="48"/>
                          <a:pt x="25" y="55"/>
                        </a:cubicBezTo>
                        <a:cubicBezTo>
                          <a:pt x="28" y="60"/>
                          <a:pt x="19" y="66"/>
                          <a:pt x="34" y="79"/>
                        </a:cubicBezTo>
                        <a:cubicBezTo>
                          <a:pt x="43" y="66"/>
                          <a:pt x="55" y="51"/>
                          <a:pt x="56" y="4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8" name="Freeform 248">
                    <a:extLst>
                      <a:ext uri="{FF2B5EF4-FFF2-40B4-BE49-F238E27FC236}">
                        <a16:creationId xmlns:a16="http://schemas.microsoft.com/office/drawing/2014/main" id="{5688F2AC-7404-DCDE-BE59-187BBE657C2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87038" y="1652588"/>
                    <a:ext cx="85725" cy="28575"/>
                  </a:xfrm>
                  <a:custGeom>
                    <a:avLst/>
                    <a:gdLst>
                      <a:gd name="T0" fmla="*/ 46 w 46"/>
                      <a:gd name="T1" fmla="*/ 0 h 16"/>
                      <a:gd name="T2" fmla="*/ 46 w 46"/>
                      <a:gd name="T3" fmla="*/ 15 h 16"/>
                      <a:gd name="T4" fmla="*/ 33 w 46"/>
                      <a:gd name="T5" fmla="*/ 15 h 16"/>
                      <a:gd name="T6" fmla="*/ 32 w 46"/>
                      <a:gd name="T7" fmla="*/ 10 h 16"/>
                      <a:gd name="T8" fmla="*/ 14 w 46"/>
                      <a:gd name="T9" fmla="*/ 16 h 16"/>
                      <a:gd name="T10" fmla="*/ 2 w 46"/>
                      <a:gd name="T11" fmla="*/ 15 h 16"/>
                      <a:gd name="T12" fmla="*/ 3 w 46"/>
                      <a:gd name="T13" fmla="*/ 11 h 16"/>
                      <a:gd name="T14" fmla="*/ 15 w 46"/>
                      <a:gd name="T15" fmla="*/ 7 h 16"/>
                      <a:gd name="T16" fmla="*/ 28 w 46"/>
                      <a:gd name="T17" fmla="*/ 0 h 16"/>
                      <a:gd name="T18" fmla="*/ 46 w 46"/>
                      <a:gd name="T19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6" h="16">
                        <a:moveTo>
                          <a:pt x="46" y="0"/>
                        </a:moveTo>
                        <a:cubicBezTo>
                          <a:pt x="46" y="15"/>
                          <a:pt x="46" y="15"/>
                          <a:pt x="46" y="15"/>
                        </a:cubicBezTo>
                        <a:cubicBezTo>
                          <a:pt x="33" y="15"/>
                          <a:pt x="33" y="15"/>
                          <a:pt x="33" y="15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14" y="16"/>
                          <a:pt x="14" y="16"/>
                          <a:pt x="14" y="16"/>
                        </a:cubicBezTo>
                        <a:cubicBezTo>
                          <a:pt x="2" y="15"/>
                          <a:pt x="2" y="15"/>
                          <a:pt x="2" y="15"/>
                        </a:cubicBezTo>
                        <a:cubicBezTo>
                          <a:pt x="2" y="15"/>
                          <a:pt x="0" y="12"/>
                          <a:pt x="3" y="11"/>
                        </a:cubicBezTo>
                        <a:cubicBezTo>
                          <a:pt x="4" y="11"/>
                          <a:pt x="15" y="7"/>
                          <a:pt x="15" y="7"/>
                        </a:cubicBezTo>
                        <a:cubicBezTo>
                          <a:pt x="28" y="0"/>
                          <a:pt x="28" y="0"/>
                          <a:pt x="28" y="0"/>
                        </a:cubicBez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9" name="Freeform 249">
                    <a:extLst>
                      <a:ext uri="{FF2B5EF4-FFF2-40B4-BE49-F238E27FC236}">
                        <a16:creationId xmlns:a16="http://schemas.microsoft.com/office/drawing/2014/main" id="{B0C4BD03-6E1E-B979-0A8E-EA3DD07A8A8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31488" y="1119188"/>
                    <a:ext cx="693738" cy="533400"/>
                  </a:xfrm>
                  <a:custGeom>
                    <a:avLst/>
                    <a:gdLst>
                      <a:gd name="T0" fmla="*/ 0 w 374"/>
                      <a:gd name="T1" fmla="*/ 285 h 288"/>
                      <a:gd name="T2" fmla="*/ 1 w 374"/>
                      <a:gd name="T3" fmla="*/ 52 h 288"/>
                      <a:gd name="T4" fmla="*/ 50 w 374"/>
                      <a:gd name="T5" fmla="*/ 0 h 288"/>
                      <a:gd name="T6" fmla="*/ 330 w 374"/>
                      <a:gd name="T7" fmla="*/ 1 h 288"/>
                      <a:gd name="T8" fmla="*/ 207 w 374"/>
                      <a:gd name="T9" fmla="*/ 81 h 288"/>
                      <a:gd name="T10" fmla="*/ 56 w 374"/>
                      <a:gd name="T11" fmla="*/ 59 h 288"/>
                      <a:gd name="T12" fmla="*/ 22 w 374"/>
                      <a:gd name="T13" fmla="*/ 288 h 288"/>
                      <a:gd name="T14" fmla="*/ 0 w 374"/>
                      <a:gd name="T15" fmla="*/ 285 h 2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74" h="288">
                        <a:moveTo>
                          <a:pt x="0" y="285"/>
                        </a:moveTo>
                        <a:cubicBezTo>
                          <a:pt x="1" y="52"/>
                          <a:pt x="1" y="52"/>
                          <a:pt x="1" y="52"/>
                        </a:cubicBezTo>
                        <a:cubicBezTo>
                          <a:pt x="0" y="11"/>
                          <a:pt x="39" y="0"/>
                          <a:pt x="50" y="0"/>
                        </a:cubicBezTo>
                        <a:cubicBezTo>
                          <a:pt x="61" y="0"/>
                          <a:pt x="330" y="1"/>
                          <a:pt x="330" y="1"/>
                        </a:cubicBezTo>
                        <a:cubicBezTo>
                          <a:pt x="330" y="1"/>
                          <a:pt x="374" y="98"/>
                          <a:pt x="207" y="81"/>
                        </a:cubicBezTo>
                        <a:cubicBezTo>
                          <a:pt x="166" y="77"/>
                          <a:pt x="165" y="71"/>
                          <a:pt x="56" y="59"/>
                        </a:cubicBezTo>
                        <a:cubicBezTo>
                          <a:pt x="72" y="103"/>
                          <a:pt x="22" y="288"/>
                          <a:pt x="22" y="288"/>
                        </a:cubicBezTo>
                        <a:lnTo>
                          <a:pt x="0" y="28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0" name="Freeform 250">
                    <a:extLst>
                      <a:ext uri="{FF2B5EF4-FFF2-40B4-BE49-F238E27FC236}">
                        <a16:creationId xmlns:a16="http://schemas.microsoft.com/office/drawing/2014/main" id="{3EA4759F-3C4D-4911-722B-7A42B2026A1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668338"/>
                    <a:ext cx="65088" cy="76200"/>
                  </a:xfrm>
                  <a:custGeom>
                    <a:avLst/>
                    <a:gdLst>
                      <a:gd name="T0" fmla="*/ 33 w 35"/>
                      <a:gd name="T1" fmla="*/ 0 h 41"/>
                      <a:gd name="T2" fmla="*/ 35 w 35"/>
                      <a:gd name="T3" fmla="*/ 1 h 41"/>
                      <a:gd name="T4" fmla="*/ 21 w 35"/>
                      <a:gd name="T5" fmla="*/ 41 h 41"/>
                      <a:gd name="T6" fmla="*/ 0 w 35"/>
                      <a:gd name="T7" fmla="*/ 31 h 41"/>
                      <a:gd name="T8" fmla="*/ 33 w 35"/>
                      <a:gd name="T9" fmla="*/ 0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5" h="41">
                        <a:moveTo>
                          <a:pt x="33" y="0"/>
                        </a:moveTo>
                        <a:cubicBezTo>
                          <a:pt x="35" y="1"/>
                          <a:pt x="35" y="1"/>
                          <a:pt x="35" y="1"/>
                        </a:cubicBezTo>
                        <a:cubicBezTo>
                          <a:pt x="21" y="41"/>
                          <a:pt x="21" y="41"/>
                          <a:pt x="21" y="41"/>
                        </a:cubicBezTo>
                        <a:cubicBezTo>
                          <a:pt x="21" y="41"/>
                          <a:pt x="11" y="41"/>
                          <a:pt x="0" y="31"/>
                        </a:cubicBezTo>
                        <a:cubicBezTo>
                          <a:pt x="28" y="12"/>
                          <a:pt x="33" y="0"/>
                          <a:pt x="33" y="0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1" name="Freeform 251">
                    <a:extLst>
                      <a:ext uri="{FF2B5EF4-FFF2-40B4-BE49-F238E27FC236}">
                        <a16:creationId xmlns:a16="http://schemas.microsoft.com/office/drawing/2014/main" id="{CA5BBE2B-C16B-CF83-122B-E55A0DF0C68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8813" y="673100"/>
                    <a:ext cx="574675" cy="481013"/>
                  </a:xfrm>
                  <a:custGeom>
                    <a:avLst/>
                    <a:gdLst>
                      <a:gd name="T0" fmla="*/ 0 w 310"/>
                      <a:gd name="T1" fmla="*/ 0 h 260"/>
                      <a:gd name="T2" fmla="*/ 134 w 310"/>
                      <a:gd name="T3" fmla="*/ 182 h 260"/>
                      <a:gd name="T4" fmla="*/ 274 w 310"/>
                      <a:gd name="T5" fmla="*/ 260 h 260"/>
                      <a:gd name="T6" fmla="*/ 194 w 310"/>
                      <a:gd name="T7" fmla="*/ 161 h 260"/>
                      <a:gd name="T8" fmla="*/ 0 w 310"/>
                      <a:gd name="T9" fmla="*/ 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10" h="260">
                        <a:moveTo>
                          <a:pt x="0" y="0"/>
                        </a:moveTo>
                        <a:cubicBezTo>
                          <a:pt x="0" y="0"/>
                          <a:pt x="14" y="153"/>
                          <a:pt x="134" y="182"/>
                        </a:cubicBezTo>
                        <a:cubicBezTo>
                          <a:pt x="250" y="210"/>
                          <a:pt x="274" y="260"/>
                          <a:pt x="274" y="260"/>
                        </a:cubicBezTo>
                        <a:cubicBezTo>
                          <a:pt x="274" y="260"/>
                          <a:pt x="310" y="203"/>
                          <a:pt x="194" y="161"/>
                        </a:cubicBezTo>
                        <a:cubicBezTo>
                          <a:pt x="77" y="118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2" name="Freeform 252">
                    <a:extLst>
                      <a:ext uri="{FF2B5EF4-FFF2-40B4-BE49-F238E27FC236}">
                        <a16:creationId xmlns:a16="http://schemas.microsoft.com/office/drawing/2014/main" id="{A78CEB3E-3F8A-7DA0-331C-708773B0ADD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93413" y="666750"/>
                    <a:ext cx="369888" cy="306388"/>
                  </a:xfrm>
                  <a:custGeom>
                    <a:avLst/>
                    <a:gdLst>
                      <a:gd name="T0" fmla="*/ 199 w 199"/>
                      <a:gd name="T1" fmla="*/ 165 h 165"/>
                      <a:gd name="T2" fmla="*/ 108 w 199"/>
                      <a:gd name="T3" fmla="*/ 43 h 165"/>
                      <a:gd name="T4" fmla="*/ 9 w 199"/>
                      <a:gd name="T5" fmla="*/ 0 h 165"/>
                      <a:gd name="T6" fmla="*/ 75 w 199"/>
                      <a:gd name="T7" fmla="*/ 119 h 165"/>
                      <a:gd name="T8" fmla="*/ 199 w 199"/>
                      <a:gd name="T9" fmla="*/ 165 h 1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99" h="165">
                        <a:moveTo>
                          <a:pt x="199" y="165"/>
                        </a:moveTo>
                        <a:cubicBezTo>
                          <a:pt x="199" y="165"/>
                          <a:pt x="134" y="65"/>
                          <a:pt x="108" y="43"/>
                        </a:cubicBezTo>
                        <a:cubicBezTo>
                          <a:pt x="82" y="21"/>
                          <a:pt x="9" y="0"/>
                          <a:pt x="9" y="0"/>
                        </a:cubicBezTo>
                        <a:cubicBezTo>
                          <a:pt x="9" y="0"/>
                          <a:pt x="0" y="87"/>
                          <a:pt x="75" y="119"/>
                        </a:cubicBezTo>
                        <a:cubicBezTo>
                          <a:pt x="150" y="151"/>
                          <a:pt x="199" y="165"/>
                          <a:pt x="199" y="165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3" name="Freeform 253">
                    <a:extLst>
                      <a:ext uri="{FF2B5EF4-FFF2-40B4-BE49-F238E27FC236}">
                        <a16:creationId xmlns:a16="http://schemas.microsoft.com/office/drawing/2014/main" id="{7FF9EDBD-6E35-1AB3-DA22-56A3C60094F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91763" y="669925"/>
                    <a:ext cx="630238" cy="344488"/>
                  </a:xfrm>
                  <a:custGeom>
                    <a:avLst/>
                    <a:gdLst>
                      <a:gd name="T0" fmla="*/ 337 w 340"/>
                      <a:gd name="T1" fmla="*/ 78 h 186"/>
                      <a:gd name="T2" fmla="*/ 196 w 340"/>
                      <a:gd name="T3" fmla="*/ 184 h 186"/>
                      <a:gd name="T4" fmla="*/ 2 w 340"/>
                      <a:gd name="T5" fmla="*/ 166 h 186"/>
                      <a:gd name="T6" fmla="*/ 0 w 340"/>
                      <a:gd name="T7" fmla="*/ 151 h 186"/>
                      <a:gd name="T8" fmla="*/ 189 w 340"/>
                      <a:gd name="T9" fmla="*/ 144 h 186"/>
                      <a:gd name="T10" fmla="*/ 266 w 340"/>
                      <a:gd name="T11" fmla="*/ 49 h 186"/>
                      <a:gd name="T12" fmla="*/ 337 w 340"/>
                      <a:gd name="T13" fmla="*/ 78 h 1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0" h="186">
                        <a:moveTo>
                          <a:pt x="337" y="78"/>
                        </a:moveTo>
                        <a:cubicBezTo>
                          <a:pt x="301" y="123"/>
                          <a:pt x="230" y="173"/>
                          <a:pt x="196" y="184"/>
                        </a:cubicBezTo>
                        <a:cubicBezTo>
                          <a:pt x="125" y="186"/>
                          <a:pt x="2" y="166"/>
                          <a:pt x="2" y="166"/>
                        </a:cubicBezTo>
                        <a:cubicBezTo>
                          <a:pt x="2" y="166"/>
                          <a:pt x="0" y="159"/>
                          <a:pt x="0" y="151"/>
                        </a:cubicBezTo>
                        <a:cubicBezTo>
                          <a:pt x="52" y="147"/>
                          <a:pt x="159" y="142"/>
                          <a:pt x="189" y="144"/>
                        </a:cubicBezTo>
                        <a:cubicBezTo>
                          <a:pt x="223" y="116"/>
                          <a:pt x="255" y="98"/>
                          <a:pt x="266" y="49"/>
                        </a:cubicBezTo>
                        <a:cubicBezTo>
                          <a:pt x="278" y="0"/>
                          <a:pt x="340" y="16"/>
                          <a:pt x="337" y="78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4" name="Freeform 255">
                    <a:extLst>
                      <a:ext uri="{FF2B5EF4-FFF2-40B4-BE49-F238E27FC236}">
                        <a16:creationId xmlns:a16="http://schemas.microsoft.com/office/drawing/2014/main" id="{7648BEC0-E344-D3D2-5D76-C435B4A3D43A}"/>
                      </a:ext>
                    </a:extLst>
                  </p:cNvPr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10396538" y="666750"/>
                    <a:ext cx="66675" cy="95250"/>
                  </a:xfrm>
                  <a:custGeom>
                    <a:avLst/>
                    <a:gdLst>
                      <a:gd name="T0" fmla="*/ 34 w 36"/>
                      <a:gd name="T1" fmla="*/ 42 h 51"/>
                      <a:gd name="T2" fmla="*/ 30 w 36"/>
                      <a:gd name="T3" fmla="*/ 30 h 51"/>
                      <a:gd name="T4" fmla="*/ 29 w 36"/>
                      <a:gd name="T5" fmla="*/ 20 h 51"/>
                      <a:gd name="T6" fmla="*/ 34 w 36"/>
                      <a:gd name="T7" fmla="*/ 11 h 51"/>
                      <a:gd name="T8" fmla="*/ 30 w 36"/>
                      <a:gd name="T9" fmla="*/ 6 h 51"/>
                      <a:gd name="T10" fmla="*/ 32 w 36"/>
                      <a:gd name="T11" fmla="*/ 1 h 51"/>
                      <a:gd name="T12" fmla="*/ 27 w 36"/>
                      <a:gd name="T13" fmla="*/ 3 h 51"/>
                      <a:gd name="T14" fmla="*/ 19 w 36"/>
                      <a:gd name="T15" fmla="*/ 16 h 51"/>
                      <a:gd name="T16" fmla="*/ 16 w 36"/>
                      <a:gd name="T17" fmla="*/ 31 h 51"/>
                      <a:gd name="T18" fmla="*/ 8 w 36"/>
                      <a:gd name="T19" fmla="*/ 30 h 51"/>
                      <a:gd name="T20" fmla="*/ 0 w 36"/>
                      <a:gd name="T21" fmla="*/ 31 h 51"/>
                      <a:gd name="T22" fmla="*/ 21 w 36"/>
                      <a:gd name="T23" fmla="*/ 46 h 51"/>
                      <a:gd name="T24" fmla="*/ 28 w 36"/>
                      <a:gd name="T25" fmla="*/ 51 h 51"/>
                      <a:gd name="T26" fmla="*/ 36 w 36"/>
                      <a:gd name="T27" fmla="*/ 44 h 51"/>
                      <a:gd name="T28" fmla="*/ 34 w 36"/>
                      <a:gd name="T29" fmla="*/ 42 h 51"/>
                      <a:gd name="T30" fmla="*/ 29 w 36"/>
                      <a:gd name="T31" fmla="*/ 9 h 51"/>
                      <a:gd name="T32" fmla="*/ 31 w 36"/>
                      <a:gd name="T33" fmla="*/ 12 h 51"/>
                      <a:gd name="T34" fmla="*/ 29 w 36"/>
                      <a:gd name="T35" fmla="*/ 14 h 51"/>
                      <a:gd name="T36" fmla="*/ 29 w 36"/>
                      <a:gd name="T37" fmla="*/ 9 h 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36" h="51">
                        <a:moveTo>
                          <a:pt x="34" y="42"/>
                        </a:moveTo>
                        <a:cubicBezTo>
                          <a:pt x="34" y="42"/>
                          <a:pt x="31" y="36"/>
                          <a:pt x="30" y="30"/>
                        </a:cubicBezTo>
                        <a:cubicBezTo>
                          <a:pt x="29" y="25"/>
                          <a:pt x="29" y="20"/>
                          <a:pt x="29" y="20"/>
                        </a:cubicBezTo>
                        <a:cubicBezTo>
                          <a:pt x="29" y="20"/>
                          <a:pt x="36" y="13"/>
                          <a:pt x="34" y="11"/>
                        </a:cubicBezTo>
                        <a:cubicBezTo>
                          <a:pt x="33" y="9"/>
                          <a:pt x="30" y="6"/>
                          <a:pt x="30" y="6"/>
                        </a:cubicBezTo>
                        <a:cubicBezTo>
                          <a:pt x="30" y="6"/>
                          <a:pt x="33" y="1"/>
                          <a:pt x="32" y="1"/>
                        </a:cubicBezTo>
                        <a:cubicBezTo>
                          <a:pt x="32" y="1"/>
                          <a:pt x="29" y="0"/>
                          <a:pt x="27" y="3"/>
                        </a:cubicBezTo>
                        <a:cubicBezTo>
                          <a:pt x="26" y="4"/>
                          <a:pt x="21" y="12"/>
                          <a:pt x="19" y="16"/>
                        </a:cubicBezTo>
                        <a:cubicBezTo>
                          <a:pt x="17" y="20"/>
                          <a:pt x="16" y="31"/>
                          <a:pt x="16" y="31"/>
                        </a:cubicBezTo>
                        <a:cubicBezTo>
                          <a:pt x="16" y="31"/>
                          <a:pt x="11" y="32"/>
                          <a:pt x="8" y="30"/>
                        </a:cubicBezTo>
                        <a:cubicBezTo>
                          <a:pt x="5" y="28"/>
                          <a:pt x="0" y="31"/>
                          <a:pt x="0" y="31"/>
                        </a:cubicBezTo>
                        <a:cubicBezTo>
                          <a:pt x="0" y="31"/>
                          <a:pt x="8" y="35"/>
                          <a:pt x="21" y="46"/>
                        </a:cubicBezTo>
                        <a:cubicBezTo>
                          <a:pt x="23" y="48"/>
                          <a:pt x="28" y="51"/>
                          <a:pt x="28" y="51"/>
                        </a:cubicBezTo>
                        <a:cubicBezTo>
                          <a:pt x="36" y="44"/>
                          <a:pt x="36" y="44"/>
                          <a:pt x="36" y="44"/>
                        </a:cubicBezTo>
                        <a:lnTo>
                          <a:pt x="34" y="42"/>
                        </a:lnTo>
                        <a:close/>
                        <a:moveTo>
                          <a:pt x="29" y="9"/>
                        </a:moveTo>
                        <a:cubicBezTo>
                          <a:pt x="31" y="12"/>
                          <a:pt x="31" y="12"/>
                          <a:pt x="31" y="12"/>
                        </a:cubicBezTo>
                        <a:cubicBezTo>
                          <a:pt x="29" y="14"/>
                          <a:pt x="29" y="14"/>
                          <a:pt x="29" y="14"/>
                        </a:cubicBezTo>
                        <a:lnTo>
                          <a:pt x="29" y="9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7" name="Group 4">
                <a:extLst>
                  <a:ext uri="{FF2B5EF4-FFF2-40B4-BE49-F238E27FC236}">
                    <a16:creationId xmlns:a16="http://schemas.microsoft.com/office/drawing/2014/main" id="{E66DA2CC-6800-0741-5D91-7EE827B6DDF9}"/>
                  </a:ext>
                </a:extLst>
              </p:cNvPr>
              <p:cNvGrpSpPr/>
              <p:nvPr/>
            </p:nvGrpSpPr>
            <p:grpSpPr>
              <a:xfrm>
                <a:off x="2494061" y="3997897"/>
                <a:ext cx="1127759" cy="1089959"/>
                <a:chOff x="2494061" y="3997897"/>
                <a:chExt cx="1127759" cy="1089959"/>
              </a:xfrm>
            </p:grpSpPr>
            <p:grpSp>
              <p:nvGrpSpPr>
                <p:cNvPr id="63" name="Group 1068">
                  <a:extLst>
                    <a:ext uri="{FF2B5EF4-FFF2-40B4-BE49-F238E27FC236}">
                      <a16:creationId xmlns:a16="http://schemas.microsoft.com/office/drawing/2014/main" id="{5E524411-2744-27DC-4BD6-2AE5BEB2851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2494061" y="3997897"/>
                  <a:ext cx="1127759" cy="815248"/>
                  <a:chOff x="10001250" y="2782888"/>
                  <a:chExt cx="1449388" cy="1047750"/>
                </a:xfrm>
              </p:grpSpPr>
              <p:sp>
                <p:nvSpPr>
                  <p:cNvPr id="65" name="Freeform 217">
                    <a:extLst>
                      <a:ext uri="{FF2B5EF4-FFF2-40B4-BE49-F238E27FC236}">
                        <a16:creationId xmlns:a16="http://schemas.microsoft.com/office/drawing/2014/main" id="{30D31891-B536-374D-0FCA-FFDB6E65A70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5425" y="3303588"/>
                    <a:ext cx="728663" cy="525463"/>
                  </a:xfrm>
                  <a:custGeom>
                    <a:avLst/>
                    <a:gdLst>
                      <a:gd name="T0" fmla="*/ 3 w 393"/>
                      <a:gd name="T1" fmla="*/ 279 h 283"/>
                      <a:gd name="T2" fmla="*/ 12 w 393"/>
                      <a:gd name="T3" fmla="*/ 275 h 283"/>
                      <a:gd name="T4" fmla="*/ 25 w 393"/>
                      <a:gd name="T5" fmla="*/ 258 h 283"/>
                      <a:gd name="T6" fmla="*/ 22 w 393"/>
                      <a:gd name="T7" fmla="*/ 42 h 283"/>
                      <a:gd name="T8" fmla="*/ 22 w 393"/>
                      <a:gd name="T9" fmla="*/ 42 h 283"/>
                      <a:gd name="T10" fmla="*/ 61 w 393"/>
                      <a:gd name="T11" fmla="*/ 0 h 283"/>
                      <a:gd name="T12" fmla="*/ 319 w 393"/>
                      <a:gd name="T13" fmla="*/ 3 h 283"/>
                      <a:gd name="T14" fmla="*/ 236 w 393"/>
                      <a:gd name="T15" fmla="*/ 79 h 283"/>
                      <a:gd name="T16" fmla="*/ 65 w 393"/>
                      <a:gd name="T17" fmla="*/ 46 h 283"/>
                      <a:gd name="T18" fmla="*/ 37 w 393"/>
                      <a:gd name="T19" fmla="*/ 259 h 283"/>
                      <a:gd name="T20" fmla="*/ 37 w 393"/>
                      <a:gd name="T21" fmla="*/ 267 h 283"/>
                      <a:gd name="T22" fmla="*/ 34 w 393"/>
                      <a:gd name="T23" fmla="*/ 283 h 283"/>
                      <a:gd name="T24" fmla="*/ 29 w 393"/>
                      <a:gd name="T25" fmla="*/ 283 h 283"/>
                      <a:gd name="T26" fmla="*/ 28 w 393"/>
                      <a:gd name="T27" fmla="*/ 274 h 283"/>
                      <a:gd name="T28" fmla="*/ 15 w 393"/>
                      <a:gd name="T29" fmla="*/ 283 h 283"/>
                      <a:gd name="T30" fmla="*/ 2 w 393"/>
                      <a:gd name="T31" fmla="*/ 283 h 283"/>
                      <a:gd name="T32" fmla="*/ 3 w 393"/>
                      <a:gd name="T33" fmla="*/ 279 h 2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93" h="283">
                        <a:moveTo>
                          <a:pt x="3" y="279"/>
                        </a:moveTo>
                        <a:cubicBezTo>
                          <a:pt x="4" y="279"/>
                          <a:pt x="12" y="275"/>
                          <a:pt x="12" y="275"/>
                        </a:cubicBezTo>
                        <a:cubicBezTo>
                          <a:pt x="25" y="258"/>
                          <a:pt x="25" y="258"/>
                          <a:pt x="25" y="258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0" y="5"/>
                          <a:pt x="61" y="0"/>
                          <a:pt x="61" y="0"/>
                        </a:cubicBezTo>
                        <a:cubicBezTo>
                          <a:pt x="319" y="3"/>
                          <a:pt x="319" y="3"/>
                          <a:pt x="319" y="3"/>
                        </a:cubicBezTo>
                        <a:cubicBezTo>
                          <a:pt x="319" y="3"/>
                          <a:pt x="393" y="97"/>
                          <a:pt x="236" y="79"/>
                        </a:cubicBezTo>
                        <a:cubicBezTo>
                          <a:pt x="197" y="74"/>
                          <a:pt x="167" y="59"/>
                          <a:pt x="65" y="46"/>
                        </a:cubicBezTo>
                        <a:cubicBezTo>
                          <a:pt x="79" y="87"/>
                          <a:pt x="37" y="259"/>
                          <a:pt x="37" y="259"/>
                        </a:cubicBezTo>
                        <a:cubicBezTo>
                          <a:pt x="37" y="267"/>
                          <a:pt x="37" y="267"/>
                          <a:pt x="37" y="267"/>
                        </a:cubicBezTo>
                        <a:cubicBezTo>
                          <a:pt x="34" y="283"/>
                          <a:pt x="34" y="283"/>
                          <a:pt x="34" y="283"/>
                        </a:cubicBezTo>
                        <a:cubicBezTo>
                          <a:pt x="29" y="283"/>
                          <a:pt x="29" y="283"/>
                          <a:pt x="29" y="283"/>
                        </a:cubicBezTo>
                        <a:cubicBezTo>
                          <a:pt x="28" y="274"/>
                          <a:pt x="28" y="274"/>
                          <a:pt x="28" y="274"/>
                        </a:cubicBezTo>
                        <a:cubicBezTo>
                          <a:pt x="15" y="283"/>
                          <a:pt x="15" y="283"/>
                          <a:pt x="15" y="283"/>
                        </a:cubicBezTo>
                        <a:cubicBezTo>
                          <a:pt x="2" y="283"/>
                          <a:pt x="2" y="283"/>
                          <a:pt x="2" y="283"/>
                        </a:cubicBezTo>
                        <a:cubicBezTo>
                          <a:pt x="2" y="283"/>
                          <a:pt x="0" y="280"/>
                          <a:pt x="3" y="27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" name="Freeform 218">
                    <a:extLst>
                      <a:ext uri="{FF2B5EF4-FFF2-40B4-BE49-F238E27FC236}">
                        <a16:creationId xmlns:a16="http://schemas.microsoft.com/office/drawing/2014/main" id="{E5BE7C31-A311-68CD-0BDE-2C3F718777A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3838" y="3784600"/>
                    <a:ext cx="71438" cy="46038"/>
                  </a:xfrm>
                  <a:custGeom>
                    <a:avLst/>
                    <a:gdLst>
                      <a:gd name="T0" fmla="*/ 13 w 38"/>
                      <a:gd name="T1" fmla="*/ 16 h 25"/>
                      <a:gd name="T2" fmla="*/ 3 w 38"/>
                      <a:gd name="T3" fmla="*/ 20 h 25"/>
                      <a:gd name="T4" fmla="*/ 2 w 38"/>
                      <a:gd name="T5" fmla="*/ 24 h 25"/>
                      <a:gd name="T6" fmla="*/ 18 w 38"/>
                      <a:gd name="T7" fmla="*/ 24 h 25"/>
                      <a:gd name="T8" fmla="*/ 29 w 38"/>
                      <a:gd name="T9" fmla="*/ 15 h 25"/>
                      <a:gd name="T10" fmla="*/ 30 w 38"/>
                      <a:gd name="T11" fmla="*/ 25 h 25"/>
                      <a:gd name="T12" fmla="*/ 35 w 38"/>
                      <a:gd name="T13" fmla="*/ 25 h 25"/>
                      <a:gd name="T14" fmla="*/ 38 w 38"/>
                      <a:gd name="T15" fmla="*/ 8 h 25"/>
                      <a:gd name="T16" fmla="*/ 38 w 38"/>
                      <a:gd name="T17" fmla="*/ 0 h 25"/>
                      <a:gd name="T18" fmla="*/ 28 w 38"/>
                      <a:gd name="T19" fmla="*/ 8 h 25"/>
                      <a:gd name="T20" fmla="*/ 13 w 38"/>
                      <a:gd name="T21" fmla="*/ 16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8" h="25">
                        <a:moveTo>
                          <a:pt x="13" y="16"/>
                        </a:moveTo>
                        <a:cubicBezTo>
                          <a:pt x="11" y="17"/>
                          <a:pt x="4" y="20"/>
                          <a:pt x="3" y="20"/>
                        </a:cubicBezTo>
                        <a:cubicBezTo>
                          <a:pt x="0" y="21"/>
                          <a:pt x="2" y="24"/>
                          <a:pt x="2" y="24"/>
                        </a:cubicBezTo>
                        <a:cubicBezTo>
                          <a:pt x="2" y="24"/>
                          <a:pt x="15" y="24"/>
                          <a:pt x="18" y="24"/>
                        </a:cubicBezTo>
                        <a:cubicBezTo>
                          <a:pt x="21" y="24"/>
                          <a:pt x="29" y="15"/>
                          <a:pt x="29" y="15"/>
                        </a:cubicBezTo>
                        <a:cubicBezTo>
                          <a:pt x="30" y="25"/>
                          <a:pt x="30" y="25"/>
                          <a:pt x="30" y="25"/>
                        </a:cubicBezTo>
                        <a:cubicBezTo>
                          <a:pt x="35" y="25"/>
                          <a:pt x="35" y="25"/>
                          <a:pt x="35" y="25"/>
                        </a:cubicBezTo>
                        <a:cubicBezTo>
                          <a:pt x="35" y="25"/>
                          <a:pt x="36" y="15"/>
                          <a:pt x="38" y="8"/>
                        </a:cubicBezTo>
                        <a:cubicBezTo>
                          <a:pt x="38" y="4"/>
                          <a:pt x="38" y="0"/>
                          <a:pt x="38" y="0"/>
                        </a:cubicBezTo>
                        <a:cubicBezTo>
                          <a:pt x="38" y="0"/>
                          <a:pt x="35" y="0"/>
                          <a:pt x="28" y="8"/>
                        </a:cubicBezTo>
                        <a:cubicBezTo>
                          <a:pt x="22" y="17"/>
                          <a:pt x="16" y="16"/>
                          <a:pt x="13" y="16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Freeform 219">
                    <a:extLst>
                      <a:ext uri="{FF2B5EF4-FFF2-40B4-BE49-F238E27FC236}">
                        <a16:creationId xmlns:a16="http://schemas.microsoft.com/office/drawing/2014/main" id="{B7F2F447-5C94-C485-83F1-36EF1FBDEC4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58488" y="3311525"/>
                    <a:ext cx="692150" cy="390525"/>
                  </a:xfrm>
                  <a:custGeom>
                    <a:avLst/>
                    <a:gdLst>
                      <a:gd name="T0" fmla="*/ 371 w 373"/>
                      <a:gd name="T1" fmla="*/ 182 h 211"/>
                      <a:gd name="T2" fmla="*/ 360 w 373"/>
                      <a:gd name="T3" fmla="*/ 170 h 211"/>
                      <a:gd name="T4" fmla="*/ 370 w 373"/>
                      <a:gd name="T5" fmla="*/ 168 h 211"/>
                      <a:gd name="T6" fmla="*/ 369 w 373"/>
                      <a:gd name="T7" fmla="*/ 164 h 211"/>
                      <a:gd name="T8" fmla="*/ 353 w 373"/>
                      <a:gd name="T9" fmla="*/ 163 h 211"/>
                      <a:gd name="T10" fmla="*/ 345 w 373"/>
                      <a:gd name="T11" fmla="*/ 164 h 211"/>
                      <a:gd name="T12" fmla="*/ 142 w 373"/>
                      <a:gd name="T13" fmla="*/ 172 h 211"/>
                      <a:gd name="T14" fmla="*/ 115 w 373"/>
                      <a:gd name="T15" fmla="*/ 25 h 211"/>
                      <a:gd name="T16" fmla="*/ 0 w 373"/>
                      <a:gd name="T17" fmla="*/ 15 h 211"/>
                      <a:gd name="T18" fmla="*/ 107 w 373"/>
                      <a:gd name="T19" fmla="*/ 191 h 211"/>
                      <a:gd name="T20" fmla="*/ 142 w 373"/>
                      <a:gd name="T21" fmla="*/ 211 h 211"/>
                      <a:gd name="T22" fmla="*/ 211 w 373"/>
                      <a:gd name="T23" fmla="*/ 198 h 211"/>
                      <a:gd name="T24" fmla="*/ 346 w 373"/>
                      <a:gd name="T25" fmla="*/ 176 h 211"/>
                      <a:gd name="T26" fmla="*/ 363 w 373"/>
                      <a:gd name="T27" fmla="*/ 186 h 211"/>
                      <a:gd name="T28" fmla="*/ 369 w 373"/>
                      <a:gd name="T29" fmla="*/ 195 h 211"/>
                      <a:gd name="T30" fmla="*/ 373 w 373"/>
                      <a:gd name="T31" fmla="*/ 196 h 211"/>
                      <a:gd name="T32" fmla="*/ 371 w 373"/>
                      <a:gd name="T33" fmla="*/ 182 h 2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73" h="211">
                        <a:moveTo>
                          <a:pt x="371" y="182"/>
                        </a:moveTo>
                        <a:cubicBezTo>
                          <a:pt x="360" y="170"/>
                          <a:pt x="360" y="170"/>
                          <a:pt x="360" y="170"/>
                        </a:cubicBezTo>
                        <a:cubicBezTo>
                          <a:pt x="370" y="168"/>
                          <a:pt x="370" y="168"/>
                          <a:pt x="370" y="168"/>
                        </a:cubicBezTo>
                        <a:cubicBezTo>
                          <a:pt x="369" y="164"/>
                          <a:pt x="369" y="164"/>
                          <a:pt x="369" y="164"/>
                        </a:cubicBezTo>
                        <a:cubicBezTo>
                          <a:pt x="353" y="163"/>
                          <a:pt x="353" y="163"/>
                          <a:pt x="353" y="163"/>
                        </a:cubicBezTo>
                        <a:cubicBezTo>
                          <a:pt x="353" y="163"/>
                          <a:pt x="348" y="164"/>
                          <a:pt x="345" y="164"/>
                        </a:cubicBezTo>
                        <a:cubicBezTo>
                          <a:pt x="274" y="167"/>
                          <a:pt x="157" y="159"/>
                          <a:pt x="142" y="172"/>
                        </a:cubicBezTo>
                        <a:cubicBezTo>
                          <a:pt x="140" y="136"/>
                          <a:pt x="136" y="58"/>
                          <a:pt x="115" y="25"/>
                        </a:cubicBezTo>
                        <a:cubicBezTo>
                          <a:pt x="100" y="0"/>
                          <a:pt x="0" y="15"/>
                          <a:pt x="0" y="15"/>
                        </a:cubicBezTo>
                        <a:cubicBezTo>
                          <a:pt x="0" y="15"/>
                          <a:pt x="102" y="185"/>
                          <a:pt x="107" y="191"/>
                        </a:cubicBezTo>
                        <a:cubicBezTo>
                          <a:pt x="121" y="210"/>
                          <a:pt x="142" y="211"/>
                          <a:pt x="142" y="211"/>
                        </a:cubicBezTo>
                        <a:cubicBezTo>
                          <a:pt x="211" y="198"/>
                          <a:pt x="211" y="198"/>
                          <a:pt x="211" y="198"/>
                        </a:cubicBezTo>
                        <a:cubicBezTo>
                          <a:pt x="346" y="176"/>
                          <a:pt x="346" y="176"/>
                          <a:pt x="346" y="176"/>
                        </a:cubicBezTo>
                        <a:cubicBezTo>
                          <a:pt x="363" y="186"/>
                          <a:pt x="363" y="186"/>
                          <a:pt x="363" y="186"/>
                        </a:cubicBezTo>
                        <a:cubicBezTo>
                          <a:pt x="363" y="186"/>
                          <a:pt x="369" y="194"/>
                          <a:pt x="369" y="195"/>
                        </a:cubicBezTo>
                        <a:cubicBezTo>
                          <a:pt x="370" y="198"/>
                          <a:pt x="373" y="196"/>
                          <a:pt x="373" y="196"/>
                        </a:cubicBezTo>
                        <a:lnTo>
                          <a:pt x="371" y="182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" name="Freeform 221">
                    <a:extLst>
                      <a:ext uri="{FF2B5EF4-FFF2-40B4-BE49-F238E27FC236}">
                        <a16:creationId xmlns:a16="http://schemas.microsoft.com/office/drawing/2014/main" id="{69554666-2FB9-D766-AD4B-48B683900E7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61600" y="2940050"/>
                    <a:ext cx="304800" cy="269875"/>
                  </a:xfrm>
                  <a:custGeom>
                    <a:avLst/>
                    <a:gdLst>
                      <a:gd name="T0" fmla="*/ 0 w 164"/>
                      <a:gd name="T1" fmla="*/ 113 h 146"/>
                      <a:gd name="T2" fmla="*/ 37 w 164"/>
                      <a:gd name="T3" fmla="*/ 114 h 146"/>
                      <a:gd name="T4" fmla="*/ 66 w 164"/>
                      <a:gd name="T5" fmla="*/ 77 h 146"/>
                      <a:gd name="T6" fmla="*/ 97 w 164"/>
                      <a:gd name="T7" fmla="*/ 41 h 146"/>
                      <a:gd name="T8" fmla="*/ 164 w 164"/>
                      <a:gd name="T9" fmla="*/ 11 h 146"/>
                      <a:gd name="T10" fmla="*/ 133 w 164"/>
                      <a:gd name="T11" fmla="*/ 72 h 146"/>
                      <a:gd name="T12" fmla="*/ 67 w 164"/>
                      <a:gd name="T13" fmla="*/ 130 h 146"/>
                      <a:gd name="T14" fmla="*/ 23 w 164"/>
                      <a:gd name="T15" fmla="*/ 141 h 146"/>
                      <a:gd name="T16" fmla="*/ 0 w 164"/>
                      <a:gd name="T17" fmla="*/ 113 h 1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64" h="146">
                        <a:moveTo>
                          <a:pt x="0" y="113"/>
                        </a:moveTo>
                        <a:cubicBezTo>
                          <a:pt x="37" y="114"/>
                          <a:pt x="37" y="114"/>
                          <a:pt x="37" y="114"/>
                        </a:cubicBezTo>
                        <a:cubicBezTo>
                          <a:pt x="37" y="114"/>
                          <a:pt x="47" y="99"/>
                          <a:pt x="66" y="77"/>
                        </a:cubicBezTo>
                        <a:cubicBezTo>
                          <a:pt x="127" y="79"/>
                          <a:pt x="85" y="55"/>
                          <a:pt x="97" y="41"/>
                        </a:cubicBezTo>
                        <a:cubicBezTo>
                          <a:pt x="135" y="0"/>
                          <a:pt x="164" y="11"/>
                          <a:pt x="164" y="11"/>
                        </a:cubicBezTo>
                        <a:cubicBezTo>
                          <a:pt x="133" y="72"/>
                          <a:pt x="133" y="72"/>
                          <a:pt x="133" y="72"/>
                        </a:cubicBezTo>
                        <a:cubicBezTo>
                          <a:pt x="133" y="72"/>
                          <a:pt x="76" y="122"/>
                          <a:pt x="67" y="130"/>
                        </a:cubicBezTo>
                        <a:cubicBezTo>
                          <a:pt x="58" y="137"/>
                          <a:pt x="46" y="146"/>
                          <a:pt x="23" y="141"/>
                        </a:cubicBezTo>
                        <a:cubicBezTo>
                          <a:pt x="19" y="126"/>
                          <a:pt x="0" y="113"/>
                          <a:pt x="0" y="11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" name="Freeform 222">
                    <a:extLst>
                      <a:ext uri="{FF2B5EF4-FFF2-40B4-BE49-F238E27FC236}">
                        <a16:creationId xmlns:a16="http://schemas.microsoft.com/office/drawing/2014/main" id="{DDFCF3B8-B8E4-850F-81BE-3B152106FBF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4638" y="2954338"/>
                    <a:ext cx="317500" cy="319088"/>
                  </a:xfrm>
                  <a:custGeom>
                    <a:avLst/>
                    <a:gdLst>
                      <a:gd name="T0" fmla="*/ 171 w 171"/>
                      <a:gd name="T1" fmla="*/ 172 h 172"/>
                      <a:gd name="T2" fmla="*/ 29 w 171"/>
                      <a:gd name="T3" fmla="*/ 97 h 172"/>
                      <a:gd name="T4" fmla="*/ 33 w 171"/>
                      <a:gd name="T5" fmla="*/ 0 h 172"/>
                      <a:gd name="T6" fmla="*/ 171 w 171"/>
                      <a:gd name="T7" fmla="*/ 172 h 1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71" h="172">
                        <a:moveTo>
                          <a:pt x="171" y="172"/>
                        </a:moveTo>
                        <a:cubicBezTo>
                          <a:pt x="171" y="172"/>
                          <a:pt x="57" y="148"/>
                          <a:pt x="29" y="97"/>
                        </a:cubicBezTo>
                        <a:cubicBezTo>
                          <a:pt x="0" y="43"/>
                          <a:pt x="33" y="0"/>
                          <a:pt x="33" y="0"/>
                        </a:cubicBezTo>
                        <a:lnTo>
                          <a:pt x="171" y="17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0" name="Freeform 223">
                    <a:extLst>
                      <a:ext uri="{FF2B5EF4-FFF2-40B4-BE49-F238E27FC236}">
                        <a16:creationId xmlns:a16="http://schemas.microsoft.com/office/drawing/2014/main" id="{32FBADA4-4C76-7CC0-B114-9F8D659F84E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67975" y="2906713"/>
                    <a:ext cx="520700" cy="411163"/>
                  </a:xfrm>
                  <a:custGeom>
                    <a:avLst/>
                    <a:gdLst>
                      <a:gd name="T0" fmla="*/ 153 w 281"/>
                      <a:gd name="T1" fmla="*/ 222 h 222"/>
                      <a:gd name="T2" fmla="*/ 62 w 281"/>
                      <a:gd name="T3" fmla="*/ 147 h 222"/>
                      <a:gd name="T4" fmla="*/ 0 w 281"/>
                      <a:gd name="T5" fmla="*/ 23 h 222"/>
                      <a:gd name="T6" fmla="*/ 31 w 281"/>
                      <a:gd name="T7" fmla="*/ 8 h 222"/>
                      <a:gd name="T8" fmla="*/ 158 w 281"/>
                      <a:gd name="T9" fmla="*/ 64 h 222"/>
                      <a:gd name="T10" fmla="*/ 281 w 281"/>
                      <a:gd name="T11" fmla="*/ 219 h 222"/>
                      <a:gd name="T12" fmla="*/ 153 w 281"/>
                      <a:gd name="T13" fmla="*/ 222 h 2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1" h="222">
                        <a:moveTo>
                          <a:pt x="153" y="222"/>
                        </a:moveTo>
                        <a:cubicBezTo>
                          <a:pt x="153" y="222"/>
                          <a:pt x="136" y="170"/>
                          <a:pt x="62" y="147"/>
                        </a:cubicBezTo>
                        <a:cubicBezTo>
                          <a:pt x="16" y="134"/>
                          <a:pt x="0" y="23"/>
                          <a:pt x="0" y="23"/>
                        </a:cubicBezTo>
                        <a:cubicBezTo>
                          <a:pt x="0" y="23"/>
                          <a:pt x="17" y="10"/>
                          <a:pt x="31" y="8"/>
                        </a:cubicBezTo>
                        <a:cubicBezTo>
                          <a:pt x="64" y="0"/>
                          <a:pt x="115" y="18"/>
                          <a:pt x="158" y="64"/>
                        </a:cubicBezTo>
                        <a:cubicBezTo>
                          <a:pt x="219" y="128"/>
                          <a:pt x="281" y="219"/>
                          <a:pt x="281" y="219"/>
                        </a:cubicBezTo>
                        <a:lnTo>
                          <a:pt x="153" y="222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" name="Freeform 224">
                    <a:extLst>
                      <a:ext uri="{FF2B5EF4-FFF2-40B4-BE49-F238E27FC236}">
                        <a16:creationId xmlns:a16="http://schemas.microsoft.com/office/drawing/2014/main" id="{E423AF4A-558B-FBA8-339B-A2242E4A280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9413" y="3076575"/>
                    <a:ext cx="247650" cy="242888"/>
                  </a:xfrm>
                  <a:custGeom>
                    <a:avLst/>
                    <a:gdLst>
                      <a:gd name="T0" fmla="*/ 121 w 133"/>
                      <a:gd name="T1" fmla="*/ 129 h 131"/>
                      <a:gd name="T2" fmla="*/ 64 w 133"/>
                      <a:gd name="T3" fmla="*/ 62 h 131"/>
                      <a:gd name="T4" fmla="*/ 0 w 133"/>
                      <a:gd name="T5" fmla="*/ 0 h 131"/>
                      <a:gd name="T6" fmla="*/ 64 w 133"/>
                      <a:gd name="T7" fmla="*/ 57 h 131"/>
                      <a:gd name="T8" fmla="*/ 133 w 133"/>
                      <a:gd name="T9" fmla="*/ 131 h 131"/>
                      <a:gd name="T10" fmla="*/ 121 w 133"/>
                      <a:gd name="T11" fmla="*/ 129 h 1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33" h="131">
                        <a:moveTo>
                          <a:pt x="121" y="129"/>
                        </a:moveTo>
                        <a:cubicBezTo>
                          <a:pt x="121" y="129"/>
                          <a:pt x="99" y="76"/>
                          <a:pt x="64" y="62"/>
                        </a:cubicBezTo>
                        <a:cubicBezTo>
                          <a:pt x="27" y="47"/>
                          <a:pt x="0" y="0"/>
                          <a:pt x="0" y="0"/>
                        </a:cubicBezTo>
                        <a:cubicBezTo>
                          <a:pt x="0" y="0"/>
                          <a:pt x="27" y="33"/>
                          <a:pt x="64" y="57"/>
                        </a:cubicBezTo>
                        <a:cubicBezTo>
                          <a:pt x="101" y="81"/>
                          <a:pt x="133" y="131"/>
                          <a:pt x="133" y="131"/>
                        </a:cubicBezTo>
                        <a:lnTo>
                          <a:pt x="121" y="129"/>
                        </a:ln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2" name="Freeform 225">
                    <a:extLst>
                      <a:ext uri="{FF2B5EF4-FFF2-40B4-BE49-F238E27FC236}">
                        <a16:creationId xmlns:a16="http://schemas.microsoft.com/office/drawing/2014/main" id="{C0CFCE15-1A68-6DC2-0C17-35BA355527D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3063" y="2906713"/>
                    <a:ext cx="430213" cy="357188"/>
                  </a:xfrm>
                  <a:custGeom>
                    <a:avLst/>
                    <a:gdLst>
                      <a:gd name="T0" fmla="*/ 232 w 232"/>
                      <a:gd name="T1" fmla="*/ 182 h 193"/>
                      <a:gd name="T2" fmla="*/ 59 w 232"/>
                      <a:gd name="T3" fmla="*/ 13 h 193"/>
                      <a:gd name="T4" fmla="*/ 3 w 232"/>
                      <a:gd name="T5" fmla="*/ 6 h 193"/>
                      <a:gd name="T6" fmla="*/ 129 w 232"/>
                      <a:gd name="T7" fmla="*/ 156 h 193"/>
                      <a:gd name="T8" fmla="*/ 232 w 232"/>
                      <a:gd name="T9" fmla="*/ 182 h 1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2" h="193">
                        <a:moveTo>
                          <a:pt x="232" y="182"/>
                        </a:moveTo>
                        <a:cubicBezTo>
                          <a:pt x="232" y="182"/>
                          <a:pt x="112" y="25"/>
                          <a:pt x="59" y="13"/>
                        </a:cubicBezTo>
                        <a:cubicBezTo>
                          <a:pt x="7" y="0"/>
                          <a:pt x="3" y="6"/>
                          <a:pt x="3" y="6"/>
                        </a:cubicBezTo>
                        <a:cubicBezTo>
                          <a:pt x="3" y="6"/>
                          <a:pt x="0" y="89"/>
                          <a:pt x="129" y="156"/>
                        </a:cubicBezTo>
                        <a:cubicBezTo>
                          <a:pt x="203" y="193"/>
                          <a:pt x="232" y="182"/>
                          <a:pt x="232" y="182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" name="Freeform 226">
                    <a:extLst>
                      <a:ext uri="{FF2B5EF4-FFF2-40B4-BE49-F238E27FC236}">
                        <a16:creationId xmlns:a16="http://schemas.microsoft.com/office/drawing/2014/main" id="{0FE81DFE-F5BA-AF33-7F38-00D4DA98CBA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2413" y="2862263"/>
                    <a:ext cx="125413" cy="106363"/>
                  </a:xfrm>
                  <a:custGeom>
                    <a:avLst/>
                    <a:gdLst>
                      <a:gd name="T0" fmla="*/ 68 w 68"/>
                      <a:gd name="T1" fmla="*/ 30 h 58"/>
                      <a:gd name="T2" fmla="*/ 58 w 68"/>
                      <a:gd name="T3" fmla="*/ 14 h 58"/>
                      <a:gd name="T4" fmla="*/ 39 w 68"/>
                      <a:gd name="T5" fmla="*/ 0 h 58"/>
                      <a:gd name="T6" fmla="*/ 31 w 68"/>
                      <a:gd name="T7" fmla="*/ 24 h 58"/>
                      <a:gd name="T8" fmla="*/ 18 w 68"/>
                      <a:gd name="T9" fmla="*/ 37 h 58"/>
                      <a:gd name="T10" fmla="*/ 0 w 68"/>
                      <a:gd name="T11" fmla="*/ 38 h 58"/>
                      <a:gd name="T12" fmla="*/ 36 w 68"/>
                      <a:gd name="T13" fmla="*/ 55 h 58"/>
                      <a:gd name="T14" fmla="*/ 68 w 68"/>
                      <a:gd name="T15" fmla="*/ 30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8" h="58">
                        <a:moveTo>
                          <a:pt x="68" y="30"/>
                        </a:moveTo>
                        <a:cubicBezTo>
                          <a:pt x="58" y="14"/>
                          <a:pt x="58" y="14"/>
                          <a:pt x="58" y="14"/>
                        </a:cubicBezTo>
                        <a:cubicBezTo>
                          <a:pt x="39" y="0"/>
                          <a:pt x="39" y="0"/>
                          <a:pt x="39" y="0"/>
                        </a:cubicBezTo>
                        <a:cubicBezTo>
                          <a:pt x="39" y="0"/>
                          <a:pt x="33" y="15"/>
                          <a:pt x="31" y="24"/>
                        </a:cubicBezTo>
                        <a:cubicBezTo>
                          <a:pt x="30" y="32"/>
                          <a:pt x="21" y="37"/>
                          <a:pt x="18" y="37"/>
                        </a:cubicBezTo>
                        <a:cubicBezTo>
                          <a:pt x="10" y="39"/>
                          <a:pt x="0" y="38"/>
                          <a:pt x="0" y="38"/>
                        </a:cubicBezTo>
                        <a:cubicBezTo>
                          <a:pt x="0" y="38"/>
                          <a:pt x="32" y="50"/>
                          <a:pt x="36" y="55"/>
                        </a:cubicBezTo>
                        <a:cubicBezTo>
                          <a:pt x="41" y="58"/>
                          <a:pt x="68" y="30"/>
                          <a:pt x="68" y="30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" name="Freeform 227">
                    <a:extLst>
                      <a:ext uri="{FF2B5EF4-FFF2-40B4-BE49-F238E27FC236}">
                        <a16:creationId xmlns:a16="http://schemas.microsoft.com/office/drawing/2014/main" id="{D7E89136-4DFD-DFB5-5804-B70BD91FC93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3363" y="2800350"/>
                    <a:ext cx="100013" cy="131763"/>
                  </a:xfrm>
                  <a:custGeom>
                    <a:avLst/>
                    <a:gdLst>
                      <a:gd name="T0" fmla="*/ 13 w 54"/>
                      <a:gd name="T1" fmla="*/ 71 h 71"/>
                      <a:gd name="T2" fmla="*/ 31 w 54"/>
                      <a:gd name="T3" fmla="*/ 70 h 71"/>
                      <a:gd name="T4" fmla="*/ 41 w 54"/>
                      <a:gd name="T5" fmla="*/ 61 h 71"/>
                      <a:gd name="T6" fmla="*/ 45 w 54"/>
                      <a:gd name="T7" fmla="*/ 46 h 71"/>
                      <a:gd name="T8" fmla="*/ 51 w 54"/>
                      <a:gd name="T9" fmla="*/ 41 h 71"/>
                      <a:gd name="T10" fmla="*/ 47 w 54"/>
                      <a:gd name="T11" fmla="*/ 32 h 71"/>
                      <a:gd name="T12" fmla="*/ 44 w 54"/>
                      <a:gd name="T13" fmla="*/ 3 h 71"/>
                      <a:gd name="T14" fmla="*/ 30 w 54"/>
                      <a:gd name="T15" fmla="*/ 0 h 71"/>
                      <a:gd name="T16" fmla="*/ 18 w 54"/>
                      <a:gd name="T17" fmla="*/ 7 h 71"/>
                      <a:gd name="T18" fmla="*/ 0 w 54"/>
                      <a:gd name="T19" fmla="*/ 40 h 71"/>
                      <a:gd name="T20" fmla="*/ 3 w 54"/>
                      <a:gd name="T21" fmla="*/ 42 h 71"/>
                      <a:gd name="T22" fmla="*/ 7 w 54"/>
                      <a:gd name="T23" fmla="*/ 43 h 71"/>
                      <a:gd name="T24" fmla="*/ 8 w 54"/>
                      <a:gd name="T25" fmla="*/ 70 h 71"/>
                      <a:gd name="T26" fmla="*/ 13 w 54"/>
                      <a:gd name="T27" fmla="*/ 71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54" h="71">
                        <a:moveTo>
                          <a:pt x="13" y="71"/>
                        </a:moveTo>
                        <a:cubicBezTo>
                          <a:pt x="17" y="71"/>
                          <a:pt x="25" y="71"/>
                          <a:pt x="31" y="70"/>
                        </a:cubicBezTo>
                        <a:cubicBezTo>
                          <a:pt x="40" y="69"/>
                          <a:pt x="41" y="61"/>
                          <a:pt x="41" y="61"/>
                        </a:cubicBezTo>
                        <a:cubicBezTo>
                          <a:pt x="45" y="46"/>
                          <a:pt x="45" y="46"/>
                          <a:pt x="45" y="46"/>
                        </a:cubicBezTo>
                        <a:cubicBezTo>
                          <a:pt x="45" y="46"/>
                          <a:pt x="48" y="44"/>
                          <a:pt x="51" y="41"/>
                        </a:cubicBezTo>
                        <a:cubicBezTo>
                          <a:pt x="52" y="40"/>
                          <a:pt x="54" y="34"/>
                          <a:pt x="47" y="32"/>
                        </a:cubicBezTo>
                        <a:cubicBezTo>
                          <a:pt x="37" y="28"/>
                          <a:pt x="44" y="3"/>
                          <a:pt x="44" y="3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18" y="7"/>
                          <a:pt x="18" y="7"/>
                          <a:pt x="18" y="7"/>
                        </a:cubicBezTo>
                        <a:cubicBezTo>
                          <a:pt x="0" y="40"/>
                          <a:pt x="0" y="40"/>
                          <a:pt x="0" y="40"/>
                        </a:cubicBezTo>
                        <a:cubicBezTo>
                          <a:pt x="0" y="40"/>
                          <a:pt x="1" y="42"/>
                          <a:pt x="3" y="42"/>
                        </a:cubicBezTo>
                        <a:cubicBezTo>
                          <a:pt x="6" y="42"/>
                          <a:pt x="7" y="43"/>
                          <a:pt x="7" y="43"/>
                        </a:cubicBezTo>
                        <a:cubicBezTo>
                          <a:pt x="7" y="43"/>
                          <a:pt x="8" y="69"/>
                          <a:pt x="8" y="70"/>
                        </a:cubicBezTo>
                        <a:cubicBezTo>
                          <a:pt x="9" y="71"/>
                          <a:pt x="10" y="71"/>
                          <a:pt x="13" y="71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" name="Freeform 228">
                    <a:extLst>
                      <a:ext uri="{FF2B5EF4-FFF2-40B4-BE49-F238E27FC236}">
                        <a16:creationId xmlns:a16="http://schemas.microsoft.com/office/drawing/2014/main" id="{F50D1383-F0F7-8352-603D-00552DA2D3D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5588" y="2849563"/>
                    <a:ext cx="20638" cy="7938"/>
                  </a:xfrm>
                  <a:custGeom>
                    <a:avLst/>
                    <a:gdLst>
                      <a:gd name="T0" fmla="*/ 1 w 11"/>
                      <a:gd name="T1" fmla="*/ 3 h 5"/>
                      <a:gd name="T2" fmla="*/ 3 w 11"/>
                      <a:gd name="T3" fmla="*/ 5 h 5"/>
                      <a:gd name="T4" fmla="*/ 10 w 11"/>
                      <a:gd name="T5" fmla="*/ 5 h 5"/>
                      <a:gd name="T6" fmla="*/ 2 w 11"/>
                      <a:gd name="T7" fmla="*/ 1 h 5"/>
                      <a:gd name="T8" fmla="*/ 1 w 11"/>
                      <a:gd name="T9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" h="5">
                        <a:moveTo>
                          <a:pt x="1" y="3"/>
                        </a:moveTo>
                        <a:cubicBezTo>
                          <a:pt x="1" y="5"/>
                          <a:pt x="1" y="5"/>
                          <a:pt x="3" y="5"/>
                        </a:cubicBezTo>
                        <a:cubicBezTo>
                          <a:pt x="5" y="5"/>
                          <a:pt x="8" y="5"/>
                          <a:pt x="10" y="5"/>
                        </a:cubicBezTo>
                        <a:cubicBezTo>
                          <a:pt x="11" y="5"/>
                          <a:pt x="7" y="3"/>
                          <a:pt x="2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Freeform 229">
                    <a:extLst>
                      <a:ext uri="{FF2B5EF4-FFF2-40B4-BE49-F238E27FC236}">
                        <a16:creationId xmlns:a16="http://schemas.microsoft.com/office/drawing/2014/main" id="{6D49D6FD-E2B5-D6E8-EA84-185AC95EB49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2263" y="2951163"/>
                    <a:ext cx="44450" cy="104775"/>
                  </a:xfrm>
                  <a:custGeom>
                    <a:avLst/>
                    <a:gdLst>
                      <a:gd name="T0" fmla="*/ 24 w 24"/>
                      <a:gd name="T1" fmla="*/ 57 h 57"/>
                      <a:gd name="T2" fmla="*/ 22 w 24"/>
                      <a:gd name="T3" fmla="*/ 0 h 57"/>
                      <a:gd name="T4" fmla="*/ 0 w 24"/>
                      <a:gd name="T5" fmla="*/ 8 h 57"/>
                      <a:gd name="T6" fmla="*/ 24 w 24"/>
                      <a:gd name="T7" fmla="*/ 57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4" h="57">
                        <a:moveTo>
                          <a:pt x="24" y="57"/>
                        </a:moveTo>
                        <a:cubicBezTo>
                          <a:pt x="24" y="57"/>
                          <a:pt x="8" y="28"/>
                          <a:pt x="22" y="0"/>
                        </a:cubicBezTo>
                        <a:cubicBezTo>
                          <a:pt x="17" y="5"/>
                          <a:pt x="6" y="6"/>
                          <a:pt x="0" y="8"/>
                        </a:cubicBezTo>
                        <a:cubicBezTo>
                          <a:pt x="0" y="32"/>
                          <a:pt x="24" y="57"/>
                          <a:pt x="24" y="57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" name="Freeform 230">
                    <a:extLst>
                      <a:ext uri="{FF2B5EF4-FFF2-40B4-BE49-F238E27FC236}">
                        <a16:creationId xmlns:a16="http://schemas.microsoft.com/office/drawing/2014/main" id="{FDAD07C6-8DFB-FBD1-1072-3ADD60D8131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72688" y="2957513"/>
                    <a:ext cx="188913" cy="74613"/>
                  </a:xfrm>
                  <a:custGeom>
                    <a:avLst/>
                    <a:gdLst>
                      <a:gd name="T0" fmla="*/ 94 w 119"/>
                      <a:gd name="T1" fmla="*/ 47 h 47"/>
                      <a:gd name="T2" fmla="*/ 0 w 119"/>
                      <a:gd name="T3" fmla="*/ 12 h 47"/>
                      <a:gd name="T4" fmla="*/ 2 w 119"/>
                      <a:gd name="T5" fmla="*/ 0 h 47"/>
                      <a:gd name="T6" fmla="*/ 119 w 119"/>
                      <a:gd name="T7" fmla="*/ 23 h 47"/>
                      <a:gd name="T8" fmla="*/ 94 w 119"/>
                      <a:gd name="T9" fmla="*/ 47 h 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9" h="47">
                        <a:moveTo>
                          <a:pt x="94" y="47"/>
                        </a:moveTo>
                        <a:lnTo>
                          <a:pt x="0" y="12"/>
                        </a:lnTo>
                        <a:lnTo>
                          <a:pt x="2" y="0"/>
                        </a:lnTo>
                        <a:lnTo>
                          <a:pt x="119" y="23"/>
                        </a:lnTo>
                        <a:lnTo>
                          <a:pt x="94" y="47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" name="Freeform 231">
                    <a:extLst>
                      <a:ext uri="{FF2B5EF4-FFF2-40B4-BE49-F238E27FC236}">
                        <a16:creationId xmlns:a16="http://schemas.microsoft.com/office/drawing/2014/main" id="{F31A2125-7285-7D1C-C08D-4A9BD6A9BD9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15563" y="2954338"/>
                    <a:ext cx="434975" cy="128588"/>
                  </a:xfrm>
                  <a:custGeom>
                    <a:avLst/>
                    <a:gdLst>
                      <a:gd name="T0" fmla="*/ 2 w 235"/>
                      <a:gd name="T1" fmla="*/ 16 h 69"/>
                      <a:gd name="T2" fmla="*/ 82 w 235"/>
                      <a:gd name="T3" fmla="*/ 33 h 69"/>
                      <a:gd name="T4" fmla="*/ 201 w 235"/>
                      <a:gd name="T5" fmla="*/ 0 h 69"/>
                      <a:gd name="T6" fmla="*/ 235 w 235"/>
                      <a:gd name="T7" fmla="*/ 35 h 69"/>
                      <a:gd name="T8" fmla="*/ 120 w 235"/>
                      <a:gd name="T9" fmla="*/ 65 h 69"/>
                      <a:gd name="T10" fmla="*/ 59 w 235"/>
                      <a:gd name="T11" fmla="*/ 61 h 69"/>
                      <a:gd name="T12" fmla="*/ 0 w 235"/>
                      <a:gd name="T13" fmla="*/ 42 h 69"/>
                      <a:gd name="T14" fmla="*/ 2 w 235"/>
                      <a:gd name="T15" fmla="*/ 16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35" h="69">
                        <a:moveTo>
                          <a:pt x="2" y="16"/>
                        </a:moveTo>
                        <a:cubicBezTo>
                          <a:pt x="82" y="33"/>
                          <a:pt x="82" y="33"/>
                          <a:pt x="82" y="33"/>
                        </a:cubicBezTo>
                        <a:cubicBezTo>
                          <a:pt x="201" y="0"/>
                          <a:pt x="201" y="0"/>
                          <a:pt x="201" y="0"/>
                        </a:cubicBezTo>
                        <a:cubicBezTo>
                          <a:pt x="235" y="35"/>
                          <a:pt x="235" y="35"/>
                          <a:pt x="235" y="35"/>
                        </a:cubicBezTo>
                        <a:cubicBezTo>
                          <a:pt x="235" y="35"/>
                          <a:pt x="132" y="62"/>
                          <a:pt x="120" y="65"/>
                        </a:cubicBezTo>
                        <a:cubicBezTo>
                          <a:pt x="108" y="67"/>
                          <a:pt x="84" y="69"/>
                          <a:pt x="59" y="61"/>
                        </a:cubicBezTo>
                        <a:cubicBezTo>
                          <a:pt x="42" y="56"/>
                          <a:pt x="24" y="50"/>
                          <a:pt x="0" y="42"/>
                        </a:cubicBezTo>
                        <a:lnTo>
                          <a:pt x="2" y="16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" name="Freeform 232">
                    <a:extLst>
                      <a:ext uri="{FF2B5EF4-FFF2-40B4-BE49-F238E27FC236}">
                        <a16:creationId xmlns:a16="http://schemas.microsoft.com/office/drawing/2014/main" id="{B9929237-94CC-BEA8-E11F-4A374B7B817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3525" y="2782888"/>
                    <a:ext cx="134938" cy="225425"/>
                  </a:xfrm>
                  <a:custGeom>
                    <a:avLst/>
                    <a:gdLst>
                      <a:gd name="T0" fmla="*/ 52 w 73"/>
                      <a:gd name="T1" fmla="*/ 19 h 122"/>
                      <a:gd name="T2" fmla="*/ 0 w 73"/>
                      <a:gd name="T3" fmla="*/ 9 h 122"/>
                      <a:gd name="T4" fmla="*/ 2 w 73"/>
                      <a:gd name="T5" fmla="*/ 17 h 122"/>
                      <a:gd name="T6" fmla="*/ 19 w 73"/>
                      <a:gd name="T7" fmla="*/ 56 h 122"/>
                      <a:gd name="T8" fmla="*/ 6 w 73"/>
                      <a:gd name="T9" fmla="*/ 107 h 122"/>
                      <a:gd name="T10" fmla="*/ 70 w 73"/>
                      <a:gd name="T11" fmla="*/ 76 h 122"/>
                      <a:gd name="T12" fmla="*/ 52 w 73"/>
                      <a:gd name="T13" fmla="*/ 19 h 1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3" h="122">
                        <a:moveTo>
                          <a:pt x="52" y="19"/>
                        </a:moveTo>
                        <a:cubicBezTo>
                          <a:pt x="17" y="1"/>
                          <a:pt x="4" y="0"/>
                          <a:pt x="0" y="9"/>
                        </a:cubicBezTo>
                        <a:cubicBezTo>
                          <a:pt x="0" y="11"/>
                          <a:pt x="0" y="15"/>
                          <a:pt x="2" y="17"/>
                        </a:cubicBezTo>
                        <a:cubicBezTo>
                          <a:pt x="12" y="17"/>
                          <a:pt x="19" y="36"/>
                          <a:pt x="19" y="56"/>
                        </a:cubicBezTo>
                        <a:cubicBezTo>
                          <a:pt x="17" y="75"/>
                          <a:pt x="16" y="102"/>
                          <a:pt x="6" y="107"/>
                        </a:cubicBezTo>
                        <a:cubicBezTo>
                          <a:pt x="34" y="117"/>
                          <a:pt x="73" y="122"/>
                          <a:pt x="70" y="76"/>
                        </a:cubicBezTo>
                        <a:cubicBezTo>
                          <a:pt x="70" y="62"/>
                          <a:pt x="55" y="24"/>
                          <a:pt x="52" y="19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" name="Freeform 233">
                    <a:extLst>
                      <a:ext uri="{FF2B5EF4-FFF2-40B4-BE49-F238E27FC236}">
                        <a16:creationId xmlns:a16="http://schemas.microsoft.com/office/drawing/2014/main" id="{CB08FCE7-BC61-3B63-53A2-3921F810D4A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8613" y="3302000"/>
                    <a:ext cx="563563" cy="241300"/>
                  </a:xfrm>
                  <a:custGeom>
                    <a:avLst/>
                    <a:gdLst>
                      <a:gd name="T0" fmla="*/ 267 w 304"/>
                      <a:gd name="T1" fmla="*/ 0 h 130"/>
                      <a:gd name="T2" fmla="*/ 304 w 304"/>
                      <a:gd name="T3" fmla="*/ 118 h 130"/>
                      <a:gd name="T4" fmla="*/ 26 w 304"/>
                      <a:gd name="T5" fmla="*/ 54 h 130"/>
                      <a:gd name="T6" fmla="*/ 1 w 304"/>
                      <a:gd name="T7" fmla="*/ 1 h 130"/>
                      <a:gd name="T8" fmla="*/ 267 w 304"/>
                      <a:gd name="T9" fmla="*/ 0 h 1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4" h="130">
                        <a:moveTo>
                          <a:pt x="267" y="0"/>
                        </a:moveTo>
                        <a:cubicBezTo>
                          <a:pt x="295" y="26"/>
                          <a:pt x="269" y="75"/>
                          <a:pt x="304" y="118"/>
                        </a:cubicBezTo>
                        <a:cubicBezTo>
                          <a:pt x="264" y="130"/>
                          <a:pt x="87" y="102"/>
                          <a:pt x="26" y="54"/>
                        </a:cubicBezTo>
                        <a:cubicBezTo>
                          <a:pt x="0" y="33"/>
                          <a:pt x="1" y="1"/>
                          <a:pt x="1" y="1"/>
                        </a:cubicBezTo>
                        <a:cubicBezTo>
                          <a:pt x="1" y="1"/>
                          <a:pt x="229" y="1"/>
                          <a:pt x="267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" name="Freeform 234">
                    <a:extLst>
                      <a:ext uri="{FF2B5EF4-FFF2-40B4-BE49-F238E27FC236}">
                        <a16:creationId xmlns:a16="http://schemas.microsoft.com/office/drawing/2014/main" id="{2A8A30C9-5212-358A-480D-3A057A153D6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01250" y="2922588"/>
                    <a:ext cx="79375" cy="60325"/>
                  </a:xfrm>
                  <a:custGeom>
                    <a:avLst/>
                    <a:gdLst>
                      <a:gd name="T0" fmla="*/ 43 w 43"/>
                      <a:gd name="T1" fmla="*/ 20 h 32"/>
                      <a:gd name="T2" fmla="*/ 34 w 43"/>
                      <a:gd name="T3" fmla="*/ 16 h 32"/>
                      <a:gd name="T4" fmla="*/ 26 w 43"/>
                      <a:gd name="T5" fmla="*/ 10 h 32"/>
                      <a:gd name="T6" fmla="*/ 23 w 43"/>
                      <a:gd name="T7" fmla="*/ 7 h 32"/>
                      <a:gd name="T8" fmla="*/ 6 w 43"/>
                      <a:gd name="T9" fmla="*/ 0 h 32"/>
                      <a:gd name="T10" fmla="*/ 7 w 43"/>
                      <a:gd name="T11" fmla="*/ 4 h 32"/>
                      <a:gd name="T12" fmla="*/ 15 w 43"/>
                      <a:gd name="T13" fmla="*/ 9 h 32"/>
                      <a:gd name="T14" fmla="*/ 0 w 43"/>
                      <a:gd name="T15" fmla="*/ 13 h 32"/>
                      <a:gd name="T16" fmla="*/ 2 w 43"/>
                      <a:gd name="T17" fmla="*/ 16 h 32"/>
                      <a:gd name="T18" fmla="*/ 12 w 43"/>
                      <a:gd name="T19" fmla="*/ 15 h 32"/>
                      <a:gd name="T20" fmla="*/ 27 w 43"/>
                      <a:gd name="T21" fmla="*/ 27 h 32"/>
                      <a:gd name="T22" fmla="*/ 24 w 43"/>
                      <a:gd name="T23" fmla="*/ 28 h 32"/>
                      <a:gd name="T24" fmla="*/ 27 w 43"/>
                      <a:gd name="T25" fmla="*/ 32 h 32"/>
                      <a:gd name="T26" fmla="*/ 42 w 43"/>
                      <a:gd name="T27" fmla="*/ 30 h 32"/>
                      <a:gd name="T28" fmla="*/ 43 w 43"/>
                      <a:gd name="T29" fmla="*/ 20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3" h="32">
                        <a:moveTo>
                          <a:pt x="43" y="20"/>
                        </a:moveTo>
                        <a:cubicBezTo>
                          <a:pt x="43" y="20"/>
                          <a:pt x="38" y="18"/>
                          <a:pt x="34" y="16"/>
                        </a:cubicBezTo>
                        <a:cubicBezTo>
                          <a:pt x="30" y="13"/>
                          <a:pt x="26" y="10"/>
                          <a:pt x="26" y="10"/>
                        </a:cubicBezTo>
                        <a:cubicBezTo>
                          <a:pt x="26" y="10"/>
                          <a:pt x="24" y="8"/>
                          <a:pt x="23" y="7"/>
                        </a:cubicBezTo>
                        <a:cubicBezTo>
                          <a:pt x="22" y="7"/>
                          <a:pt x="13" y="3"/>
                          <a:pt x="6" y="0"/>
                        </a:cubicBezTo>
                        <a:cubicBezTo>
                          <a:pt x="5" y="0"/>
                          <a:pt x="6" y="3"/>
                          <a:pt x="7" y="4"/>
                        </a:cubicBezTo>
                        <a:cubicBezTo>
                          <a:pt x="8" y="5"/>
                          <a:pt x="15" y="9"/>
                          <a:pt x="15" y="9"/>
                        </a:cubicBezTo>
                        <a:cubicBezTo>
                          <a:pt x="15" y="9"/>
                          <a:pt x="3" y="12"/>
                          <a:pt x="0" y="13"/>
                        </a:cubicBezTo>
                        <a:cubicBezTo>
                          <a:pt x="0" y="13"/>
                          <a:pt x="1" y="15"/>
                          <a:pt x="2" y="16"/>
                        </a:cubicBezTo>
                        <a:cubicBezTo>
                          <a:pt x="4" y="16"/>
                          <a:pt x="12" y="15"/>
                          <a:pt x="12" y="15"/>
                        </a:cubicBezTo>
                        <a:cubicBezTo>
                          <a:pt x="27" y="27"/>
                          <a:pt x="27" y="27"/>
                          <a:pt x="27" y="27"/>
                        </a:cubicBezTo>
                        <a:cubicBezTo>
                          <a:pt x="24" y="28"/>
                          <a:pt x="24" y="28"/>
                          <a:pt x="24" y="28"/>
                        </a:cubicBezTo>
                        <a:cubicBezTo>
                          <a:pt x="27" y="32"/>
                          <a:pt x="27" y="32"/>
                          <a:pt x="27" y="32"/>
                        </a:cubicBezTo>
                        <a:cubicBezTo>
                          <a:pt x="27" y="32"/>
                          <a:pt x="33" y="32"/>
                          <a:pt x="42" y="30"/>
                        </a:cubicBezTo>
                        <a:lnTo>
                          <a:pt x="43" y="2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64" name="Freeform 180">
                  <a:extLst>
                    <a:ext uri="{FF2B5EF4-FFF2-40B4-BE49-F238E27FC236}">
                      <a16:creationId xmlns:a16="http://schemas.microsoft.com/office/drawing/2014/main" id="{8F90D448-F7ED-68F1-5077-2352B4F0AAA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532353" y="4827346"/>
                  <a:ext cx="357122" cy="260510"/>
                </a:xfrm>
                <a:custGeom>
                  <a:avLst/>
                  <a:gdLst>
                    <a:gd name="T0" fmla="*/ 308 w 354"/>
                    <a:gd name="T1" fmla="*/ 0 h 259"/>
                    <a:gd name="T2" fmla="*/ 300 w 354"/>
                    <a:gd name="T3" fmla="*/ 0 h 259"/>
                    <a:gd name="T4" fmla="*/ 300 w 354"/>
                    <a:gd name="T5" fmla="*/ 14 h 259"/>
                    <a:gd name="T6" fmla="*/ 283 w 354"/>
                    <a:gd name="T7" fmla="*/ 0 h 259"/>
                    <a:gd name="T8" fmla="*/ 283 w 354"/>
                    <a:gd name="T9" fmla="*/ 0 h 259"/>
                    <a:gd name="T10" fmla="*/ 261 w 354"/>
                    <a:gd name="T11" fmla="*/ 0 h 259"/>
                    <a:gd name="T12" fmla="*/ 262 w 354"/>
                    <a:gd name="T13" fmla="*/ 6 h 259"/>
                    <a:gd name="T14" fmla="*/ 277 w 354"/>
                    <a:gd name="T15" fmla="*/ 12 h 259"/>
                    <a:gd name="T16" fmla="*/ 295 w 354"/>
                    <a:gd name="T17" fmla="*/ 36 h 259"/>
                    <a:gd name="T18" fmla="*/ 292 w 354"/>
                    <a:gd name="T19" fmla="*/ 237 h 259"/>
                    <a:gd name="T20" fmla="*/ 182 w 354"/>
                    <a:gd name="T21" fmla="*/ 111 h 259"/>
                    <a:gd name="T22" fmla="*/ 133 w 354"/>
                    <a:gd name="T23" fmla="*/ 84 h 259"/>
                    <a:gd name="T24" fmla="*/ 84 w 354"/>
                    <a:gd name="T25" fmla="*/ 117 h 259"/>
                    <a:gd name="T26" fmla="*/ 0 w 354"/>
                    <a:gd name="T27" fmla="*/ 259 h 259"/>
                    <a:gd name="T28" fmla="*/ 140 w 354"/>
                    <a:gd name="T29" fmla="*/ 259 h 259"/>
                    <a:gd name="T30" fmla="*/ 147 w 354"/>
                    <a:gd name="T31" fmla="*/ 188 h 259"/>
                    <a:gd name="T32" fmla="*/ 230 w 354"/>
                    <a:gd name="T33" fmla="*/ 259 h 259"/>
                    <a:gd name="T34" fmla="*/ 354 w 354"/>
                    <a:gd name="T35" fmla="*/ 259 h 259"/>
                    <a:gd name="T36" fmla="*/ 312 w 354"/>
                    <a:gd name="T37" fmla="*/ 35 h 259"/>
                    <a:gd name="T38" fmla="*/ 312 w 354"/>
                    <a:gd name="T39" fmla="*/ 24 h 259"/>
                    <a:gd name="T40" fmla="*/ 308 w 354"/>
                    <a:gd name="T41" fmla="*/ 0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4" h="259">
                      <a:moveTo>
                        <a:pt x="308" y="0"/>
                      </a:moveTo>
                      <a:cubicBezTo>
                        <a:pt x="300" y="0"/>
                        <a:pt x="300" y="0"/>
                        <a:pt x="300" y="0"/>
                      </a:cubicBezTo>
                      <a:cubicBezTo>
                        <a:pt x="300" y="14"/>
                        <a:pt x="300" y="14"/>
                        <a:pt x="300" y="14"/>
                      </a:cubicBezTo>
                      <a:cubicBezTo>
                        <a:pt x="300" y="14"/>
                        <a:pt x="288" y="0"/>
                        <a:pt x="283" y="0"/>
                      </a:cubicBezTo>
                      <a:cubicBezTo>
                        <a:pt x="283" y="0"/>
                        <a:pt x="283" y="0"/>
                        <a:pt x="283" y="0"/>
                      </a:cubicBezTo>
                      <a:cubicBezTo>
                        <a:pt x="279" y="0"/>
                        <a:pt x="261" y="0"/>
                        <a:pt x="261" y="0"/>
                      </a:cubicBezTo>
                      <a:cubicBezTo>
                        <a:pt x="261" y="0"/>
                        <a:pt x="258" y="5"/>
                        <a:pt x="262" y="6"/>
                      </a:cubicBezTo>
                      <a:cubicBezTo>
                        <a:pt x="263" y="6"/>
                        <a:pt x="273" y="10"/>
                        <a:pt x="277" y="12"/>
                      </a:cubicBezTo>
                      <a:cubicBezTo>
                        <a:pt x="295" y="36"/>
                        <a:pt x="295" y="36"/>
                        <a:pt x="295" y="36"/>
                      </a:cubicBezTo>
                      <a:cubicBezTo>
                        <a:pt x="292" y="237"/>
                        <a:pt x="292" y="237"/>
                        <a:pt x="292" y="237"/>
                      </a:cubicBezTo>
                      <a:cubicBezTo>
                        <a:pt x="241" y="180"/>
                        <a:pt x="189" y="121"/>
                        <a:pt x="182" y="111"/>
                      </a:cubicBezTo>
                      <a:cubicBezTo>
                        <a:pt x="174" y="99"/>
                        <a:pt x="155" y="84"/>
                        <a:pt x="133" y="84"/>
                      </a:cubicBezTo>
                      <a:cubicBezTo>
                        <a:pt x="117" y="84"/>
                        <a:pt x="99" y="93"/>
                        <a:pt x="84" y="117"/>
                      </a:cubicBezTo>
                      <a:cubicBezTo>
                        <a:pt x="61" y="155"/>
                        <a:pt x="26" y="213"/>
                        <a:pt x="0" y="259"/>
                      </a:cubicBezTo>
                      <a:cubicBezTo>
                        <a:pt x="140" y="259"/>
                        <a:pt x="140" y="259"/>
                        <a:pt x="140" y="259"/>
                      </a:cubicBezTo>
                      <a:cubicBezTo>
                        <a:pt x="144" y="231"/>
                        <a:pt x="146" y="205"/>
                        <a:pt x="147" y="188"/>
                      </a:cubicBezTo>
                      <a:cubicBezTo>
                        <a:pt x="230" y="259"/>
                        <a:pt x="230" y="259"/>
                        <a:pt x="230" y="259"/>
                      </a:cubicBezTo>
                      <a:cubicBezTo>
                        <a:pt x="354" y="259"/>
                        <a:pt x="354" y="259"/>
                        <a:pt x="354" y="259"/>
                      </a:cubicBezTo>
                      <a:cubicBezTo>
                        <a:pt x="345" y="166"/>
                        <a:pt x="312" y="35"/>
                        <a:pt x="312" y="35"/>
                      </a:cubicBezTo>
                      <a:cubicBezTo>
                        <a:pt x="312" y="35"/>
                        <a:pt x="313" y="29"/>
                        <a:pt x="312" y="24"/>
                      </a:cubicBezTo>
                      <a:cubicBezTo>
                        <a:pt x="310" y="13"/>
                        <a:pt x="308" y="0"/>
                        <a:pt x="308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18" name="Group 5">
                <a:extLst>
                  <a:ext uri="{FF2B5EF4-FFF2-40B4-BE49-F238E27FC236}">
                    <a16:creationId xmlns:a16="http://schemas.microsoft.com/office/drawing/2014/main" id="{12D776F2-3207-A16B-0E90-25ACEA3A327C}"/>
                  </a:ext>
                </a:extLst>
              </p:cNvPr>
              <p:cNvGrpSpPr/>
              <p:nvPr/>
            </p:nvGrpSpPr>
            <p:grpSpPr>
              <a:xfrm>
                <a:off x="3081113" y="3935198"/>
                <a:ext cx="1695948" cy="1162398"/>
                <a:chOff x="3081113" y="3935198"/>
                <a:chExt cx="1695948" cy="1162398"/>
              </a:xfrm>
            </p:grpSpPr>
            <p:grpSp>
              <p:nvGrpSpPr>
                <p:cNvPr id="19" name="Group 1051">
                  <a:extLst>
                    <a:ext uri="{FF2B5EF4-FFF2-40B4-BE49-F238E27FC236}">
                      <a16:creationId xmlns:a16="http://schemas.microsoft.com/office/drawing/2014/main" id="{CE5B504E-0317-F257-30C8-761AB498B8C9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096850" y="3935198"/>
                  <a:ext cx="947456" cy="851698"/>
                  <a:chOff x="6978651" y="4723607"/>
                  <a:chExt cx="1931987" cy="1736725"/>
                </a:xfrm>
              </p:grpSpPr>
              <p:sp>
                <p:nvSpPr>
                  <p:cNvPr id="48" name="Freeform 280">
                    <a:extLst>
                      <a:ext uri="{FF2B5EF4-FFF2-40B4-BE49-F238E27FC236}">
                        <a16:creationId xmlns:a16="http://schemas.microsoft.com/office/drawing/2014/main" id="{6FE52740-27D5-FAE6-A3CC-84FDE93EAB3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075488" y="5322095"/>
                    <a:ext cx="139700" cy="82550"/>
                  </a:xfrm>
                  <a:custGeom>
                    <a:avLst/>
                    <a:gdLst>
                      <a:gd name="T0" fmla="*/ 71 w 71"/>
                      <a:gd name="T1" fmla="*/ 40 h 42"/>
                      <a:gd name="T2" fmla="*/ 60 w 71"/>
                      <a:gd name="T3" fmla="*/ 42 h 42"/>
                      <a:gd name="T4" fmla="*/ 47 w 71"/>
                      <a:gd name="T5" fmla="*/ 39 h 42"/>
                      <a:gd name="T6" fmla="*/ 42 w 71"/>
                      <a:gd name="T7" fmla="*/ 33 h 42"/>
                      <a:gd name="T8" fmla="*/ 45 w 71"/>
                      <a:gd name="T9" fmla="*/ 31 h 42"/>
                      <a:gd name="T10" fmla="*/ 19 w 71"/>
                      <a:gd name="T11" fmla="*/ 13 h 42"/>
                      <a:gd name="T12" fmla="*/ 4 w 71"/>
                      <a:gd name="T13" fmla="*/ 14 h 42"/>
                      <a:gd name="T14" fmla="*/ 1 w 71"/>
                      <a:gd name="T15" fmla="*/ 11 h 42"/>
                      <a:gd name="T16" fmla="*/ 21 w 71"/>
                      <a:gd name="T17" fmla="*/ 5 h 42"/>
                      <a:gd name="T18" fmla="*/ 35 w 71"/>
                      <a:gd name="T19" fmla="*/ 2 h 42"/>
                      <a:gd name="T20" fmla="*/ 40 w 71"/>
                      <a:gd name="T21" fmla="*/ 6 h 42"/>
                      <a:gd name="T22" fmla="*/ 68 w 71"/>
                      <a:gd name="T23" fmla="*/ 21 h 42"/>
                      <a:gd name="T24" fmla="*/ 71 w 71"/>
                      <a:gd name="T25" fmla="*/ 40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71" h="42">
                        <a:moveTo>
                          <a:pt x="71" y="40"/>
                        </a:moveTo>
                        <a:cubicBezTo>
                          <a:pt x="71" y="40"/>
                          <a:pt x="63" y="42"/>
                          <a:pt x="60" y="42"/>
                        </a:cubicBezTo>
                        <a:cubicBezTo>
                          <a:pt x="49" y="42"/>
                          <a:pt x="47" y="39"/>
                          <a:pt x="47" y="39"/>
                        </a:cubicBezTo>
                        <a:cubicBezTo>
                          <a:pt x="42" y="33"/>
                          <a:pt x="42" y="33"/>
                          <a:pt x="42" y="33"/>
                        </a:cubicBezTo>
                        <a:cubicBezTo>
                          <a:pt x="45" y="31"/>
                          <a:pt x="45" y="31"/>
                          <a:pt x="45" y="31"/>
                        </a:cubicBezTo>
                        <a:cubicBezTo>
                          <a:pt x="19" y="13"/>
                          <a:pt x="19" y="13"/>
                          <a:pt x="19" y="13"/>
                        </a:cubicBezTo>
                        <a:cubicBezTo>
                          <a:pt x="19" y="13"/>
                          <a:pt x="6" y="15"/>
                          <a:pt x="4" y="14"/>
                        </a:cubicBezTo>
                        <a:cubicBezTo>
                          <a:pt x="2" y="14"/>
                          <a:pt x="0" y="11"/>
                          <a:pt x="1" y="11"/>
                        </a:cubicBezTo>
                        <a:cubicBezTo>
                          <a:pt x="5" y="9"/>
                          <a:pt x="21" y="5"/>
                          <a:pt x="21" y="5"/>
                        </a:cubicBezTo>
                        <a:cubicBezTo>
                          <a:pt x="21" y="5"/>
                          <a:pt x="32" y="0"/>
                          <a:pt x="35" y="2"/>
                        </a:cubicBezTo>
                        <a:cubicBezTo>
                          <a:pt x="38" y="3"/>
                          <a:pt x="40" y="6"/>
                          <a:pt x="40" y="6"/>
                        </a:cubicBezTo>
                        <a:cubicBezTo>
                          <a:pt x="68" y="21"/>
                          <a:pt x="68" y="21"/>
                          <a:pt x="68" y="21"/>
                        </a:cubicBezTo>
                        <a:lnTo>
                          <a:pt x="71" y="4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" name="Freeform 281">
                    <a:extLst>
                      <a:ext uri="{FF2B5EF4-FFF2-40B4-BE49-F238E27FC236}">
                        <a16:creationId xmlns:a16="http://schemas.microsoft.com/office/drawing/2014/main" id="{0C2BC740-46C2-6D6B-E425-E755D09BD02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978651" y="4955382"/>
                    <a:ext cx="785813" cy="319088"/>
                  </a:xfrm>
                  <a:custGeom>
                    <a:avLst/>
                    <a:gdLst>
                      <a:gd name="T0" fmla="*/ 400 w 400"/>
                      <a:gd name="T1" fmla="*/ 96 h 163"/>
                      <a:gd name="T2" fmla="*/ 199 w 400"/>
                      <a:gd name="T3" fmla="*/ 146 h 163"/>
                      <a:gd name="T4" fmla="*/ 21 w 400"/>
                      <a:gd name="T5" fmla="*/ 163 h 163"/>
                      <a:gd name="T6" fmla="*/ 0 w 400"/>
                      <a:gd name="T7" fmla="*/ 142 h 163"/>
                      <a:gd name="T8" fmla="*/ 188 w 400"/>
                      <a:gd name="T9" fmla="*/ 100 h 163"/>
                      <a:gd name="T10" fmla="*/ 342 w 400"/>
                      <a:gd name="T11" fmla="*/ 0 h 163"/>
                      <a:gd name="T12" fmla="*/ 400 w 400"/>
                      <a:gd name="T13" fmla="*/ 96 h 1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00" h="163">
                        <a:moveTo>
                          <a:pt x="400" y="96"/>
                        </a:moveTo>
                        <a:cubicBezTo>
                          <a:pt x="400" y="96"/>
                          <a:pt x="268" y="137"/>
                          <a:pt x="199" y="146"/>
                        </a:cubicBezTo>
                        <a:cubicBezTo>
                          <a:pt x="130" y="154"/>
                          <a:pt x="21" y="163"/>
                          <a:pt x="21" y="163"/>
                        </a:cubicBezTo>
                        <a:cubicBezTo>
                          <a:pt x="21" y="163"/>
                          <a:pt x="0" y="151"/>
                          <a:pt x="0" y="142"/>
                        </a:cubicBezTo>
                        <a:cubicBezTo>
                          <a:pt x="59" y="127"/>
                          <a:pt x="141" y="104"/>
                          <a:pt x="188" y="100"/>
                        </a:cubicBezTo>
                        <a:cubicBezTo>
                          <a:pt x="246" y="73"/>
                          <a:pt x="342" y="0"/>
                          <a:pt x="342" y="0"/>
                        </a:cubicBezTo>
                        <a:lnTo>
                          <a:pt x="400" y="96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" name="Freeform 282">
                    <a:extLst>
                      <a:ext uri="{FF2B5EF4-FFF2-40B4-BE49-F238E27FC236}">
                        <a16:creationId xmlns:a16="http://schemas.microsoft.com/office/drawing/2014/main" id="{57D1D8A1-C037-8EBB-1323-0A2F7565037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135938" y="5620545"/>
                    <a:ext cx="774700" cy="719138"/>
                  </a:xfrm>
                  <a:custGeom>
                    <a:avLst/>
                    <a:gdLst>
                      <a:gd name="T0" fmla="*/ 17 w 394"/>
                      <a:gd name="T1" fmla="*/ 40 h 367"/>
                      <a:gd name="T2" fmla="*/ 146 w 394"/>
                      <a:gd name="T3" fmla="*/ 44 h 367"/>
                      <a:gd name="T4" fmla="*/ 173 w 394"/>
                      <a:gd name="T5" fmla="*/ 241 h 367"/>
                      <a:gd name="T6" fmla="*/ 349 w 394"/>
                      <a:gd name="T7" fmla="*/ 73 h 367"/>
                      <a:gd name="T8" fmla="*/ 391 w 394"/>
                      <a:gd name="T9" fmla="*/ 85 h 367"/>
                      <a:gd name="T10" fmla="*/ 206 w 394"/>
                      <a:gd name="T11" fmla="*/ 317 h 367"/>
                      <a:gd name="T12" fmla="*/ 106 w 394"/>
                      <a:gd name="T13" fmla="*/ 306 h 367"/>
                      <a:gd name="T14" fmla="*/ 0 w 394"/>
                      <a:gd name="T15" fmla="*/ 104 h 367"/>
                      <a:gd name="T16" fmla="*/ 17 w 394"/>
                      <a:gd name="T17" fmla="*/ 40 h 3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394" h="367">
                        <a:moveTo>
                          <a:pt x="17" y="40"/>
                        </a:moveTo>
                        <a:cubicBezTo>
                          <a:pt x="17" y="40"/>
                          <a:pt x="130" y="0"/>
                          <a:pt x="146" y="44"/>
                        </a:cubicBezTo>
                        <a:cubicBezTo>
                          <a:pt x="163" y="91"/>
                          <a:pt x="172" y="182"/>
                          <a:pt x="173" y="241"/>
                        </a:cubicBezTo>
                        <a:cubicBezTo>
                          <a:pt x="349" y="73"/>
                          <a:pt x="349" y="73"/>
                          <a:pt x="349" y="73"/>
                        </a:cubicBezTo>
                        <a:cubicBezTo>
                          <a:pt x="349" y="73"/>
                          <a:pt x="394" y="80"/>
                          <a:pt x="391" y="85"/>
                        </a:cubicBezTo>
                        <a:cubicBezTo>
                          <a:pt x="342" y="150"/>
                          <a:pt x="218" y="300"/>
                          <a:pt x="206" y="317"/>
                        </a:cubicBezTo>
                        <a:cubicBezTo>
                          <a:pt x="191" y="337"/>
                          <a:pt x="140" y="367"/>
                          <a:pt x="106" y="306"/>
                        </a:cubicBezTo>
                        <a:cubicBezTo>
                          <a:pt x="72" y="246"/>
                          <a:pt x="20" y="143"/>
                          <a:pt x="0" y="104"/>
                        </a:cubicBezTo>
                        <a:cubicBezTo>
                          <a:pt x="151" y="97"/>
                          <a:pt x="17" y="40"/>
                          <a:pt x="17" y="4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" name="Freeform 283">
                    <a:extLst>
                      <a:ext uri="{FF2B5EF4-FFF2-40B4-BE49-F238E27FC236}">
                        <a16:creationId xmlns:a16="http://schemas.microsoft.com/office/drawing/2014/main" id="{96D78866-991D-1CC7-71E6-1F7FE13511E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6813" y="4979195"/>
                    <a:ext cx="476250" cy="577850"/>
                  </a:xfrm>
                  <a:custGeom>
                    <a:avLst/>
                    <a:gdLst>
                      <a:gd name="T0" fmla="*/ 242 w 242"/>
                      <a:gd name="T1" fmla="*/ 295 h 295"/>
                      <a:gd name="T2" fmla="*/ 171 w 242"/>
                      <a:gd name="T3" fmla="*/ 242 h 295"/>
                      <a:gd name="T4" fmla="*/ 64 w 242"/>
                      <a:gd name="T5" fmla="*/ 159 h 295"/>
                      <a:gd name="T6" fmla="*/ 35 w 242"/>
                      <a:gd name="T7" fmla="*/ 0 h 295"/>
                      <a:gd name="T8" fmla="*/ 242 w 242"/>
                      <a:gd name="T9" fmla="*/ 295 h 2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2" h="295">
                        <a:moveTo>
                          <a:pt x="242" y="295"/>
                        </a:moveTo>
                        <a:cubicBezTo>
                          <a:pt x="242" y="295"/>
                          <a:pt x="196" y="254"/>
                          <a:pt x="171" y="242"/>
                        </a:cubicBezTo>
                        <a:cubicBezTo>
                          <a:pt x="130" y="221"/>
                          <a:pt x="93" y="197"/>
                          <a:pt x="64" y="159"/>
                        </a:cubicBezTo>
                        <a:cubicBezTo>
                          <a:pt x="0" y="74"/>
                          <a:pt x="35" y="0"/>
                          <a:pt x="35" y="0"/>
                        </a:cubicBezTo>
                        <a:cubicBezTo>
                          <a:pt x="242" y="295"/>
                          <a:pt x="242" y="295"/>
                          <a:pt x="242" y="295"/>
                        </a:cubicBezTo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Freeform 284">
                    <a:extLst>
                      <a:ext uri="{FF2B5EF4-FFF2-40B4-BE49-F238E27FC236}">
                        <a16:creationId xmlns:a16="http://schemas.microsoft.com/office/drawing/2014/main" id="{2B77B166-2178-7D5C-4AD7-FD875EDE583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66026" y="4920457"/>
                    <a:ext cx="841375" cy="669925"/>
                  </a:xfrm>
                  <a:custGeom>
                    <a:avLst/>
                    <a:gdLst>
                      <a:gd name="T0" fmla="*/ 231 w 428"/>
                      <a:gd name="T1" fmla="*/ 342 h 342"/>
                      <a:gd name="T2" fmla="*/ 52 w 428"/>
                      <a:gd name="T3" fmla="*/ 161 h 342"/>
                      <a:gd name="T4" fmla="*/ 7 w 428"/>
                      <a:gd name="T5" fmla="*/ 36 h 342"/>
                      <a:gd name="T6" fmla="*/ 46 w 428"/>
                      <a:gd name="T7" fmla="*/ 0 h 342"/>
                      <a:gd name="T8" fmla="*/ 238 w 428"/>
                      <a:gd name="T9" fmla="*/ 76 h 342"/>
                      <a:gd name="T10" fmla="*/ 428 w 428"/>
                      <a:gd name="T11" fmla="*/ 295 h 342"/>
                      <a:gd name="T12" fmla="*/ 231 w 428"/>
                      <a:gd name="T13" fmla="*/ 342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28" h="342">
                        <a:moveTo>
                          <a:pt x="231" y="342"/>
                        </a:moveTo>
                        <a:cubicBezTo>
                          <a:pt x="231" y="342"/>
                          <a:pt x="137" y="240"/>
                          <a:pt x="52" y="161"/>
                        </a:cubicBezTo>
                        <a:cubicBezTo>
                          <a:pt x="0" y="114"/>
                          <a:pt x="7" y="36"/>
                          <a:pt x="7" y="36"/>
                        </a:cubicBezTo>
                        <a:cubicBezTo>
                          <a:pt x="7" y="36"/>
                          <a:pt x="26" y="6"/>
                          <a:pt x="46" y="0"/>
                        </a:cubicBezTo>
                        <a:cubicBezTo>
                          <a:pt x="83" y="5"/>
                          <a:pt x="171" y="13"/>
                          <a:pt x="238" y="76"/>
                        </a:cubicBezTo>
                        <a:cubicBezTo>
                          <a:pt x="333" y="166"/>
                          <a:pt x="428" y="295"/>
                          <a:pt x="428" y="295"/>
                        </a:cubicBezTo>
                        <a:cubicBezTo>
                          <a:pt x="231" y="342"/>
                          <a:pt x="231" y="342"/>
                          <a:pt x="231" y="342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" name="Freeform 285">
                    <a:extLst>
                      <a:ext uri="{FF2B5EF4-FFF2-40B4-BE49-F238E27FC236}">
                        <a16:creationId xmlns:a16="http://schemas.microsoft.com/office/drawing/2014/main" id="{88BD365E-4DCB-7220-C678-542AA9C9FAB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704138" y="5168107"/>
                    <a:ext cx="355600" cy="409575"/>
                  </a:xfrm>
                  <a:custGeom>
                    <a:avLst/>
                    <a:gdLst>
                      <a:gd name="T0" fmla="*/ 0 w 181"/>
                      <a:gd name="T1" fmla="*/ 0 h 208"/>
                      <a:gd name="T2" fmla="*/ 88 w 181"/>
                      <a:gd name="T3" fmla="*/ 99 h 208"/>
                      <a:gd name="T4" fmla="*/ 164 w 181"/>
                      <a:gd name="T5" fmla="*/ 205 h 208"/>
                      <a:gd name="T6" fmla="*/ 181 w 181"/>
                      <a:gd name="T7" fmla="*/ 208 h 208"/>
                      <a:gd name="T8" fmla="*/ 88 w 181"/>
                      <a:gd name="T9" fmla="*/ 91 h 208"/>
                      <a:gd name="T10" fmla="*/ 0 w 181"/>
                      <a:gd name="T11" fmla="*/ 0 h 2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81" h="208">
                        <a:moveTo>
                          <a:pt x="0" y="0"/>
                        </a:moveTo>
                        <a:cubicBezTo>
                          <a:pt x="0" y="0"/>
                          <a:pt x="35" y="72"/>
                          <a:pt x="88" y="99"/>
                        </a:cubicBezTo>
                        <a:cubicBezTo>
                          <a:pt x="137" y="123"/>
                          <a:pt x="164" y="205"/>
                          <a:pt x="164" y="205"/>
                        </a:cubicBezTo>
                        <a:cubicBezTo>
                          <a:pt x="181" y="208"/>
                          <a:pt x="181" y="208"/>
                          <a:pt x="181" y="208"/>
                        </a:cubicBezTo>
                        <a:cubicBezTo>
                          <a:pt x="181" y="208"/>
                          <a:pt x="140" y="131"/>
                          <a:pt x="88" y="91"/>
                        </a:cubicBezTo>
                        <a:cubicBezTo>
                          <a:pt x="36" y="5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A0C9DC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" name="Freeform 286">
                    <a:extLst>
                      <a:ext uri="{FF2B5EF4-FFF2-40B4-BE49-F238E27FC236}">
                        <a16:creationId xmlns:a16="http://schemas.microsoft.com/office/drawing/2014/main" id="{BD96309F-25AD-0F4A-868A-B8A653221CA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602538" y="4922045"/>
                    <a:ext cx="82550" cy="117475"/>
                  </a:xfrm>
                  <a:custGeom>
                    <a:avLst/>
                    <a:gdLst>
                      <a:gd name="T0" fmla="*/ 36 w 42"/>
                      <a:gd name="T1" fmla="*/ 0 h 60"/>
                      <a:gd name="T2" fmla="*/ 42 w 42"/>
                      <a:gd name="T3" fmla="*/ 4 h 60"/>
                      <a:gd name="T4" fmla="*/ 36 w 42"/>
                      <a:gd name="T5" fmla="*/ 52 h 60"/>
                      <a:gd name="T6" fmla="*/ 0 w 42"/>
                      <a:gd name="T7" fmla="*/ 47 h 60"/>
                      <a:gd name="T8" fmla="*/ 36 w 42"/>
                      <a:gd name="T9" fmla="*/ 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2" h="60">
                        <a:moveTo>
                          <a:pt x="36" y="0"/>
                        </a:moveTo>
                        <a:cubicBezTo>
                          <a:pt x="42" y="4"/>
                          <a:pt x="42" y="4"/>
                          <a:pt x="42" y="4"/>
                        </a:cubicBezTo>
                        <a:cubicBezTo>
                          <a:pt x="36" y="52"/>
                          <a:pt x="36" y="52"/>
                          <a:pt x="36" y="52"/>
                        </a:cubicBezTo>
                        <a:cubicBezTo>
                          <a:pt x="36" y="52"/>
                          <a:pt x="23" y="60"/>
                          <a:pt x="0" y="47"/>
                        </a:cubicBezTo>
                        <a:cubicBezTo>
                          <a:pt x="21" y="35"/>
                          <a:pt x="36" y="0"/>
                          <a:pt x="36" y="0"/>
                        </a:cubicBezTo>
                        <a:close/>
                      </a:path>
                    </a:pathLst>
                  </a:custGeom>
                  <a:solidFill>
                    <a:srgbClr val="1D99B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" name="Freeform 287">
                    <a:extLst>
                      <a:ext uri="{FF2B5EF4-FFF2-40B4-BE49-F238E27FC236}">
                        <a16:creationId xmlns:a16="http://schemas.microsoft.com/office/drawing/2014/main" id="{02D6C1C3-32E0-08E2-8402-67CDAC5A1C7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89838" y="5015707"/>
                    <a:ext cx="503238" cy="488950"/>
                  </a:xfrm>
                  <a:custGeom>
                    <a:avLst/>
                    <a:gdLst>
                      <a:gd name="T0" fmla="*/ 6 w 256"/>
                      <a:gd name="T1" fmla="*/ 0 h 249"/>
                      <a:gd name="T2" fmla="*/ 0 w 256"/>
                      <a:gd name="T3" fmla="*/ 10 h 249"/>
                      <a:gd name="T4" fmla="*/ 10 w 256"/>
                      <a:gd name="T5" fmla="*/ 24 h 249"/>
                      <a:gd name="T6" fmla="*/ 37 w 256"/>
                      <a:gd name="T7" fmla="*/ 123 h 249"/>
                      <a:gd name="T8" fmla="*/ 222 w 256"/>
                      <a:gd name="T9" fmla="*/ 249 h 249"/>
                      <a:gd name="T10" fmla="*/ 256 w 256"/>
                      <a:gd name="T11" fmla="*/ 231 h 249"/>
                      <a:gd name="T12" fmla="*/ 235 w 256"/>
                      <a:gd name="T13" fmla="*/ 193 h 249"/>
                      <a:gd name="T14" fmla="*/ 56 w 256"/>
                      <a:gd name="T15" fmla="*/ 106 h 249"/>
                      <a:gd name="T16" fmla="*/ 18 w 256"/>
                      <a:gd name="T17" fmla="*/ 21 h 249"/>
                      <a:gd name="T18" fmla="*/ 27 w 256"/>
                      <a:gd name="T19" fmla="*/ 6 h 249"/>
                      <a:gd name="T20" fmla="*/ 6 w 256"/>
                      <a:gd name="T21" fmla="*/ 0 h 2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56" h="249">
                        <a:moveTo>
                          <a:pt x="6" y="0"/>
                        </a:moveTo>
                        <a:cubicBezTo>
                          <a:pt x="6" y="0"/>
                          <a:pt x="2" y="4"/>
                          <a:pt x="0" y="10"/>
                        </a:cubicBezTo>
                        <a:cubicBezTo>
                          <a:pt x="3" y="16"/>
                          <a:pt x="10" y="24"/>
                          <a:pt x="10" y="24"/>
                        </a:cubicBezTo>
                        <a:cubicBezTo>
                          <a:pt x="10" y="24"/>
                          <a:pt x="6" y="73"/>
                          <a:pt x="37" y="123"/>
                        </a:cubicBezTo>
                        <a:cubicBezTo>
                          <a:pt x="84" y="200"/>
                          <a:pt x="222" y="249"/>
                          <a:pt x="222" y="249"/>
                        </a:cubicBezTo>
                        <a:cubicBezTo>
                          <a:pt x="256" y="231"/>
                          <a:pt x="256" y="231"/>
                          <a:pt x="256" y="231"/>
                        </a:cubicBezTo>
                        <a:cubicBezTo>
                          <a:pt x="235" y="193"/>
                          <a:pt x="235" y="193"/>
                          <a:pt x="235" y="193"/>
                        </a:cubicBezTo>
                        <a:cubicBezTo>
                          <a:pt x="235" y="193"/>
                          <a:pt x="111" y="175"/>
                          <a:pt x="56" y="106"/>
                        </a:cubicBezTo>
                        <a:cubicBezTo>
                          <a:pt x="18" y="58"/>
                          <a:pt x="18" y="21"/>
                          <a:pt x="18" y="21"/>
                        </a:cubicBezTo>
                        <a:cubicBezTo>
                          <a:pt x="18" y="21"/>
                          <a:pt x="24" y="13"/>
                          <a:pt x="27" y="6"/>
                        </a:cubicBezTo>
                        <a:cubicBezTo>
                          <a:pt x="15" y="5"/>
                          <a:pt x="6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" name="Freeform 288">
                    <a:extLst>
                      <a:ext uri="{FF2B5EF4-FFF2-40B4-BE49-F238E27FC236}">
                        <a16:creationId xmlns:a16="http://schemas.microsoft.com/office/drawing/2014/main" id="{F5715EB9-C2B3-8223-78EA-9F944A7E152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67601" y="4853782"/>
                    <a:ext cx="206375" cy="160338"/>
                  </a:xfrm>
                  <a:custGeom>
                    <a:avLst/>
                    <a:gdLst>
                      <a:gd name="T0" fmla="*/ 105 w 105"/>
                      <a:gd name="T1" fmla="*/ 35 h 82"/>
                      <a:gd name="T2" fmla="*/ 93 w 105"/>
                      <a:gd name="T3" fmla="*/ 22 h 82"/>
                      <a:gd name="T4" fmla="*/ 67 w 105"/>
                      <a:gd name="T5" fmla="*/ 0 h 82"/>
                      <a:gd name="T6" fmla="*/ 54 w 105"/>
                      <a:gd name="T7" fmla="*/ 34 h 82"/>
                      <a:gd name="T8" fmla="*/ 34 w 105"/>
                      <a:gd name="T9" fmla="*/ 55 h 82"/>
                      <a:gd name="T10" fmla="*/ 0 w 105"/>
                      <a:gd name="T11" fmla="*/ 56 h 82"/>
                      <a:gd name="T12" fmla="*/ 69 w 105"/>
                      <a:gd name="T13" fmla="*/ 82 h 82"/>
                      <a:gd name="T14" fmla="*/ 105 w 105"/>
                      <a:gd name="T15" fmla="*/ 35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5" h="82">
                        <a:moveTo>
                          <a:pt x="105" y="35"/>
                        </a:moveTo>
                        <a:cubicBezTo>
                          <a:pt x="99" y="32"/>
                          <a:pt x="93" y="22"/>
                          <a:pt x="93" y="22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67" y="0"/>
                          <a:pt x="57" y="21"/>
                          <a:pt x="54" y="34"/>
                        </a:cubicBezTo>
                        <a:cubicBezTo>
                          <a:pt x="52" y="46"/>
                          <a:pt x="39" y="54"/>
                          <a:pt x="34" y="55"/>
                        </a:cubicBezTo>
                        <a:cubicBezTo>
                          <a:pt x="22" y="56"/>
                          <a:pt x="0" y="56"/>
                          <a:pt x="0" y="56"/>
                        </a:cubicBezTo>
                        <a:cubicBezTo>
                          <a:pt x="0" y="56"/>
                          <a:pt x="50" y="69"/>
                          <a:pt x="69" y="82"/>
                        </a:cubicBezTo>
                        <a:cubicBezTo>
                          <a:pt x="91" y="67"/>
                          <a:pt x="101" y="42"/>
                          <a:pt x="105" y="35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" name="Freeform 289">
                    <a:extLst>
                      <a:ext uri="{FF2B5EF4-FFF2-40B4-BE49-F238E27FC236}">
                        <a16:creationId xmlns:a16="http://schemas.microsoft.com/office/drawing/2014/main" id="{156712B8-C6E4-96DB-6B9C-3804354CA2F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50138" y="4755357"/>
                    <a:ext cx="163513" cy="207963"/>
                  </a:xfrm>
                  <a:custGeom>
                    <a:avLst/>
                    <a:gdLst>
                      <a:gd name="T0" fmla="*/ 9 w 83"/>
                      <a:gd name="T1" fmla="*/ 106 h 106"/>
                      <a:gd name="T2" fmla="*/ 47 w 83"/>
                      <a:gd name="T3" fmla="*/ 105 h 106"/>
                      <a:gd name="T4" fmla="*/ 62 w 83"/>
                      <a:gd name="T5" fmla="*/ 91 h 106"/>
                      <a:gd name="T6" fmla="*/ 69 w 83"/>
                      <a:gd name="T7" fmla="*/ 69 h 106"/>
                      <a:gd name="T8" fmla="*/ 78 w 83"/>
                      <a:gd name="T9" fmla="*/ 62 h 106"/>
                      <a:gd name="T10" fmla="*/ 73 w 83"/>
                      <a:gd name="T11" fmla="*/ 48 h 106"/>
                      <a:gd name="T12" fmla="*/ 70 w 83"/>
                      <a:gd name="T13" fmla="*/ 6 h 106"/>
                      <a:gd name="T14" fmla="*/ 50 w 83"/>
                      <a:gd name="T15" fmla="*/ 0 h 106"/>
                      <a:gd name="T16" fmla="*/ 32 w 83"/>
                      <a:gd name="T17" fmla="*/ 10 h 106"/>
                      <a:gd name="T18" fmla="*/ 0 w 83"/>
                      <a:gd name="T19" fmla="*/ 60 h 106"/>
                      <a:gd name="T20" fmla="*/ 4 w 83"/>
                      <a:gd name="T21" fmla="*/ 63 h 106"/>
                      <a:gd name="T22" fmla="*/ 12 w 83"/>
                      <a:gd name="T23" fmla="*/ 65 h 106"/>
                      <a:gd name="T24" fmla="*/ 8 w 83"/>
                      <a:gd name="T25" fmla="*/ 105 h 106"/>
                      <a:gd name="T26" fmla="*/ 9 w 83"/>
                      <a:gd name="T27" fmla="*/ 106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83" h="106">
                        <a:moveTo>
                          <a:pt x="9" y="106"/>
                        </a:moveTo>
                        <a:cubicBezTo>
                          <a:pt x="19" y="106"/>
                          <a:pt x="38" y="106"/>
                          <a:pt x="47" y="105"/>
                        </a:cubicBezTo>
                        <a:cubicBezTo>
                          <a:pt x="60" y="104"/>
                          <a:pt x="62" y="91"/>
                          <a:pt x="62" y="91"/>
                        </a:cubicBezTo>
                        <a:cubicBezTo>
                          <a:pt x="69" y="69"/>
                          <a:pt x="69" y="69"/>
                          <a:pt x="69" y="69"/>
                        </a:cubicBezTo>
                        <a:cubicBezTo>
                          <a:pt x="69" y="69"/>
                          <a:pt x="74" y="67"/>
                          <a:pt x="78" y="62"/>
                        </a:cubicBezTo>
                        <a:cubicBezTo>
                          <a:pt x="80" y="60"/>
                          <a:pt x="83" y="52"/>
                          <a:pt x="73" y="48"/>
                        </a:cubicBezTo>
                        <a:cubicBezTo>
                          <a:pt x="58" y="42"/>
                          <a:pt x="70" y="6"/>
                          <a:pt x="70" y="6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0" y="60"/>
                          <a:pt x="0" y="63"/>
                          <a:pt x="4" y="63"/>
                        </a:cubicBezTo>
                        <a:cubicBezTo>
                          <a:pt x="7" y="63"/>
                          <a:pt x="12" y="65"/>
                          <a:pt x="12" y="65"/>
                        </a:cubicBezTo>
                        <a:cubicBezTo>
                          <a:pt x="12" y="65"/>
                          <a:pt x="8" y="102"/>
                          <a:pt x="8" y="105"/>
                        </a:cubicBezTo>
                        <a:cubicBezTo>
                          <a:pt x="8" y="106"/>
                          <a:pt x="9" y="106"/>
                          <a:pt x="9" y="106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" name="Freeform 290">
                    <a:extLst>
                      <a:ext uri="{FF2B5EF4-FFF2-40B4-BE49-F238E27FC236}">
                        <a16:creationId xmlns:a16="http://schemas.microsoft.com/office/drawing/2014/main" id="{1E0D5144-A0D6-C39C-A60C-F329B282AFD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91413" y="4823620"/>
                    <a:ext cx="33338" cy="17463"/>
                  </a:xfrm>
                  <a:custGeom>
                    <a:avLst/>
                    <a:gdLst>
                      <a:gd name="T0" fmla="*/ 1 w 17"/>
                      <a:gd name="T1" fmla="*/ 6 h 9"/>
                      <a:gd name="T2" fmla="*/ 4 w 17"/>
                      <a:gd name="T3" fmla="*/ 9 h 9"/>
                      <a:gd name="T4" fmla="*/ 15 w 17"/>
                      <a:gd name="T5" fmla="*/ 8 h 9"/>
                      <a:gd name="T6" fmla="*/ 2 w 17"/>
                      <a:gd name="T7" fmla="*/ 2 h 9"/>
                      <a:gd name="T8" fmla="*/ 1 w 17"/>
                      <a:gd name="T9" fmla="*/ 6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7" h="9">
                        <a:moveTo>
                          <a:pt x="1" y="6"/>
                        </a:moveTo>
                        <a:cubicBezTo>
                          <a:pt x="1" y="9"/>
                          <a:pt x="1" y="9"/>
                          <a:pt x="4" y="9"/>
                        </a:cubicBezTo>
                        <a:cubicBezTo>
                          <a:pt x="7" y="9"/>
                          <a:pt x="17" y="9"/>
                          <a:pt x="15" y="8"/>
                        </a:cubicBezTo>
                        <a:cubicBezTo>
                          <a:pt x="14" y="8"/>
                          <a:pt x="10" y="6"/>
                          <a:pt x="2" y="2"/>
                        </a:cubicBezTo>
                        <a:cubicBezTo>
                          <a:pt x="0" y="0"/>
                          <a:pt x="1" y="3"/>
                          <a:pt x="1" y="6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" name="Freeform 291">
                    <a:extLst>
                      <a:ext uri="{FF2B5EF4-FFF2-40B4-BE49-F238E27FC236}">
                        <a16:creationId xmlns:a16="http://schemas.microsoft.com/office/drawing/2014/main" id="{981D2EEC-3920-1DE8-7A55-C64B81D4FAC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07288" y="4723607"/>
                    <a:ext cx="157163" cy="173038"/>
                  </a:xfrm>
                  <a:custGeom>
                    <a:avLst/>
                    <a:gdLst>
                      <a:gd name="T0" fmla="*/ 76 w 80"/>
                      <a:gd name="T1" fmla="*/ 31 h 88"/>
                      <a:gd name="T2" fmla="*/ 1 w 80"/>
                      <a:gd name="T3" fmla="*/ 14 h 88"/>
                      <a:gd name="T4" fmla="*/ 3 w 80"/>
                      <a:gd name="T5" fmla="*/ 26 h 88"/>
                      <a:gd name="T6" fmla="*/ 31 w 80"/>
                      <a:gd name="T7" fmla="*/ 35 h 88"/>
                      <a:gd name="T8" fmla="*/ 27 w 80"/>
                      <a:gd name="T9" fmla="*/ 78 h 88"/>
                      <a:gd name="T10" fmla="*/ 47 w 80"/>
                      <a:gd name="T11" fmla="*/ 66 h 88"/>
                      <a:gd name="T12" fmla="*/ 74 w 80"/>
                      <a:gd name="T13" fmla="*/ 88 h 88"/>
                      <a:gd name="T14" fmla="*/ 76 w 80"/>
                      <a:gd name="T15" fmla="*/ 31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0" h="88">
                        <a:moveTo>
                          <a:pt x="76" y="31"/>
                        </a:moveTo>
                        <a:cubicBezTo>
                          <a:pt x="26" y="2"/>
                          <a:pt x="6" y="0"/>
                          <a:pt x="1" y="14"/>
                        </a:cubicBezTo>
                        <a:cubicBezTo>
                          <a:pt x="0" y="17"/>
                          <a:pt x="0" y="22"/>
                          <a:pt x="3" y="26"/>
                        </a:cubicBezTo>
                        <a:cubicBezTo>
                          <a:pt x="19" y="24"/>
                          <a:pt x="35" y="24"/>
                          <a:pt x="31" y="35"/>
                        </a:cubicBezTo>
                        <a:cubicBezTo>
                          <a:pt x="30" y="39"/>
                          <a:pt x="13" y="76"/>
                          <a:pt x="27" y="78"/>
                        </a:cubicBezTo>
                        <a:cubicBezTo>
                          <a:pt x="30" y="73"/>
                          <a:pt x="37" y="60"/>
                          <a:pt x="47" y="66"/>
                        </a:cubicBezTo>
                        <a:cubicBezTo>
                          <a:pt x="53" y="69"/>
                          <a:pt x="47" y="83"/>
                          <a:pt x="74" y="88"/>
                        </a:cubicBezTo>
                        <a:cubicBezTo>
                          <a:pt x="76" y="66"/>
                          <a:pt x="80" y="39"/>
                          <a:pt x="76" y="31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" name="Freeform 292">
                    <a:extLst>
                      <a:ext uri="{FF2B5EF4-FFF2-40B4-BE49-F238E27FC236}">
                        <a16:creationId xmlns:a16="http://schemas.microsoft.com/office/drawing/2014/main" id="{7702075C-28BF-3A4C-C400-3EE768A99EB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215188" y="4896645"/>
                    <a:ext cx="711200" cy="517525"/>
                  </a:xfrm>
                  <a:custGeom>
                    <a:avLst/>
                    <a:gdLst>
                      <a:gd name="T0" fmla="*/ 339 w 362"/>
                      <a:gd name="T1" fmla="*/ 123 h 264"/>
                      <a:gd name="T2" fmla="*/ 256 w 362"/>
                      <a:gd name="T3" fmla="*/ 236 h 264"/>
                      <a:gd name="T4" fmla="*/ 191 w 362"/>
                      <a:gd name="T5" fmla="*/ 262 h 264"/>
                      <a:gd name="T6" fmla="*/ 3 w 362"/>
                      <a:gd name="T7" fmla="*/ 259 h 264"/>
                      <a:gd name="T8" fmla="*/ 0 w 362"/>
                      <a:gd name="T9" fmla="*/ 236 h 264"/>
                      <a:gd name="T10" fmla="*/ 200 w 362"/>
                      <a:gd name="T11" fmla="*/ 220 h 264"/>
                      <a:gd name="T12" fmla="*/ 268 w 362"/>
                      <a:gd name="T13" fmla="*/ 58 h 264"/>
                      <a:gd name="T14" fmla="*/ 339 w 362"/>
                      <a:gd name="T15" fmla="*/ 123 h 2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62" h="264">
                        <a:moveTo>
                          <a:pt x="339" y="123"/>
                        </a:moveTo>
                        <a:cubicBezTo>
                          <a:pt x="316" y="156"/>
                          <a:pt x="262" y="228"/>
                          <a:pt x="256" y="236"/>
                        </a:cubicBezTo>
                        <a:cubicBezTo>
                          <a:pt x="249" y="243"/>
                          <a:pt x="241" y="262"/>
                          <a:pt x="191" y="262"/>
                        </a:cubicBezTo>
                        <a:cubicBezTo>
                          <a:pt x="126" y="264"/>
                          <a:pt x="3" y="259"/>
                          <a:pt x="3" y="259"/>
                        </a:cubicBezTo>
                        <a:cubicBezTo>
                          <a:pt x="3" y="259"/>
                          <a:pt x="1" y="247"/>
                          <a:pt x="0" y="236"/>
                        </a:cubicBezTo>
                        <a:cubicBezTo>
                          <a:pt x="71" y="229"/>
                          <a:pt x="200" y="220"/>
                          <a:pt x="200" y="220"/>
                        </a:cubicBezTo>
                        <a:cubicBezTo>
                          <a:pt x="200" y="220"/>
                          <a:pt x="250" y="92"/>
                          <a:pt x="268" y="58"/>
                        </a:cubicBezTo>
                        <a:cubicBezTo>
                          <a:pt x="315" y="0"/>
                          <a:pt x="362" y="89"/>
                          <a:pt x="339" y="123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" name="Freeform 293">
                    <a:extLst>
                      <a:ext uri="{FF2B5EF4-FFF2-40B4-BE49-F238E27FC236}">
                        <a16:creationId xmlns:a16="http://schemas.microsoft.com/office/drawing/2014/main" id="{F2C1B9DA-DE97-0AC7-ED0B-FDB959A14E4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26326" y="6409532"/>
                    <a:ext cx="142875" cy="50800"/>
                  </a:xfrm>
                  <a:custGeom>
                    <a:avLst/>
                    <a:gdLst>
                      <a:gd name="T0" fmla="*/ 72 w 72"/>
                      <a:gd name="T1" fmla="*/ 4 h 26"/>
                      <a:gd name="T2" fmla="*/ 72 w 72"/>
                      <a:gd name="T3" fmla="*/ 26 h 26"/>
                      <a:gd name="T4" fmla="*/ 53 w 72"/>
                      <a:gd name="T5" fmla="*/ 26 h 26"/>
                      <a:gd name="T6" fmla="*/ 53 w 72"/>
                      <a:gd name="T7" fmla="*/ 18 h 26"/>
                      <a:gd name="T8" fmla="*/ 27 w 72"/>
                      <a:gd name="T9" fmla="*/ 26 h 26"/>
                      <a:gd name="T10" fmla="*/ 3 w 72"/>
                      <a:gd name="T11" fmla="*/ 25 h 26"/>
                      <a:gd name="T12" fmla="*/ 4 w 72"/>
                      <a:gd name="T13" fmla="*/ 20 h 26"/>
                      <a:gd name="T14" fmla="*/ 29 w 72"/>
                      <a:gd name="T15" fmla="*/ 13 h 26"/>
                      <a:gd name="T16" fmla="*/ 48 w 72"/>
                      <a:gd name="T17" fmla="*/ 0 h 26"/>
                      <a:gd name="T18" fmla="*/ 72 w 72"/>
                      <a:gd name="T19" fmla="*/ 4 h 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2" h="26">
                        <a:moveTo>
                          <a:pt x="72" y="4"/>
                        </a:moveTo>
                        <a:cubicBezTo>
                          <a:pt x="72" y="26"/>
                          <a:pt x="72" y="26"/>
                          <a:pt x="72" y="26"/>
                        </a:cubicBez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18"/>
                          <a:pt x="53" y="18"/>
                          <a:pt x="53" y="18"/>
                        </a:cubicBezTo>
                        <a:cubicBezTo>
                          <a:pt x="27" y="26"/>
                          <a:pt x="27" y="26"/>
                          <a:pt x="27" y="26"/>
                        </a:cubicBezTo>
                        <a:cubicBezTo>
                          <a:pt x="3" y="25"/>
                          <a:pt x="3" y="25"/>
                          <a:pt x="3" y="25"/>
                        </a:cubicBezTo>
                        <a:cubicBezTo>
                          <a:pt x="3" y="25"/>
                          <a:pt x="0" y="21"/>
                          <a:pt x="4" y="20"/>
                        </a:cubicBezTo>
                        <a:cubicBezTo>
                          <a:pt x="5" y="20"/>
                          <a:pt x="29" y="13"/>
                          <a:pt x="29" y="13"/>
                        </a:cubicBezTo>
                        <a:cubicBezTo>
                          <a:pt x="48" y="0"/>
                          <a:pt x="48" y="0"/>
                          <a:pt x="48" y="0"/>
                        </a:cubicBezTo>
                        <a:lnTo>
                          <a:pt x="72" y="4"/>
                        </a:lnTo>
                        <a:close/>
                      </a:path>
                    </a:pathLst>
                  </a:custGeom>
                  <a:solidFill>
                    <a:srgbClr val="17235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Freeform 294">
                    <a:extLst>
                      <a:ext uri="{FF2B5EF4-FFF2-40B4-BE49-F238E27FC236}">
                        <a16:creationId xmlns:a16="http://schemas.microsoft.com/office/drawing/2014/main" id="{641A04BB-68DF-DA42-27D9-CF3136ADE26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2051" y="5498307"/>
                    <a:ext cx="1069975" cy="912813"/>
                  </a:xfrm>
                  <a:custGeom>
                    <a:avLst/>
                    <a:gdLst>
                      <a:gd name="T0" fmla="*/ 4 w 545"/>
                      <a:gd name="T1" fmla="*/ 465 h 465"/>
                      <a:gd name="T2" fmla="*/ 0 w 545"/>
                      <a:gd name="T3" fmla="*/ 147 h 465"/>
                      <a:gd name="T4" fmla="*/ 0 w 545"/>
                      <a:gd name="T5" fmla="*/ 147 h 465"/>
                      <a:gd name="T6" fmla="*/ 51 w 545"/>
                      <a:gd name="T7" fmla="*/ 77 h 465"/>
                      <a:gd name="T8" fmla="*/ 456 w 545"/>
                      <a:gd name="T9" fmla="*/ 0 h 465"/>
                      <a:gd name="T10" fmla="*/ 313 w 545"/>
                      <a:gd name="T11" fmla="*/ 160 h 465"/>
                      <a:gd name="T12" fmla="*/ 83 w 545"/>
                      <a:gd name="T13" fmla="*/ 160 h 465"/>
                      <a:gd name="T14" fmla="*/ 38 w 545"/>
                      <a:gd name="T15" fmla="*/ 463 h 465"/>
                      <a:gd name="T16" fmla="*/ 4 w 545"/>
                      <a:gd name="T17" fmla="*/ 465 h 4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545" h="465">
                        <a:moveTo>
                          <a:pt x="4" y="465"/>
                        </a:move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3" y="93"/>
                          <a:pt x="38" y="80"/>
                          <a:pt x="51" y="77"/>
                        </a:cubicBezTo>
                        <a:cubicBezTo>
                          <a:pt x="64" y="74"/>
                          <a:pt x="456" y="0"/>
                          <a:pt x="456" y="0"/>
                        </a:cubicBezTo>
                        <a:cubicBezTo>
                          <a:pt x="456" y="0"/>
                          <a:pt x="545" y="149"/>
                          <a:pt x="313" y="160"/>
                        </a:cubicBezTo>
                        <a:cubicBezTo>
                          <a:pt x="255" y="163"/>
                          <a:pt x="234" y="154"/>
                          <a:pt x="83" y="160"/>
                        </a:cubicBezTo>
                        <a:cubicBezTo>
                          <a:pt x="113" y="217"/>
                          <a:pt x="38" y="463"/>
                          <a:pt x="38" y="463"/>
                        </a:cubicBezTo>
                        <a:lnTo>
                          <a:pt x="4" y="46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23" name="Group 1028">
                  <a:extLst>
                    <a:ext uri="{FF2B5EF4-FFF2-40B4-BE49-F238E27FC236}">
                      <a16:creationId xmlns:a16="http://schemas.microsoft.com/office/drawing/2014/main" id="{11819283-457E-A8F5-50CD-1637D70904A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683568" y="4089209"/>
                  <a:ext cx="936299" cy="705312"/>
                  <a:chOff x="9990467" y="4838701"/>
                  <a:chExt cx="1203326" cy="906463"/>
                </a:xfrm>
              </p:grpSpPr>
              <p:sp>
                <p:nvSpPr>
                  <p:cNvPr id="27" name="Freeform 277">
                    <a:extLst>
                      <a:ext uri="{FF2B5EF4-FFF2-40B4-BE49-F238E27FC236}">
                        <a16:creationId xmlns:a16="http://schemas.microsoft.com/office/drawing/2014/main" id="{A24B9E0C-9B28-9ED6-EA83-C2232B7516A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990467" y="4922838"/>
                    <a:ext cx="176213" cy="80963"/>
                  </a:xfrm>
                  <a:custGeom>
                    <a:avLst/>
                    <a:gdLst>
                      <a:gd name="T0" fmla="*/ 37 w 89"/>
                      <a:gd name="T1" fmla="*/ 27 h 42"/>
                      <a:gd name="T2" fmla="*/ 13 w 89"/>
                      <a:gd name="T3" fmla="*/ 29 h 42"/>
                      <a:gd name="T4" fmla="*/ 17 w 89"/>
                      <a:gd name="T5" fmla="*/ 24 h 42"/>
                      <a:gd name="T6" fmla="*/ 24 w 89"/>
                      <a:gd name="T7" fmla="*/ 21 h 42"/>
                      <a:gd name="T8" fmla="*/ 10 w 89"/>
                      <a:gd name="T9" fmla="*/ 8 h 42"/>
                      <a:gd name="T10" fmla="*/ 6 w 89"/>
                      <a:gd name="T11" fmla="*/ 8 h 42"/>
                      <a:gd name="T12" fmla="*/ 3 w 89"/>
                      <a:gd name="T13" fmla="*/ 5 h 42"/>
                      <a:gd name="T14" fmla="*/ 10 w 89"/>
                      <a:gd name="T15" fmla="*/ 4 h 42"/>
                      <a:gd name="T16" fmla="*/ 2 w 89"/>
                      <a:gd name="T17" fmla="*/ 3 h 42"/>
                      <a:gd name="T18" fmla="*/ 1 w 89"/>
                      <a:gd name="T19" fmla="*/ 0 h 42"/>
                      <a:gd name="T20" fmla="*/ 18 w 89"/>
                      <a:gd name="T21" fmla="*/ 1 h 42"/>
                      <a:gd name="T22" fmla="*/ 37 w 89"/>
                      <a:gd name="T23" fmla="*/ 16 h 42"/>
                      <a:gd name="T24" fmla="*/ 88 w 89"/>
                      <a:gd name="T25" fmla="*/ 24 h 42"/>
                      <a:gd name="T26" fmla="*/ 84 w 89"/>
                      <a:gd name="T27" fmla="*/ 42 h 42"/>
                      <a:gd name="T28" fmla="*/ 37 w 89"/>
                      <a:gd name="T29" fmla="*/ 27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89" h="42">
                        <a:moveTo>
                          <a:pt x="37" y="27"/>
                        </a:moveTo>
                        <a:cubicBezTo>
                          <a:pt x="28" y="27"/>
                          <a:pt x="13" y="29"/>
                          <a:pt x="13" y="29"/>
                        </a:cubicBezTo>
                        <a:cubicBezTo>
                          <a:pt x="13" y="29"/>
                          <a:pt x="14" y="24"/>
                          <a:pt x="17" y="24"/>
                        </a:cubicBezTo>
                        <a:cubicBezTo>
                          <a:pt x="23" y="23"/>
                          <a:pt x="24" y="21"/>
                          <a:pt x="24" y="21"/>
                        </a:cubicBezTo>
                        <a:cubicBezTo>
                          <a:pt x="10" y="8"/>
                          <a:pt x="10" y="8"/>
                          <a:pt x="10" y="8"/>
                        </a:cubicBezTo>
                        <a:cubicBezTo>
                          <a:pt x="6" y="8"/>
                          <a:pt x="6" y="8"/>
                          <a:pt x="6" y="8"/>
                        </a:cubicBezTo>
                        <a:cubicBezTo>
                          <a:pt x="3" y="5"/>
                          <a:pt x="3" y="5"/>
                          <a:pt x="3" y="5"/>
                        </a:cubicBezTo>
                        <a:cubicBezTo>
                          <a:pt x="10" y="4"/>
                          <a:pt x="10" y="4"/>
                          <a:pt x="10" y="4"/>
                        </a:cubicBezTo>
                        <a:cubicBezTo>
                          <a:pt x="10" y="4"/>
                          <a:pt x="3" y="4"/>
                          <a:pt x="2" y="3"/>
                        </a:cubicBezTo>
                        <a:cubicBezTo>
                          <a:pt x="1" y="2"/>
                          <a:pt x="0" y="0"/>
                          <a:pt x="1" y="0"/>
                        </a:cubicBezTo>
                        <a:cubicBezTo>
                          <a:pt x="9" y="0"/>
                          <a:pt x="17" y="0"/>
                          <a:pt x="18" y="1"/>
                        </a:cubicBezTo>
                        <a:cubicBezTo>
                          <a:pt x="20" y="2"/>
                          <a:pt x="37" y="16"/>
                          <a:pt x="37" y="16"/>
                        </a:cubicBezTo>
                        <a:cubicBezTo>
                          <a:pt x="88" y="24"/>
                          <a:pt x="88" y="24"/>
                          <a:pt x="88" y="24"/>
                        </a:cubicBezTo>
                        <a:cubicBezTo>
                          <a:pt x="88" y="24"/>
                          <a:pt x="89" y="34"/>
                          <a:pt x="84" y="42"/>
                        </a:cubicBezTo>
                        <a:cubicBezTo>
                          <a:pt x="84" y="42"/>
                          <a:pt x="37" y="27"/>
                          <a:pt x="37" y="27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" name="Freeform 220">
                    <a:extLst>
                      <a:ext uri="{FF2B5EF4-FFF2-40B4-BE49-F238E27FC236}">
                        <a16:creationId xmlns:a16="http://schemas.microsoft.com/office/drawing/2014/main" id="{CF974EAA-16B2-A78E-18FB-AAD49C1E4EF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00042" y="4918076"/>
                    <a:ext cx="52388" cy="66675"/>
                  </a:xfrm>
                  <a:custGeom>
                    <a:avLst/>
                    <a:gdLst>
                      <a:gd name="T0" fmla="*/ 18 w 28"/>
                      <a:gd name="T1" fmla="*/ 23 h 36"/>
                      <a:gd name="T2" fmla="*/ 24 w 28"/>
                      <a:gd name="T3" fmla="*/ 33 h 36"/>
                      <a:gd name="T4" fmla="*/ 28 w 28"/>
                      <a:gd name="T5" fmla="*/ 33 h 36"/>
                      <a:gd name="T6" fmla="*/ 26 w 28"/>
                      <a:gd name="T7" fmla="*/ 17 h 36"/>
                      <a:gd name="T8" fmla="*/ 15 w 28"/>
                      <a:gd name="T9" fmla="*/ 7 h 36"/>
                      <a:gd name="T10" fmla="*/ 25 w 28"/>
                      <a:gd name="T11" fmla="*/ 6 h 36"/>
                      <a:gd name="T12" fmla="*/ 24 w 28"/>
                      <a:gd name="T13" fmla="*/ 1 h 36"/>
                      <a:gd name="T14" fmla="*/ 7 w 28"/>
                      <a:gd name="T15" fmla="*/ 0 h 36"/>
                      <a:gd name="T16" fmla="*/ 0 w 28"/>
                      <a:gd name="T17" fmla="*/ 1 h 36"/>
                      <a:gd name="T18" fmla="*/ 9 w 28"/>
                      <a:gd name="T19" fmla="*/ 9 h 36"/>
                      <a:gd name="T20" fmla="*/ 18 w 28"/>
                      <a:gd name="T21" fmla="*/ 23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8" h="36">
                        <a:moveTo>
                          <a:pt x="18" y="23"/>
                        </a:moveTo>
                        <a:cubicBezTo>
                          <a:pt x="20" y="26"/>
                          <a:pt x="24" y="32"/>
                          <a:pt x="24" y="33"/>
                        </a:cubicBezTo>
                        <a:cubicBezTo>
                          <a:pt x="25" y="36"/>
                          <a:pt x="28" y="33"/>
                          <a:pt x="28" y="33"/>
                        </a:cubicBezTo>
                        <a:cubicBezTo>
                          <a:pt x="28" y="33"/>
                          <a:pt x="27" y="20"/>
                          <a:pt x="26" y="17"/>
                        </a:cubicBezTo>
                        <a:cubicBezTo>
                          <a:pt x="26" y="15"/>
                          <a:pt x="15" y="7"/>
                          <a:pt x="15" y="7"/>
                        </a:cubicBezTo>
                        <a:cubicBezTo>
                          <a:pt x="25" y="6"/>
                          <a:pt x="25" y="6"/>
                          <a:pt x="25" y="6"/>
                        </a:cubicBezTo>
                        <a:cubicBezTo>
                          <a:pt x="24" y="1"/>
                          <a:pt x="24" y="1"/>
                          <a:pt x="24" y="1"/>
                        </a:cubicBezTo>
                        <a:cubicBezTo>
                          <a:pt x="24" y="1"/>
                          <a:pt x="15" y="1"/>
                          <a:pt x="7" y="0"/>
                        </a:cubicBezTo>
                        <a:cubicBezTo>
                          <a:pt x="3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9" y="9"/>
                        </a:cubicBezTo>
                        <a:cubicBezTo>
                          <a:pt x="18" y="15"/>
                          <a:pt x="18" y="21"/>
                          <a:pt x="18" y="2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" name="Freeform 260">
                    <a:extLst>
                      <a:ext uri="{FF2B5EF4-FFF2-40B4-BE49-F238E27FC236}">
                        <a16:creationId xmlns:a16="http://schemas.microsoft.com/office/drawing/2014/main" id="{24D718F2-1459-0C36-E017-79C3A64EAEE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58805" y="5259389"/>
                    <a:ext cx="534988" cy="322263"/>
                  </a:xfrm>
                  <a:custGeom>
                    <a:avLst/>
                    <a:gdLst>
                      <a:gd name="T0" fmla="*/ 270 w 272"/>
                      <a:gd name="T1" fmla="*/ 136 h 164"/>
                      <a:gd name="T2" fmla="*/ 262 w 272"/>
                      <a:gd name="T3" fmla="*/ 138 h 164"/>
                      <a:gd name="T4" fmla="*/ 271 w 272"/>
                      <a:gd name="T5" fmla="*/ 147 h 164"/>
                      <a:gd name="T6" fmla="*/ 272 w 272"/>
                      <a:gd name="T7" fmla="*/ 157 h 164"/>
                      <a:gd name="T8" fmla="*/ 269 w 272"/>
                      <a:gd name="T9" fmla="*/ 157 h 164"/>
                      <a:gd name="T10" fmla="*/ 265 w 272"/>
                      <a:gd name="T11" fmla="*/ 150 h 164"/>
                      <a:gd name="T12" fmla="*/ 251 w 272"/>
                      <a:gd name="T13" fmla="*/ 141 h 164"/>
                      <a:gd name="T14" fmla="*/ 146 w 272"/>
                      <a:gd name="T15" fmla="*/ 156 h 164"/>
                      <a:gd name="T16" fmla="*/ 92 w 272"/>
                      <a:gd name="T17" fmla="*/ 164 h 164"/>
                      <a:gd name="T18" fmla="*/ 65 w 272"/>
                      <a:gd name="T19" fmla="*/ 148 h 164"/>
                      <a:gd name="T20" fmla="*/ 0 w 272"/>
                      <a:gd name="T21" fmla="*/ 9 h 164"/>
                      <a:gd name="T22" fmla="*/ 76 w 272"/>
                      <a:gd name="T23" fmla="*/ 19 h 164"/>
                      <a:gd name="T24" fmla="*/ 93 w 272"/>
                      <a:gd name="T25" fmla="*/ 134 h 164"/>
                      <a:gd name="T26" fmla="*/ 251 w 272"/>
                      <a:gd name="T27" fmla="*/ 132 h 164"/>
                      <a:gd name="T28" fmla="*/ 257 w 272"/>
                      <a:gd name="T29" fmla="*/ 132 h 164"/>
                      <a:gd name="T30" fmla="*/ 270 w 272"/>
                      <a:gd name="T31" fmla="*/ 133 h 164"/>
                      <a:gd name="T32" fmla="*/ 270 w 272"/>
                      <a:gd name="T33" fmla="*/ 136 h 1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272" h="164">
                        <a:moveTo>
                          <a:pt x="270" y="136"/>
                        </a:moveTo>
                        <a:cubicBezTo>
                          <a:pt x="262" y="138"/>
                          <a:pt x="262" y="138"/>
                          <a:pt x="262" y="138"/>
                        </a:cubicBezTo>
                        <a:cubicBezTo>
                          <a:pt x="271" y="147"/>
                          <a:pt x="271" y="147"/>
                          <a:pt x="271" y="147"/>
                        </a:cubicBezTo>
                        <a:cubicBezTo>
                          <a:pt x="272" y="157"/>
                          <a:pt x="272" y="157"/>
                          <a:pt x="272" y="157"/>
                        </a:cubicBezTo>
                        <a:cubicBezTo>
                          <a:pt x="272" y="157"/>
                          <a:pt x="270" y="159"/>
                          <a:pt x="269" y="157"/>
                        </a:cubicBezTo>
                        <a:cubicBezTo>
                          <a:pt x="269" y="156"/>
                          <a:pt x="265" y="150"/>
                          <a:pt x="265" y="150"/>
                        </a:cubicBezTo>
                        <a:cubicBezTo>
                          <a:pt x="251" y="141"/>
                          <a:pt x="251" y="141"/>
                          <a:pt x="251" y="141"/>
                        </a:cubicBezTo>
                        <a:cubicBezTo>
                          <a:pt x="146" y="156"/>
                          <a:pt x="146" y="156"/>
                          <a:pt x="146" y="156"/>
                        </a:cubicBezTo>
                        <a:cubicBezTo>
                          <a:pt x="92" y="164"/>
                          <a:pt x="92" y="164"/>
                          <a:pt x="92" y="164"/>
                        </a:cubicBezTo>
                        <a:cubicBezTo>
                          <a:pt x="92" y="164"/>
                          <a:pt x="76" y="163"/>
                          <a:pt x="65" y="148"/>
                        </a:cubicBezTo>
                        <a:cubicBezTo>
                          <a:pt x="62" y="143"/>
                          <a:pt x="0" y="9"/>
                          <a:pt x="0" y="9"/>
                        </a:cubicBezTo>
                        <a:cubicBezTo>
                          <a:pt x="0" y="9"/>
                          <a:pt x="64" y="0"/>
                          <a:pt x="76" y="19"/>
                        </a:cubicBezTo>
                        <a:cubicBezTo>
                          <a:pt x="91" y="45"/>
                          <a:pt x="92" y="106"/>
                          <a:pt x="93" y="134"/>
                        </a:cubicBezTo>
                        <a:cubicBezTo>
                          <a:pt x="105" y="124"/>
                          <a:pt x="196" y="133"/>
                          <a:pt x="251" y="132"/>
                        </a:cubicBezTo>
                        <a:cubicBezTo>
                          <a:pt x="253" y="132"/>
                          <a:pt x="257" y="132"/>
                          <a:pt x="257" y="132"/>
                        </a:cubicBezTo>
                        <a:cubicBezTo>
                          <a:pt x="270" y="133"/>
                          <a:pt x="270" y="133"/>
                          <a:pt x="270" y="133"/>
                        </a:cubicBezTo>
                        <a:lnTo>
                          <a:pt x="270" y="136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" name="Freeform 261">
                    <a:extLst>
                      <a:ext uri="{FF2B5EF4-FFF2-40B4-BE49-F238E27FC236}">
                        <a16:creationId xmlns:a16="http://schemas.microsoft.com/office/drawing/2014/main" id="{81827D78-16B4-143B-F7D9-E6B059D9CCC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52517" y="5516564"/>
                    <a:ext cx="41275" cy="57150"/>
                  </a:xfrm>
                  <a:custGeom>
                    <a:avLst/>
                    <a:gdLst>
                      <a:gd name="T0" fmla="*/ 14 w 21"/>
                      <a:gd name="T1" fmla="*/ 19 h 29"/>
                      <a:gd name="T2" fmla="*/ 18 w 21"/>
                      <a:gd name="T3" fmla="*/ 26 h 29"/>
                      <a:gd name="T4" fmla="*/ 21 w 21"/>
                      <a:gd name="T5" fmla="*/ 27 h 29"/>
                      <a:gd name="T6" fmla="*/ 20 w 21"/>
                      <a:gd name="T7" fmla="*/ 15 h 29"/>
                      <a:gd name="T8" fmla="*/ 11 w 21"/>
                      <a:gd name="T9" fmla="*/ 7 h 29"/>
                      <a:gd name="T10" fmla="*/ 19 w 21"/>
                      <a:gd name="T11" fmla="*/ 5 h 29"/>
                      <a:gd name="T12" fmla="*/ 19 w 21"/>
                      <a:gd name="T13" fmla="*/ 1 h 29"/>
                      <a:gd name="T14" fmla="*/ 6 w 21"/>
                      <a:gd name="T15" fmla="*/ 1 h 29"/>
                      <a:gd name="T16" fmla="*/ 0 w 21"/>
                      <a:gd name="T17" fmla="*/ 1 h 29"/>
                      <a:gd name="T18" fmla="*/ 6 w 21"/>
                      <a:gd name="T19" fmla="*/ 8 h 29"/>
                      <a:gd name="T20" fmla="*/ 14 w 21"/>
                      <a:gd name="T21" fmla="*/ 19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1" h="29">
                        <a:moveTo>
                          <a:pt x="14" y="19"/>
                        </a:moveTo>
                        <a:cubicBezTo>
                          <a:pt x="15" y="21"/>
                          <a:pt x="18" y="26"/>
                          <a:pt x="18" y="26"/>
                        </a:cubicBezTo>
                        <a:cubicBezTo>
                          <a:pt x="19" y="29"/>
                          <a:pt x="21" y="27"/>
                          <a:pt x="21" y="27"/>
                        </a:cubicBezTo>
                        <a:cubicBezTo>
                          <a:pt x="21" y="27"/>
                          <a:pt x="20" y="17"/>
                          <a:pt x="20" y="15"/>
                        </a:cubicBezTo>
                        <a:cubicBezTo>
                          <a:pt x="20" y="12"/>
                          <a:pt x="11" y="7"/>
                          <a:pt x="11" y="7"/>
                        </a:cubicBezTo>
                        <a:cubicBezTo>
                          <a:pt x="19" y="5"/>
                          <a:pt x="19" y="5"/>
                          <a:pt x="19" y="5"/>
                        </a:cubicBezTo>
                        <a:cubicBezTo>
                          <a:pt x="19" y="1"/>
                          <a:pt x="19" y="1"/>
                          <a:pt x="19" y="1"/>
                        </a:cubicBezTo>
                        <a:cubicBezTo>
                          <a:pt x="19" y="1"/>
                          <a:pt x="11" y="1"/>
                          <a:pt x="6" y="1"/>
                        </a:cubicBezTo>
                        <a:cubicBezTo>
                          <a:pt x="2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6" y="8"/>
                        </a:cubicBezTo>
                        <a:cubicBezTo>
                          <a:pt x="14" y="12"/>
                          <a:pt x="13" y="17"/>
                          <a:pt x="14" y="1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" name="Freeform 262">
                    <a:extLst>
                      <a:ext uri="{FF2B5EF4-FFF2-40B4-BE49-F238E27FC236}">
                        <a16:creationId xmlns:a16="http://schemas.microsoft.com/office/drawing/2014/main" id="{A49788D7-D252-17A9-5D30-52C476823E7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39692" y="4965701"/>
                    <a:ext cx="346075" cy="90488"/>
                  </a:xfrm>
                  <a:custGeom>
                    <a:avLst/>
                    <a:gdLst>
                      <a:gd name="T0" fmla="*/ 3 w 176"/>
                      <a:gd name="T1" fmla="*/ 0 h 46"/>
                      <a:gd name="T2" fmla="*/ 47 w 176"/>
                      <a:gd name="T3" fmla="*/ 6 h 46"/>
                      <a:gd name="T4" fmla="*/ 133 w 176"/>
                      <a:gd name="T5" fmla="*/ 5 h 46"/>
                      <a:gd name="T6" fmla="*/ 167 w 176"/>
                      <a:gd name="T7" fmla="*/ 22 h 46"/>
                      <a:gd name="T8" fmla="*/ 145 w 176"/>
                      <a:gd name="T9" fmla="*/ 46 h 46"/>
                      <a:gd name="T10" fmla="*/ 0 w 176"/>
                      <a:gd name="T11" fmla="*/ 19 h 46"/>
                      <a:gd name="T12" fmla="*/ 3 w 176"/>
                      <a:gd name="T13" fmla="*/ 0 h 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76" h="46">
                        <a:moveTo>
                          <a:pt x="3" y="0"/>
                        </a:moveTo>
                        <a:cubicBezTo>
                          <a:pt x="10" y="1"/>
                          <a:pt x="29" y="5"/>
                          <a:pt x="47" y="6"/>
                        </a:cubicBezTo>
                        <a:cubicBezTo>
                          <a:pt x="79" y="8"/>
                          <a:pt x="93" y="6"/>
                          <a:pt x="133" y="5"/>
                        </a:cubicBezTo>
                        <a:cubicBezTo>
                          <a:pt x="176" y="3"/>
                          <a:pt x="167" y="22"/>
                          <a:pt x="167" y="22"/>
                        </a:cubicBezTo>
                        <a:cubicBezTo>
                          <a:pt x="167" y="22"/>
                          <a:pt x="152" y="40"/>
                          <a:pt x="145" y="46"/>
                        </a:cubicBezTo>
                        <a:cubicBezTo>
                          <a:pt x="68" y="36"/>
                          <a:pt x="21" y="25"/>
                          <a:pt x="0" y="19"/>
                        </a:cubicBezTo>
                        <a:cubicBezTo>
                          <a:pt x="0" y="19"/>
                          <a:pt x="1" y="4"/>
                          <a:pt x="3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" name="Freeform 263">
                    <a:extLst>
                      <a:ext uri="{FF2B5EF4-FFF2-40B4-BE49-F238E27FC236}">
                        <a16:creationId xmlns:a16="http://schemas.microsoft.com/office/drawing/2014/main" id="{ADC93299-0A91-6F1C-D157-4E3F4EDAC15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74642" y="4941889"/>
                    <a:ext cx="420688" cy="288925"/>
                  </a:xfrm>
                  <a:custGeom>
                    <a:avLst/>
                    <a:gdLst>
                      <a:gd name="T0" fmla="*/ 126 w 214"/>
                      <a:gd name="T1" fmla="*/ 147 h 147"/>
                      <a:gd name="T2" fmla="*/ 63 w 214"/>
                      <a:gd name="T3" fmla="*/ 110 h 147"/>
                      <a:gd name="T4" fmla="*/ 7 w 214"/>
                      <a:gd name="T5" fmla="*/ 22 h 147"/>
                      <a:gd name="T6" fmla="*/ 28 w 214"/>
                      <a:gd name="T7" fmla="*/ 8 h 147"/>
                      <a:gd name="T8" fmla="*/ 130 w 214"/>
                      <a:gd name="T9" fmla="*/ 44 h 147"/>
                      <a:gd name="T10" fmla="*/ 214 w 214"/>
                      <a:gd name="T11" fmla="*/ 136 h 147"/>
                      <a:gd name="T12" fmla="*/ 126 w 214"/>
                      <a:gd name="T13" fmla="*/ 147 h 1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14" h="147">
                        <a:moveTo>
                          <a:pt x="126" y="147"/>
                        </a:moveTo>
                        <a:cubicBezTo>
                          <a:pt x="123" y="141"/>
                          <a:pt x="112" y="111"/>
                          <a:pt x="63" y="110"/>
                        </a:cubicBezTo>
                        <a:cubicBezTo>
                          <a:pt x="0" y="108"/>
                          <a:pt x="7" y="22"/>
                          <a:pt x="7" y="22"/>
                        </a:cubicBezTo>
                        <a:cubicBezTo>
                          <a:pt x="7" y="22"/>
                          <a:pt x="18" y="11"/>
                          <a:pt x="28" y="8"/>
                        </a:cubicBezTo>
                        <a:cubicBezTo>
                          <a:pt x="53" y="0"/>
                          <a:pt x="94" y="11"/>
                          <a:pt x="130" y="44"/>
                        </a:cubicBezTo>
                        <a:cubicBezTo>
                          <a:pt x="181" y="90"/>
                          <a:pt x="214" y="136"/>
                          <a:pt x="214" y="136"/>
                        </a:cubicBezTo>
                        <a:cubicBezTo>
                          <a:pt x="214" y="136"/>
                          <a:pt x="175" y="134"/>
                          <a:pt x="126" y="147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" name="Freeform 264">
                    <a:extLst>
                      <a:ext uri="{FF2B5EF4-FFF2-40B4-BE49-F238E27FC236}">
                        <a16:creationId xmlns:a16="http://schemas.microsoft.com/office/drawing/2014/main" id="{449A2A94-FA85-066A-01AB-ED1B8D87C61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5580" y="5221289"/>
                    <a:ext cx="611188" cy="523875"/>
                  </a:xfrm>
                  <a:custGeom>
                    <a:avLst/>
                    <a:gdLst>
                      <a:gd name="T0" fmla="*/ 2 w 311"/>
                      <a:gd name="T1" fmla="*/ 259 h 267"/>
                      <a:gd name="T2" fmla="*/ 10 w 311"/>
                      <a:gd name="T3" fmla="*/ 257 h 267"/>
                      <a:gd name="T4" fmla="*/ 22 w 311"/>
                      <a:gd name="T5" fmla="*/ 247 h 267"/>
                      <a:gd name="T6" fmla="*/ 44 w 311"/>
                      <a:gd name="T7" fmla="*/ 81 h 267"/>
                      <a:gd name="T8" fmla="*/ 44 w 311"/>
                      <a:gd name="T9" fmla="*/ 81 h 267"/>
                      <a:gd name="T10" fmla="*/ 66 w 311"/>
                      <a:gd name="T11" fmla="*/ 42 h 267"/>
                      <a:gd name="T12" fmla="*/ 276 w 311"/>
                      <a:gd name="T13" fmla="*/ 0 h 267"/>
                      <a:gd name="T14" fmla="*/ 213 w 311"/>
                      <a:gd name="T15" fmla="*/ 71 h 267"/>
                      <a:gd name="T16" fmla="*/ 82 w 311"/>
                      <a:gd name="T17" fmla="*/ 79 h 267"/>
                      <a:gd name="T18" fmla="*/ 31 w 311"/>
                      <a:gd name="T19" fmla="*/ 249 h 267"/>
                      <a:gd name="T20" fmla="*/ 29 w 311"/>
                      <a:gd name="T21" fmla="*/ 255 h 267"/>
                      <a:gd name="T22" fmla="*/ 25 w 311"/>
                      <a:gd name="T23" fmla="*/ 267 h 267"/>
                      <a:gd name="T24" fmla="*/ 22 w 311"/>
                      <a:gd name="T25" fmla="*/ 266 h 267"/>
                      <a:gd name="T26" fmla="*/ 22 w 311"/>
                      <a:gd name="T27" fmla="*/ 259 h 267"/>
                      <a:gd name="T28" fmla="*/ 11 w 311"/>
                      <a:gd name="T29" fmla="*/ 264 h 267"/>
                      <a:gd name="T30" fmla="*/ 1 w 311"/>
                      <a:gd name="T31" fmla="*/ 262 h 267"/>
                      <a:gd name="T32" fmla="*/ 2 w 311"/>
                      <a:gd name="T33" fmla="*/ 259 h 2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11" h="267">
                        <a:moveTo>
                          <a:pt x="2" y="259"/>
                        </a:moveTo>
                        <a:cubicBezTo>
                          <a:pt x="3" y="259"/>
                          <a:pt x="10" y="257"/>
                          <a:pt x="10" y="257"/>
                        </a:cubicBezTo>
                        <a:cubicBezTo>
                          <a:pt x="22" y="247"/>
                          <a:pt x="22" y="247"/>
                          <a:pt x="22" y="247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2" y="52"/>
                          <a:pt x="66" y="42"/>
                          <a:pt x="66" y="42"/>
                        </a:cubicBezTo>
                        <a:cubicBezTo>
                          <a:pt x="276" y="0"/>
                          <a:pt x="276" y="0"/>
                          <a:pt x="276" y="0"/>
                        </a:cubicBezTo>
                        <a:cubicBezTo>
                          <a:pt x="276" y="0"/>
                          <a:pt x="311" y="59"/>
                          <a:pt x="213" y="71"/>
                        </a:cubicBezTo>
                        <a:cubicBezTo>
                          <a:pt x="182" y="74"/>
                          <a:pt x="161" y="70"/>
                          <a:pt x="82" y="79"/>
                        </a:cubicBezTo>
                        <a:cubicBezTo>
                          <a:pt x="99" y="107"/>
                          <a:pt x="31" y="249"/>
                          <a:pt x="31" y="249"/>
                        </a:cubicBezTo>
                        <a:cubicBezTo>
                          <a:pt x="29" y="255"/>
                          <a:pt x="29" y="255"/>
                          <a:pt x="29" y="255"/>
                        </a:cubicBezTo>
                        <a:cubicBezTo>
                          <a:pt x="25" y="267"/>
                          <a:pt x="25" y="267"/>
                          <a:pt x="25" y="267"/>
                        </a:cubicBezTo>
                        <a:cubicBezTo>
                          <a:pt x="22" y="266"/>
                          <a:pt x="22" y="266"/>
                          <a:pt x="22" y="266"/>
                        </a:cubicBezTo>
                        <a:cubicBezTo>
                          <a:pt x="22" y="259"/>
                          <a:pt x="22" y="259"/>
                          <a:pt x="22" y="259"/>
                        </a:cubicBezTo>
                        <a:cubicBezTo>
                          <a:pt x="11" y="264"/>
                          <a:pt x="11" y="264"/>
                          <a:pt x="11" y="264"/>
                        </a:cubicBezTo>
                        <a:cubicBezTo>
                          <a:pt x="1" y="262"/>
                          <a:pt x="1" y="262"/>
                          <a:pt x="1" y="262"/>
                        </a:cubicBezTo>
                        <a:cubicBezTo>
                          <a:pt x="1" y="262"/>
                          <a:pt x="0" y="259"/>
                          <a:pt x="2" y="25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" name="Freeform 265">
                    <a:extLst>
                      <a:ext uri="{FF2B5EF4-FFF2-40B4-BE49-F238E27FC236}">
                        <a16:creationId xmlns:a16="http://schemas.microsoft.com/office/drawing/2014/main" id="{25B60BB9-173D-1B7A-79B4-4A6C5D8A2A7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4167" y="5197476"/>
                    <a:ext cx="487363" cy="219075"/>
                  </a:xfrm>
                  <a:custGeom>
                    <a:avLst/>
                    <a:gdLst>
                      <a:gd name="T0" fmla="*/ 206 w 248"/>
                      <a:gd name="T1" fmla="*/ 0 h 112"/>
                      <a:gd name="T2" fmla="*/ 248 w 248"/>
                      <a:gd name="T3" fmla="*/ 97 h 112"/>
                      <a:gd name="T4" fmla="*/ 26 w 248"/>
                      <a:gd name="T5" fmla="*/ 83 h 112"/>
                      <a:gd name="T6" fmla="*/ 0 w 248"/>
                      <a:gd name="T7" fmla="*/ 52 h 112"/>
                      <a:gd name="T8" fmla="*/ 206 w 248"/>
                      <a:gd name="T9" fmla="*/ 0 h 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8" h="112">
                        <a:moveTo>
                          <a:pt x="206" y="0"/>
                        </a:moveTo>
                        <a:cubicBezTo>
                          <a:pt x="240" y="22"/>
                          <a:pt x="215" y="69"/>
                          <a:pt x="248" y="97"/>
                        </a:cubicBezTo>
                        <a:cubicBezTo>
                          <a:pt x="219" y="112"/>
                          <a:pt x="79" y="112"/>
                          <a:pt x="26" y="83"/>
                        </a:cubicBezTo>
                        <a:cubicBezTo>
                          <a:pt x="4" y="71"/>
                          <a:pt x="0" y="52"/>
                          <a:pt x="0" y="52"/>
                        </a:cubicBezTo>
                        <a:cubicBezTo>
                          <a:pt x="0" y="52"/>
                          <a:pt x="177" y="6"/>
                          <a:pt x="206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" name="Freeform 266">
                    <a:extLst>
                      <a:ext uri="{FF2B5EF4-FFF2-40B4-BE49-F238E27FC236}">
                        <a16:creationId xmlns:a16="http://schemas.microsoft.com/office/drawing/2014/main" id="{E9452025-65DD-A678-930E-04CEC3D2BB6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2105" y="4964114"/>
                    <a:ext cx="63500" cy="134938"/>
                  </a:xfrm>
                  <a:custGeom>
                    <a:avLst/>
                    <a:gdLst>
                      <a:gd name="T0" fmla="*/ 32 w 32"/>
                      <a:gd name="T1" fmla="*/ 69 h 69"/>
                      <a:gd name="T2" fmla="*/ 20 w 32"/>
                      <a:gd name="T3" fmla="*/ 0 h 69"/>
                      <a:gd name="T4" fmla="*/ 4 w 32"/>
                      <a:gd name="T5" fmla="*/ 14 h 69"/>
                      <a:gd name="T6" fmla="*/ 32 w 32"/>
                      <a:gd name="T7" fmla="*/ 69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2" h="69">
                        <a:moveTo>
                          <a:pt x="32" y="69"/>
                        </a:moveTo>
                        <a:cubicBezTo>
                          <a:pt x="32" y="69"/>
                          <a:pt x="7" y="24"/>
                          <a:pt x="20" y="0"/>
                        </a:cubicBezTo>
                        <a:cubicBezTo>
                          <a:pt x="17" y="5"/>
                          <a:pt x="12" y="15"/>
                          <a:pt x="4" y="14"/>
                        </a:cubicBezTo>
                        <a:cubicBezTo>
                          <a:pt x="0" y="41"/>
                          <a:pt x="32" y="69"/>
                          <a:pt x="32" y="6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" name="Freeform 267">
                    <a:extLst>
                      <a:ext uri="{FF2B5EF4-FFF2-40B4-BE49-F238E27FC236}">
                        <a16:creationId xmlns:a16="http://schemas.microsoft.com/office/drawing/2014/main" id="{2C1DA05E-68AE-456F-1184-F39EF0A9BFF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69880" y="4946651"/>
                    <a:ext cx="88900" cy="160338"/>
                  </a:xfrm>
                  <a:custGeom>
                    <a:avLst/>
                    <a:gdLst>
                      <a:gd name="T0" fmla="*/ 45 w 45"/>
                      <a:gd name="T1" fmla="*/ 82 h 82"/>
                      <a:gd name="T2" fmla="*/ 17 w 45"/>
                      <a:gd name="T3" fmla="*/ 19 h 82"/>
                      <a:gd name="T4" fmla="*/ 12 w 45"/>
                      <a:gd name="T5" fmla="*/ 12 h 82"/>
                      <a:gd name="T6" fmla="*/ 45 w 45"/>
                      <a:gd name="T7" fmla="*/ 82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5" h="82">
                        <a:moveTo>
                          <a:pt x="45" y="82"/>
                        </a:moveTo>
                        <a:cubicBezTo>
                          <a:pt x="45" y="82"/>
                          <a:pt x="15" y="54"/>
                          <a:pt x="17" y="19"/>
                        </a:cubicBezTo>
                        <a:cubicBezTo>
                          <a:pt x="17" y="9"/>
                          <a:pt x="15" y="0"/>
                          <a:pt x="12" y="12"/>
                        </a:cubicBezTo>
                        <a:cubicBezTo>
                          <a:pt x="0" y="63"/>
                          <a:pt x="45" y="82"/>
                          <a:pt x="45" y="8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" name="Freeform 268">
                    <a:extLst>
                      <a:ext uri="{FF2B5EF4-FFF2-40B4-BE49-F238E27FC236}">
                        <a16:creationId xmlns:a16="http://schemas.microsoft.com/office/drawing/2014/main" id="{9E16EA79-A9EE-C021-EBA6-07DA12B01CD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3367" y="4899026"/>
                    <a:ext cx="103188" cy="93663"/>
                  </a:xfrm>
                  <a:custGeom>
                    <a:avLst/>
                    <a:gdLst>
                      <a:gd name="T0" fmla="*/ 52 w 53"/>
                      <a:gd name="T1" fmla="*/ 27 h 48"/>
                      <a:gd name="T2" fmla="*/ 42 w 53"/>
                      <a:gd name="T3" fmla="*/ 12 h 48"/>
                      <a:gd name="T4" fmla="*/ 30 w 53"/>
                      <a:gd name="T5" fmla="*/ 0 h 48"/>
                      <a:gd name="T6" fmla="*/ 24 w 53"/>
                      <a:gd name="T7" fmla="*/ 18 h 48"/>
                      <a:gd name="T8" fmla="*/ 13 w 53"/>
                      <a:gd name="T9" fmla="*/ 28 h 48"/>
                      <a:gd name="T10" fmla="*/ 0 w 53"/>
                      <a:gd name="T11" fmla="*/ 29 h 48"/>
                      <a:gd name="T12" fmla="*/ 36 w 53"/>
                      <a:gd name="T13" fmla="*/ 48 h 48"/>
                      <a:gd name="T14" fmla="*/ 52 w 53"/>
                      <a:gd name="T15" fmla="*/ 27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3" h="48">
                        <a:moveTo>
                          <a:pt x="52" y="27"/>
                        </a:moveTo>
                        <a:cubicBezTo>
                          <a:pt x="42" y="23"/>
                          <a:pt x="42" y="12"/>
                          <a:pt x="42" y="12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30" y="0"/>
                          <a:pt x="25" y="11"/>
                          <a:pt x="24" y="18"/>
                        </a:cubicBezTo>
                        <a:cubicBezTo>
                          <a:pt x="22" y="25"/>
                          <a:pt x="16" y="27"/>
                          <a:pt x="13" y="28"/>
                        </a:cubicBezTo>
                        <a:cubicBezTo>
                          <a:pt x="7" y="29"/>
                          <a:pt x="0" y="29"/>
                          <a:pt x="0" y="29"/>
                        </a:cubicBezTo>
                        <a:cubicBezTo>
                          <a:pt x="0" y="29"/>
                          <a:pt x="26" y="31"/>
                          <a:pt x="36" y="48"/>
                        </a:cubicBezTo>
                        <a:cubicBezTo>
                          <a:pt x="53" y="47"/>
                          <a:pt x="48" y="32"/>
                          <a:pt x="52" y="27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" name="Freeform 269">
                    <a:extLst>
                      <a:ext uri="{FF2B5EF4-FFF2-40B4-BE49-F238E27FC236}">
                        <a16:creationId xmlns:a16="http://schemas.microsoft.com/office/drawing/2014/main" id="{9C0CFB53-0C6C-0A2E-754B-BAAD4D065A2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20667" y="4848226"/>
                    <a:ext cx="80963" cy="107950"/>
                  </a:xfrm>
                  <a:custGeom>
                    <a:avLst/>
                    <a:gdLst>
                      <a:gd name="T0" fmla="*/ 9 w 41"/>
                      <a:gd name="T1" fmla="*/ 55 h 55"/>
                      <a:gd name="T2" fmla="*/ 22 w 41"/>
                      <a:gd name="T3" fmla="*/ 55 h 55"/>
                      <a:gd name="T4" fmla="*/ 30 w 41"/>
                      <a:gd name="T5" fmla="*/ 48 h 55"/>
                      <a:gd name="T6" fmla="*/ 33 w 41"/>
                      <a:gd name="T7" fmla="*/ 36 h 55"/>
                      <a:gd name="T8" fmla="*/ 38 w 41"/>
                      <a:gd name="T9" fmla="*/ 32 h 55"/>
                      <a:gd name="T10" fmla="*/ 36 w 41"/>
                      <a:gd name="T11" fmla="*/ 24 h 55"/>
                      <a:gd name="T12" fmla="*/ 34 w 41"/>
                      <a:gd name="T13" fmla="*/ 3 h 55"/>
                      <a:gd name="T14" fmla="*/ 23 w 41"/>
                      <a:gd name="T15" fmla="*/ 0 h 55"/>
                      <a:gd name="T16" fmla="*/ 12 w 41"/>
                      <a:gd name="T17" fmla="*/ 8 h 55"/>
                      <a:gd name="T18" fmla="*/ 0 w 41"/>
                      <a:gd name="T19" fmla="*/ 30 h 55"/>
                      <a:gd name="T20" fmla="*/ 2 w 41"/>
                      <a:gd name="T21" fmla="*/ 32 h 55"/>
                      <a:gd name="T22" fmla="*/ 5 w 41"/>
                      <a:gd name="T23" fmla="*/ 33 h 55"/>
                      <a:gd name="T24" fmla="*/ 5 w 41"/>
                      <a:gd name="T25" fmla="*/ 54 h 55"/>
                      <a:gd name="T26" fmla="*/ 9 w 41"/>
                      <a:gd name="T27" fmla="*/ 55 h 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1" h="55">
                        <a:moveTo>
                          <a:pt x="9" y="55"/>
                        </a:moveTo>
                        <a:cubicBezTo>
                          <a:pt x="12" y="55"/>
                          <a:pt x="17" y="55"/>
                          <a:pt x="22" y="55"/>
                        </a:cubicBezTo>
                        <a:cubicBezTo>
                          <a:pt x="29" y="54"/>
                          <a:pt x="30" y="48"/>
                          <a:pt x="30" y="48"/>
                        </a:cubicBezTo>
                        <a:cubicBezTo>
                          <a:pt x="33" y="36"/>
                          <a:pt x="33" y="36"/>
                          <a:pt x="33" y="36"/>
                        </a:cubicBezTo>
                        <a:cubicBezTo>
                          <a:pt x="33" y="36"/>
                          <a:pt x="36" y="35"/>
                          <a:pt x="38" y="32"/>
                        </a:cubicBezTo>
                        <a:cubicBezTo>
                          <a:pt x="39" y="31"/>
                          <a:pt x="41" y="26"/>
                          <a:pt x="36" y="24"/>
                        </a:cubicBezTo>
                        <a:cubicBezTo>
                          <a:pt x="28" y="21"/>
                          <a:pt x="34" y="3"/>
                          <a:pt x="34" y="3"/>
                        </a:cubicBezTo>
                        <a:cubicBezTo>
                          <a:pt x="23" y="0"/>
                          <a:pt x="23" y="0"/>
                          <a:pt x="23" y="0"/>
                        </a:cubicBezTo>
                        <a:cubicBezTo>
                          <a:pt x="12" y="8"/>
                          <a:pt x="12" y="8"/>
                          <a:pt x="12" y="8"/>
                        </a:cubicBezTo>
                        <a:cubicBezTo>
                          <a:pt x="0" y="30"/>
                          <a:pt x="0" y="30"/>
                          <a:pt x="0" y="30"/>
                        </a:cubicBezTo>
                        <a:cubicBezTo>
                          <a:pt x="0" y="30"/>
                          <a:pt x="0" y="31"/>
                          <a:pt x="2" y="32"/>
                        </a:cubicBezTo>
                        <a:cubicBezTo>
                          <a:pt x="4" y="32"/>
                          <a:pt x="5" y="33"/>
                          <a:pt x="5" y="33"/>
                        </a:cubicBezTo>
                        <a:cubicBezTo>
                          <a:pt x="5" y="33"/>
                          <a:pt x="5" y="53"/>
                          <a:pt x="5" y="54"/>
                        </a:cubicBezTo>
                        <a:cubicBezTo>
                          <a:pt x="5" y="55"/>
                          <a:pt x="7" y="55"/>
                          <a:pt x="9" y="55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" name="Freeform 270">
                    <a:extLst>
                      <a:ext uri="{FF2B5EF4-FFF2-40B4-BE49-F238E27FC236}">
                        <a16:creationId xmlns:a16="http://schemas.microsoft.com/office/drawing/2014/main" id="{194B57CE-CE84-C19E-1B09-FEDF0D75306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44480" y="4838701"/>
                    <a:ext cx="92075" cy="85725"/>
                  </a:xfrm>
                  <a:custGeom>
                    <a:avLst/>
                    <a:gdLst>
                      <a:gd name="T0" fmla="*/ 45 w 47"/>
                      <a:gd name="T1" fmla="*/ 22 h 44"/>
                      <a:gd name="T2" fmla="*/ 44 w 47"/>
                      <a:gd name="T3" fmla="*/ 18 h 44"/>
                      <a:gd name="T4" fmla="*/ 25 w 47"/>
                      <a:gd name="T5" fmla="*/ 3 h 44"/>
                      <a:gd name="T6" fmla="*/ 0 w 47"/>
                      <a:gd name="T7" fmla="*/ 14 h 44"/>
                      <a:gd name="T8" fmla="*/ 14 w 47"/>
                      <a:gd name="T9" fmla="*/ 21 h 44"/>
                      <a:gd name="T10" fmla="*/ 21 w 47"/>
                      <a:gd name="T11" fmla="*/ 30 h 44"/>
                      <a:gd name="T12" fmla="*/ 27 w 47"/>
                      <a:gd name="T13" fmla="*/ 35 h 44"/>
                      <a:gd name="T14" fmla="*/ 36 w 47"/>
                      <a:gd name="T15" fmla="*/ 44 h 44"/>
                      <a:gd name="T16" fmla="*/ 45 w 47"/>
                      <a:gd name="T17" fmla="*/ 22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7" h="44">
                        <a:moveTo>
                          <a:pt x="45" y="22"/>
                        </a:moveTo>
                        <a:cubicBezTo>
                          <a:pt x="44" y="18"/>
                          <a:pt x="44" y="18"/>
                          <a:pt x="44" y="18"/>
                        </a:cubicBezTo>
                        <a:cubicBezTo>
                          <a:pt x="44" y="18"/>
                          <a:pt x="42" y="7"/>
                          <a:pt x="25" y="3"/>
                        </a:cubicBezTo>
                        <a:cubicBezTo>
                          <a:pt x="6" y="0"/>
                          <a:pt x="0" y="14"/>
                          <a:pt x="0" y="14"/>
                        </a:cubicBezTo>
                        <a:cubicBezTo>
                          <a:pt x="0" y="14"/>
                          <a:pt x="14" y="12"/>
                          <a:pt x="14" y="21"/>
                        </a:cubicBezTo>
                        <a:cubicBezTo>
                          <a:pt x="14" y="31"/>
                          <a:pt x="20" y="30"/>
                          <a:pt x="21" y="30"/>
                        </a:cubicBezTo>
                        <a:cubicBezTo>
                          <a:pt x="22" y="30"/>
                          <a:pt x="26" y="31"/>
                          <a:pt x="27" y="35"/>
                        </a:cubicBezTo>
                        <a:cubicBezTo>
                          <a:pt x="27" y="41"/>
                          <a:pt x="33" y="44"/>
                          <a:pt x="36" y="44"/>
                        </a:cubicBezTo>
                        <a:cubicBezTo>
                          <a:pt x="47" y="32"/>
                          <a:pt x="45" y="22"/>
                          <a:pt x="45" y="22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" name="Freeform 271">
                    <a:extLst>
                      <a:ext uri="{FF2B5EF4-FFF2-40B4-BE49-F238E27FC236}">
                        <a16:creationId xmlns:a16="http://schemas.microsoft.com/office/drawing/2014/main" id="{1DD078FB-AD5E-9169-3C05-590377C828E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6542" y="4886326"/>
                    <a:ext cx="15875" cy="7938"/>
                  </a:xfrm>
                  <a:custGeom>
                    <a:avLst/>
                    <a:gdLst>
                      <a:gd name="T0" fmla="*/ 1 w 8"/>
                      <a:gd name="T1" fmla="*/ 3 h 4"/>
                      <a:gd name="T2" fmla="*/ 2 w 8"/>
                      <a:gd name="T3" fmla="*/ 4 h 4"/>
                      <a:gd name="T4" fmla="*/ 8 w 8"/>
                      <a:gd name="T5" fmla="*/ 4 h 4"/>
                      <a:gd name="T6" fmla="*/ 1 w 8"/>
                      <a:gd name="T7" fmla="*/ 1 h 4"/>
                      <a:gd name="T8" fmla="*/ 1 w 8"/>
                      <a:gd name="T9" fmla="*/ 3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" h="4">
                        <a:moveTo>
                          <a:pt x="1" y="3"/>
                        </a:moveTo>
                        <a:cubicBezTo>
                          <a:pt x="1" y="4"/>
                          <a:pt x="1" y="4"/>
                          <a:pt x="2" y="4"/>
                        </a:cubicBezTo>
                        <a:cubicBezTo>
                          <a:pt x="4" y="4"/>
                          <a:pt x="6" y="4"/>
                          <a:pt x="8" y="4"/>
                        </a:cubicBezTo>
                        <a:cubicBezTo>
                          <a:pt x="8" y="4"/>
                          <a:pt x="6" y="3"/>
                          <a:pt x="1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" name="Freeform 272">
                    <a:extLst>
                      <a:ext uri="{FF2B5EF4-FFF2-40B4-BE49-F238E27FC236}">
                        <a16:creationId xmlns:a16="http://schemas.microsoft.com/office/drawing/2014/main" id="{F5FF71B6-95B0-5306-A26E-F578365A889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1792" y="4857751"/>
                    <a:ext cx="217488" cy="93663"/>
                  </a:xfrm>
                  <a:custGeom>
                    <a:avLst/>
                    <a:gdLst>
                      <a:gd name="T0" fmla="*/ 0 w 111"/>
                      <a:gd name="T1" fmla="*/ 8 h 48"/>
                      <a:gd name="T2" fmla="*/ 17 w 111"/>
                      <a:gd name="T3" fmla="*/ 1 h 48"/>
                      <a:gd name="T4" fmla="*/ 42 w 111"/>
                      <a:gd name="T5" fmla="*/ 11 h 48"/>
                      <a:gd name="T6" fmla="*/ 75 w 111"/>
                      <a:gd name="T7" fmla="*/ 12 h 48"/>
                      <a:gd name="T8" fmla="*/ 94 w 111"/>
                      <a:gd name="T9" fmla="*/ 19 h 48"/>
                      <a:gd name="T10" fmla="*/ 111 w 111"/>
                      <a:gd name="T11" fmla="*/ 34 h 48"/>
                      <a:gd name="T12" fmla="*/ 79 w 111"/>
                      <a:gd name="T13" fmla="*/ 42 h 48"/>
                      <a:gd name="T14" fmla="*/ 50 w 111"/>
                      <a:gd name="T15" fmla="*/ 34 h 48"/>
                      <a:gd name="T16" fmla="*/ 28 w 111"/>
                      <a:gd name="T17" fmla="*/ 22 h 48"/>
                      <a:gd name="T18" fmla="*/ 14 w 111"/>
                      <a:gd name="T19" fmla="*/ 13 h 48"/>
                      <a:gd name="T20" fmla="*/ 1 w 111"/>
                      <a:gd name="T21" fmla="*/ 13 h 48"/>
                      <a:gd name="T22" fmla="*/ 0 w 111"/>
                      <a:gd name="T23" fmla="*/ 8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11" h="48">
                        <a:moveTo>
                          <a:pt x="0" y="8"/>
                        </a:moveTo>
                        <a:cubicBezTo>
                          <a:pt x="0" y="8"/>
                          <a:pt x="7" y="0"/>
                          <a:pt x="17" y="1"/>
                        </a:cubicBezTo>
                        <a:cubicBezTo>
                          <a:pt x="27" y="2"/>
                          <a:pt x="30" y="5"/>
                          <a:pt x="42" y="11"/>
                        </a:cubicBezTo>
                        <a:cubicBezTo>
                          <a:pt x="54" y="16"/>
                          <a:pt x="62" y="11"/>
                          <a:pt x="75" y="12"/>
                        </a:cubicBezTo>
                        <a:cubicBezTo>
                          <a:pt x="88" y="13"/>
                          <a:pt x="92" y="17"/>
                          <a:pt x="94" y="19"/>
                        </a:cubicBezTo>
                        <a:cubicBezTo>
                          <a:pt x="102" y="24"/>
                          <a:pt x="111" y="34"/>
                          <a:pt x="111" y="34"/>
                        </a:cubicBezTo>
                        <a:cubicBezTo>
                          <a:pt x="111" y="34"/>
                          <a:pt x="94" y="48"/>
                          <a:pt x="79" y="42"/>
                        </a:cubicBezTo>
                        <a:cubicBezTo>
                          <a:pt x="74" y="40"/>
                          <a:pt x="66" y="31"/>
                          <a:pt x="50" y="34"/>
                        </a:cubicBezTo>
                        <a:cubicBezTo>
                          <a:pt x="39" y="36"/>
                          <a:pt x="33" y="29"/>
                          <a:pt x="28" y="22"/>
                        </a:cubicBezTo>
                        <a:cubicBezTo>
                          <a:pt x="25" y="18"/>
                          <a:pt x="19" y="14"/>
                          <a:pt x="14" y="13"/>
                        </a:cubicBezTo>
                        <a:cubicBezTo>
                          <a:pt x="9" y="11"/>
                          <a:pt x="1" y="13"/>
                          <a:pt x="1" y="13"/>
                        </a:cubicBez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2" name="Freeform 273">
                    <a:extLst>
                      <a:ext uri="{FF2B5EF4-FFF2-40B4-BE49-F238E27FC236}">
                        <a16:creationId xmlns:a16="http://schemas.microsoft.com/office/drawing/2014/main" id="{B53C2E7A-EDCE-E635-A29C-EE9CE032C34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8617" y="4868864"/>
                    <a:ext cx="7938" cy="15875"/>
                  </a:xfrm>
                  <a:custGeom>
                    <a:avLst/>
                    <a:gdLst>
                      <a:gd name="T0" fmla="*/ 1 w 4"/>
                      <a:gd name="T1" fmla="*/ 6 h 8"/>
                      <a:gd name="T2" fmla="*/ 3 w 4"/>
                      <a:gd name="T3" fmla="*/ 8 h 8"/>
                      <a:gd name="T4" fmla="*/ 4 w 4"/>
                      <a:gd name="T5" fmla="*/ 5 h 8"/>
                      <a:gd name="T6" fmla="*/ 3 w 4"/>
                      <a:gd name="T7" fmla="*/ 2 h 8"/>
                      <a:gd name="T8" fmla="*/ 1 w 4"/>
                      <a:gd name="T9" fmla="*/ 0 h 8"/>
                      <a:gd name="T10" fmla="*/ 0 w 4"/>
                      <a:gd name="T11" fmla="*/ 2 h 8"/>
                      <a:gd name="T12" fmla="*/ 1 w 4"/>
                      <a:gd name="T13" fmla="*/ 6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" h="8">
                        <a:moveTo>
                          <a:pt x="1" y="6"/>
                        </a:moveTo>
                        <a:cubicBezTo>
                          <a:pt x="1" y="7"/>
                          <a:pt x="2" y="8"/>
                          <a:pt x="3" y="8"/>
                        </a:cubicBezTo>
                        <a:cubicBezTo>
                          <a:pt x="4" y="7"/>
                          <a:pt x="4" y="6"/>
                          <a:pt x="4" y="5"/>
                        </a:cubicBezTo>
                        <a:cubicBezTo>
                          <a:pt x="3" y="2"/>
                          <a:pt x="3" y="2"/>
                          <a:pt x="3" y="2"/>
                        </a:cubicBezTo>
                        <a:cubicBezTo>
                          <a:pt x="3" y="1"/>
                          <a:pt x="2" y="0"/>
                          <a:pt x="1" y="0"/>
                        </a:cubicBezTo>
                        <a:cubicBezTo>
                          <a:pt x="0" y="1"/>
                          <a:pt x="0" y="1"/>
                          <a:pt x="0" y="2"/>
                        </a:cubicBezTo>
                        <a:lnTo>
                          <a:pt x="1" y="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3" name="Freeform 274">
                    <a:extLst>
                      <a:ext uri="{FF2B5EF4-FFF2-40B4-BE49-F238E27FC236}">
                        <a16:creationId xmlns:a16="http://schemas.microsoft.com/office/drawing/2014/main" id="{407E47C5-0C65-91C0-DD2F-5F76E29D2E9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7505" y="4951414"/>
                    <a:ext cx="50800" cy="150813"/>
                  </a:xfrm>
                  <a:custGeom>
                    <a:avLst/>
                    <a:gdLst>
                      <a:gd name="T0" fmla="*/ 8 w 26"/>
                      <a:gd name="T1" fmla="*/ 0 h 77"/>
                      <a:gd name="T2" fmla="*/ 1 w 26"/>
                      <a:gd name="T3" fmla="*/ 34 h 77"/>
                      <a:gd name="T4" fmla="*/ 26 w 26"/>
                      <a:gd name="T5" fmla="*/ 77 h 77"/>
                      <a:gd name="T6" fmla="*/ 12 w 26"/>
                      <a:gd name="T7" fmla="*/ 31 h 77"/>
                      <a:gd name="T8" fmla="*/ 5 w 26"/>
                      <a:gd name="T9" fmla="*/ 28 h 77"/>
                      <a:gd name="T10" fmla="*/ 12 w 26"/>
                      <a:gd name="T11" fmla="*/ 23 h 77"/>
                      <a:gd name="T12" fmla="*/ 12 w 26"/>
                      <a:gd name="T13" fmla="*/ 1 h 77"/>
                      <a:gd name="T14" fmla="*/ 8 w 26"/>
                      <a:gd name="T15" fmla="*/ 0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6" h="77">
                        <a:moveTo>
                          <a:pt x="8" y="0"/>
                        </a:moveTo>
                        <a:cubicBezTo>
                          <a:pt x="8" y="0"/>
                          <a:pt x="0" y="15"/>
                          <a:pt x="1" y="34"/>
                        </a:cubicBezTo>
                        <a:cubicBezTo>
                          <a:pt x="2" y="54"/>
                          <a:pt x="22" y="73"/>
                          <a:pt x="26" y="77"/>
                        </a:cubicBezTo>
                        <a:cubicBezTo>
                          <a:pt x="16" y="59"/>
                          <a:pt x="12" y="31"/>
                          <a:pt x="12" y="31"/>
                        </a:cubicBezTo>
                        <a:cubicBezTo>
                          <a:pt x="5" y="28"/>
                          <a:pt x="5" y="28"/>
                          <a:pt x="5" y="28"/>
                        </a:cubicBezTo>
                        <a:cubicBezTo>
                          <a:pt x="12" y="23"/>
                          <a:pt x="12" y="23"/>
                          <a:pt x="12" y="23"/>
                        </a:cubicBezTo>
                        <a:cubicBezTo>
                          <a:pt x="12" y="1"/>
                          <a:pt x="12" y="1"/>
                          <a:pt x="12" y="1"/>
                        </a:cubicBezTo>
                        <a:lnTo>
                          <a:pt x="8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4" name="Freeform 275">
                    <a:extLst>
                      <a:ext uri="{FF2B5EF4-FFF2-40B4-BE49-F238E27FC236}">
                        <a16:creationId xmlns:a16="http://schemas.microsoft.com/office/drawing/2014/main" id="{96F34402-22AE-14DC-303C-988B6A88175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87317" y="5113339"/>
                    <a:ext cx="174625" cy="79375"/>
                  </a:xfrm>
                  <a:custGeom>
                    <a:avLst/>
                    <a:gdLst>
                      <a:gd name="T0" fmla="*/ 1 w 110"/>
                      <a:gd name="T1" fmla="*/ 0 h 50"/>
                      <a:gd name="T2" fmla="*/ 110 w 110"/>
                      <a:gd name="T3" fmla="*/ 22 h 50"/>
                      <a:gd name="T4" fmla="*/ 95 w 110"/>
                      <a:gd name="T5" fmla="*/ 50 h 50"/>
                      <a:gd name="T6" fmla="*/ 0 w 110"/>
                      <a:gd name="T7" fmla="*/ 12 h 50"/>
                      <a:gd name="T8" fmla="*/ 1 w 110"/>
                      <a:gd name="T9" fmla="*/ 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0" h="50">
                        <a:moveTo>
                          <a:pt x="1" y="0"/>
                        </a:moveTo>
                        <a:lnTo>
                          <a:pt x="110" y="22"/>
                        </a:lnTo>
                        <a:lnTo>
                          <a:pt x="95" y="50"/>
                        </a:lnTo>
                        <a:lnTo>
                          <a:pt x="0" y="12"/>
                        </a:ln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5" name="Freeform 276">
                    <a:extLst>
                      <a:ext uri="{FF2B5EF4-FFF2-40B4-BE49-F238E27FC236}">
                        <a16:creationId xmlns:a16="http://schemas.microsoft.com/office/drawing/2014/main" id="{2BD0D5F6-A58A-D812-F4C5-7059D2A7389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77805" y="4949826"/>
                    <a:ext cx="252413" cy="258763"/>
                  </a:xfrm>
                  <a:custGeom>
                    <a:avLst/>
                    <a:gdLst>
                      <a:gd name="T0" fmla="*/ 7 w 128"/>
                      <a:gd name="T1" fmla="*/ 93 h 132"/>
                      <a:gd name="T2" fmla="*/ 49 w 128"/>
                      <a:gd name="T3" fmla="*/ 102 h 132"/>
                      <a:gd name="T4" fmla="*/ 91 w 128"/>
                      <a:gd name="T5" fmla="*/ 24 h 132"/>
                      <a:gd name="T6" fmla="*/ 121 w 128"/>
                      <a:gd name="T7" fmla="*/ 53 h 132"/>
                      <a:gd name="T8" fmla="*/ 70 w 128"/>
                      <a:gd name="T9" fmla="*/ 119 h 132"/>
                      <a:gd name="T10" fmla="*/ 38 w 128"/>
                      <a:gd name="T11" fmla="*/ 127 h 132"/>
                      <a:gd name="T12" fmla="*/ 0 w 128"/>
                      <a:gd name="T13" fmla="*/ 112 h 132"/>
                      <a:gd name="T14" fmla="*/ 7 w 128"/>
                      <a:gd name="T15" fmla="*/ 93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8" h="132">
                        <a:moveTo>
                          <a:pt x="7" y="93"/>
                        </a:moveTo>
                        <a:cubicBezTo>
                          <a:pt x="49" y="102"/>
                          <a:pt x="49" y="102"/>
                          <a:pt x="49" y="102"/>
                        </a:cubicBezTo>
                        <a:cubicBezTo>
                          <a:pt x="49" y="102"/>
                          <a:pt x="81" y="54"/>
                          <a:pt x="91" y="24"/>
                        </a:cubicBezTo>
                        <a:cubicBezTo>
                          <a:pt x="109" y="0"/>
                          <a:pt x="128" y="26"/>
                          <a:pt x="121" y="53"/>
                        </a:cubicBezTo>
                        <a:cubicBezTo>
                          <a:pt x="101" y="86"/>
                          <a:pt x="82" y="108"/>
                          <a:pt x="70" y="119"/>
                        </a:cubicBezTo>
                        <a:cubicBezTo>
                          <a:pt x="55" y="132"/>
                          <a:pt x="38" y="127"/>
                          <a:pt x="38" y="127"/>
                        </a:cubicBezTo>
                        <a:cubicBezTo>
                          <a:pt x="38" y="127"/>
                          <a:pt x="14" y="117"/>
                          <a:pt x="0" y="112"/>
                        </a:cubicBezTo>
                        <a:lnTo>
                          <a:pt x="7" y="93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6" name="Freeform 278">
                    <a:extLst>
                      <a:ext uri="{FF2B5EF4-FFF2-40B4-BE49-F238E27FC236}">
                        <a16:creationId xmlns:a16="http://schemas.microsoft.com/office/drawing/2014/main" id="{49B3BE33-5514-E61D-8BB0-FC408FB1048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12705" y="5087939"/>
                    <a:ext cx="79375" cy="46038"/>
                  </a:xfrm>
                  <a:custGeom>
                    <a:avLst/>
                    <a:gdLst>
                      <a:gd name="T0" fmla="*/ 40 w 40"/>
                      <a:gd name="T1" fmla="*/ 14 h 24"/>
                      <a:gd name="T2" fmla="*/ 31 w 40"/>
                      <a:gd name="T3" fmla="*/ 9 h 24"/>
                      <a:gd name="T4" fmla="*/ 24 w 40"/>
                      <a:gd name="T5" fmla="*/ 4 h 24"/>
                      <a:gd name="T6" fmla="*/ 21 w 40"/>
                      <a:gd name="T7" fmla="*/ 2 h 24"/>
                      <a:gd name="T8" fmla="*/ 4 w 40"/>
                      <a:gd name="T9" fmla="*/ 1 h 24"/>
                      <a:gd name="T10" fmla="*/ 4 w 40"/>
                      <a:gd name="T11" fmla="*/ 2 h 24"/>
                      <a:gd name="T12" fmla="*/ 12 w 40"/>
                      <a:gd name="T13" fmla="*/ 4 h 24"/>
                      <a:gd name="T14" fmla="*/ 1 w 40"/>
                      <a:gd name="T15" fmla="*/ 7 h 24"/>
                      <a:gd name="T16" fmla="*/ 3 w 40"/>
                      <a:gd name="T17" fmla="*/ 9 h 24"/>
                      <a:gd name="T18" fmla="*/ 11 w 40"/>
                      <a:gd name="T19" fmla="*/ 8 h 24"/>
                      <a:gd name="T20" fmla="*/ 25 w 40"/>
                      <a:gd name="T21" fmla="*/ 20 h 24"/>
                      <a:gd name="T22" fmla="*/ 19 w 40"/>
                      <a:gd name="T23" fmla="*/ 21 h 24"/>
                      <a:gd name="T24" fmla="*/ 22 w 40"/>
                      <a:gd name="T25" fmla="*/ 24 h 24"/>
                      <a:gd name="T26" fmla="*/ 39 w 40"/>
                      <a:gd name="T27" fmla="*/ 23 h 24"/>
                      <a:gd name="T28" fmla="*/ 40 w 40"/>
                      <a:gd name="T29" fmla="*/ 14 h 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0" h="24">
                        <a:moveTo>
                          <a:pt x="40" y="14"/>
                        </a:moveTo>
                        <a:cubicBezTo>
                          <a:pt x="40" y="14"/>
                          <a:pt x="35" y="12"/>
                          <a:pt x="31" y="9"/>
                        </a:cubicBezTo>
                        <a:cubicBezTo>
                          <a:pt x="28" y="7"/>
                          <a:pt x="24" y="4"/>
                          <a:pt x="24" y="4"/>
                        </a:cubicBezTo>
                        <a:cubicBezTo>
                          <a:pt x="24" y="4"/>
                          <a:pt x="23" y="3"/>
                          <a:pt x="21" y="2"/>
                        </a:cubicBezTo>
                        <a:cubicBezTo>
                          <a:pt x="20" y="1"/>
                          <a:pt x="12" y="0"/>
                          <a:pt x="4" y="1"/>
                        </a:cubicBezTo>
                        <a:cubicBezTo>
                          <a:pt x="3" y="1"/>
                          <a:pt x="3" y="2"/>
                          <a:pt x="4" y="2"/>
                        </a:cubicBezTo>
                        <a:cubicBezTo>
                          <a:pt x="5" y="3"/>
                          <a:pt x="12" y="4"/>
                          <a:pt x="12" y="4"/>
                        </a:cubicBezTo>
                        <a:cubicBezTo>
                          <a:pt x="12" y="4"/>
                          <a:pt x="3" y="6"/>
                          <a:pt x="1" y="7"/>
                        </a:cubicBezTo>
                        <a:cubicBezTo>
                          <a:pt x="0" y="7"/>
                          <a:pt x="1" y="9"/>
                          <a:pt x="3" y="9"/>
                        </a:cubicBezTo>
                        <a:cubicBezTo>
                          <a:pt x="4" y="9"/>
                          <a:pt x="11" y="8"/>
                          <a:pt x="11" y="8"/>
                        </a:cubicBezTo>
                        <a:cubicBezTo>
                          <a:pt x="25" y="20"/>
                          <a:pt x="25" y="20"/>
                          <a:pt x="25" y="20"/>
                        </a:cubicBezTo>
                        <a:cubicBezTo>
                          <a:pt x="19" y="21"/>
                          <a:pt x="19" y="21"/>
                          <a:pt x="19" y="21"/>
                        </a:cubicBezTo>
                        <a:cubicBezTo>
                          <a:pt x="22" y="24"/>
                          <a:pt x="22" y="24"/>
                          <a:pt x="22" y="24"/>
                        </a:cubicBezTo>
                        <a:cubicBezTo>
                          <a:pt x="22" y="24"/>
                          <a:pt x="30" y="24"/>
                          <a:pt x="39" y="23"/>
                        </a:cubicBezTo>
                        <a:lnTo>
                          <a:pt x="40" y="14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7" name="Freeform 279">
                    <a:extLst>
                      <a:ext uri="{FF2B5EF4-FFF2-40B4-BE49-F238E27FC236}">
                        <a16:creationId xmlns:a16="http://schemas.microsoft.com/office/drawing/2014/main" id="{BC014824-2E12-D11C-1EE1-E86B0EB1254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2405" y="5707064"/>
                    <a:ext cx="63500" cy="38100"/>
                  </a:xfrm>
                  <a:custGeom>
                    <a:avLst/>
                    <a:gdLst>
                      <a:gd name="T0" fmla="*/ 11 w 32"/>
                      <a:gd name="T1" fmla="*/ 9 h 19"/>
                      <a:gd name="T2" fmla="*/ 2 w 32"/>
                      <a:gd name="T3" fmla="*/ 11 h 19"/>
                      <a:gd name="T4" fmla="*/ 1 w 32"/>
                      <a:gd name="T5" fmla="*/ 14 h 19"/>
                      <a:gd name="T6" fmla="*/ 13 w 32"/>
                      <a:gd name="T7" fmla="*/ 16 h 19"/>
                      <a:gd name="T8" fmla="*/ 23 w 32"/>
                      <a:gd name="T9" fmla="*/ 10 h 19"/>
                      <a:gd name="T10" fmla="*/ 22 w 32"/>
                      <a:gd name="T11" fmla="*/ 18 h 19"/>
                      <a:gd name="T12" fmla="*/ 26 w 32"/>
                      <a:gd name="T13" fmla="*/ 19 h 19"/>
                      <a:gd name="T14" fmla="*/ 30 w 32"/>
                      <a:gd name="T15" fmla="*/ 6 h 19"/>
                      <a:gd name="T16" fmla="*/ 31 w 32"/>
                      <a:gd name="T17" fmla="*/ 0 h 19"/>
                      <a:gd name="T18" fmla="*/ 23 w 32"/>
                      <a:gd name="T19" fmla="*/ 5 h 19"/>
                      <a:gd name="T20" fmla="*/ 11 w 32"/>
                      <a:gd name="T21" fmla="*/ 9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2" h="19">
                        <a:moveTo>
                          <a:pt x="11" y="9"/>
                        </a:moveTo>
                        <a:cubicBezTo>
                          <a:pt x="8" y="9"/>
                          <a:pt x="3" y="11"/>
                          <a:pt x="2" y="11"/>
                        </a:cubicBezTo>
                        <a:cubicBezTo>
                          <a:pt x="0" y="11"/>
                          <a:pt x="1" y="14"/>
                          <a:pt x="1" y="14"/>
                        </a:cubicBezTo>
                        <a:cubicBezTo>
                          <a:pt x="1" y="14"/>
                          <a:pt x="11" y="15"/>
                          <a:pt x="13" y="16"/>
                        </a:cubicBezTo>
                        <a:cubicBezTo>
                          <a:pt x="15" y="16"/>
                          <a:pt x="23" y="10"/>
                          <a:pt x="23" y="10"/>
                        </a:cubicBezTo>
                        <a:cubicBezTo>
                          <a:pt x="22" y="18"/>
                          <a:pt x="22" y="18"/>
                          <a:pt x="22" y="18"/>
                        </a:cubicBezTo>
                        <a:cubicBezTo>
                          <a:pt x="26" y="19"/>
                          <a:pt x="26" y="19"/>
                          <a:pt x="26" y="19"/>
                        </a:cubicBezTo>
                        <a:cubicBezTo>
                          <a:pt x="26" y="19"/>
                          <a:pt x="28" y="12"/>
                          <a:pt x="30" y="6"/>
                        </a:cubicBezTo>
                        <a:cubicBezTo>
                          <a:pt x="32" y="3"/>
                          <a:pt x="31" y="0"/>
                          <a:pt x="31" y="0"/>
                        </a:cubicBezTo>
                        <a:cubicBezTo>
                          <a:pt x="31" y="0"/>
                          <a:pt x="29" y="0"/>
                          <a:pt x="23" y="5"/>
                        </a:cubicBezTo>
                        <a:cubicBezTo>
                          <a:pt x="17" y="11"/>
                          <a:pt x="13" y="9"/>
                          <a:pt x="11" y="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24" name="Freeform 179">
                  <a:extLst>
                    <a:ext uri="{FF2B5EF4-FFF2-40B4-BE49-F238E27FC236}">
                      <a16:creationId xmlns:a16="http://schemas.microsoft.com/office/drawing/2014/main" id="{5AD9541A-F92F-5231-5E1A-3938831BE46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81113" y="4808808"/>
                  <a:ext cx="566968" cy="273800"/>
                </a:xfrm>
                <a:custGeom>
                  <a:avLst/>
                  <a:gdLst>
                    <a:gd name="T0" fmla="*/ 262 w 551"/>
                    <a:gd name="T1" fmla="*/ 0 h 266"/>
                    <a:gd name="T2" fmla="*/ 238 w 551"/>
                    <a:gd name="T3" fmla="*/ 1 h 266"/>
                    <a:gd name="T4" fmla="*/ 240 w 551"/>
                    <a:gd name="T5" fmla="*/ 6 h 266"/>
                    <a:gd name="T6" fmla="*/ 264 w 551"/>
                    <a:gd name="T7" fmla="*/ 12 h 266"/>
                    <a:gd name="T8" fmla="*/ 282 w 551"/>
                    <a:gd name="T9" fmla="*/ 24 h 266"/>
                    <a:gd name="T10" fmla="*/ 281 w 551"/>
                    <a:gd name="T11" fmla="*/ 24 h 266"/>
                    <a:gd name="T12" fmla="*/ 280 w 551"/>
                    <a:gd name="T13" fmla="*/ 111 h 266"/>
                    <a:gd name="T14" fmla="*/ 218 w 551"/>
                    <a:gd name="T15" fmla="*/ 100 h 266"/>
                    <a:gd name="T16" fmla="*/ 166 w 551"/>
                    <a:gd name="T17" fmla="*/ 128 h 266"/>
                    <a:gd name="T18" fmla="*/ 94 w 551"/>
                    <a:gd name="T19" fmla="*/ 246 h 266"/>
                    <a:gd name="T20" fmla="*/ 0 w 551"/>
                    <a:gd name="T21" fmla="*/ 266 h 266"/>
                    <a:gd name="T22" fmla="*/ 224 w 551"/>
                    <a:gd name="T23" fmla="*/ 266 h 266"/>
                    <a:gd name="T24" fmla="*/ 241 w 551"/>
                    <a:gd name="T25" fmla="*/ 240 h 266"/>
                    <a:gd name="T26" fmla="*/ 212 w 551"/>
                    <a:gd name="T27" fmla="*/ 236 h 266"/>
                    <a:gd name="T28" fmla="*/ 217 w 551"/>
                    <a:gd name="T29" fmla="*/ 156 h 266"/>
                    <a:gd name="T30" fmla="*/ 280 w 551"/>
                    <a:gd name="T31" fmla="*/ 166 h 266"/>
                    <a:gd name="T32" fmla="*/ 279 w 551"/>
                    <a:gd name="T33" fmla="*/ 266 h 266"/>
                    <a:gd name="T34" fmla="*/ 364 w 551"/>
                    <a:gd name="T35" fmla="*/ 266 h 266"/>
                    <a:gd name="T36" fmla="*/ 348 w 551"/>
                    <a:gd name="T37" fmla="*/ 167 h 266"/>
                    <a:gd name="T38" fmla="*/ 451 w 551"/>
                    <a:gd name="T39" fmla="*/ 166 h 266"/>
                    <a:gd name="T40" fmla="*/ 510 w 551"/>
                    <a:gd name="T41" fmla="*/ 167 h 266"/>
                    <a:gd name="T42" fmla="*/ 519 w 551"/>
                    <a:gd name="T43" fmla="*/ 168 h 266"/>
                    <a:gd name="T44" fmla="*/ 521 w 551"/>
                    <a:gd name="T45" fmla="*/ 168 h 266"/>
                    <a:gd name="T46" fmla="*/ 545 w 551"/>
                    <a:gd name="T47" fmla="*/ 168 h 266"/>
                    <a:gd name="T48" fmla="*/ 546 w 551"/>
                    <a:gd name="T49" fmla="*/ 160 h 266"/>
                    <a:gd name="T50" fmla="*/ 532 w 551"/>
                    <a:gd name="T51" fmla="*/ 158 h 266"/>
                    <a:gd name="T52" fmla="*/ 548 w 551"/>
                    <a:gd name="T53" fmla="*/ 143 h 266"/>
                    <a:gd name="T54" fmla="*/ 551 w 551"/>
                    <a:gd name="T55" fmla="*/ 121 h 266"/>
                    <a:gd name="T56" fmla="*/ 548 w 551"/>
                    <a:gd name="T57" fmla="*/ 119 h 266"/>
                    <a:gd name="T58" fmla="*/ 545 w 551"/>
                    <a:gd name="T59" fmla="*/ 121 h 266"/>
                    <a:gd name="T60" fmla="*/ 537 w 551"/>
                    <a:gd name="T61" fmla="*/ 135 h 266"/>
                    <a:gd name="T62" fmla="*/ 511 w 551"/>
                    <a:gd name="T63" fmla="*/ 150 h 266"/>
                    <a:gd name="T64" fmla="*/ 338 w 551"/>
                    <a:gd name="T65" fmla="*/ 121 h 266"/>
                    <a:gd name="T66" fmla="*/ 315 w 551"/>
                    <a:gd name="T67" fmla="*/ 27 h 266"/>
                    <a:gd name="T68" fmla="*/ 306 w 551"/>
                    <a:gd name="T69" fmla="*/ 25 h 266"/>
                    <a:gd name="T70" fmla="*/ 306 w 551"/>
                    <a:gd name="T71" fmla="*/ 22 h 266"/>
                    <a:gd name="T72" fmla="*/ 306 w 551"/>
                    <a:gd name="T73" fmla="*/ 0 h 266"/>
                    <a:gd name="T74" fmla="*/ 288 w 551"/>
                    <a:gd name="T75" fmla="*/ 0 h 266"/>
                    <a:gd name="T76" fmla="*/ 287 w 551"/>
                    <a:gd name="T77" fmla="*/ 8 h 266"/>
                    <a:gd name="T78" fmla="*/ 262 w 551"/>
                    <a:gd name="T79" fmla="*/ 0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551" h="266">
                      <a:moveTo>
                        <a:pt x="262" y="0"/>
                      </a:moveTo>
                      <a:cubicBezTo>
                        <a:pt x="238" y="1"/>
                        <a:pt x="238" y="1"/>
                        <a:pt x="238" y="1"/>
                      </a:cubicBezTo>
                      <a:cubicBezTo>
                        <a:pt x="238" y="1"/>
                        <a:pt x="235" y="5"/>
                        <a:pt x="240" y="6"/>
                      </a:cubicBezTo>
                      <a:cubicBezTo>
                        <a:pt x="241" y="6"/>
                        <a:pt x="264" y="12"/>
                        <a:pt x="264" y="12"/>
                      </a:cubicBezTo>
                      <a:cubicBezTo>
                        <a:pt x="282" y="24"/>
                        <a:pt x="282" y="24"/>
                        <a:pt x="282" y="24"/>
                      </a:cubicBezTo>
                      <a:cubicBezTo>
                        <a:pt x="281" y="24"/>
                        <a:pt x="281" y="24"/>
                        <a:pt x="281" y="24"/>
                      </a:cubicBezTo>
                      <a:cubicBezTo>
                        <a:pt x="280" y="111"/>
                        <a:pt x="280" y="111"/>
                        <a:pt x="280" y="111"/>
                      </a:cubicBezTo>
                      <a:cubicBezTo>
                        <a:pt x="218" y="100"/>
                        <a:pt x="218" y="100"/>
                        <a:pt x="218" y="100"/>
                      </a:cubicBezTo>
                      <a:cubicBezTo>
                        <a:pt x="218" y="100"/>
                        <a:pt x="187" y="101"/>
                        <a:pt x="166" y="128"/>
                      </a:cubicBezTo>
                      <a:cubicBezTo>
                        <a:pt x="163" y="132"/>
                        <a:pt x="129" y="188"/>
                        <a:pt x="94" y="246"/>
                      </a:cubicBezTo>
                      <a:cubicBezTo>
                        <a:pt x="63" y="251"/>
                        <a:pt x="31" y="258"/>
                        <a:pt x="0" y="266"/>
                      </a:cubicBezTo>
                      <a:cubicBezTo>
                        <a:pt x="224" y="266"/>
                        <a:pt x="224" y="266"/>
                        <a:pt x="224" y="266"/>
                      </a:cubicBezTo>
                      <a:cubicBezTo>
                        <a:pt x="228" y="258"/>
                        <a:pt x="233" y="249"/>
                        <a:pt x="241" y="240"/>
                      </a:cubicBezTo>
                      <a:cubicBezTo>
                        <a:pt x="234" y="238"/>
                        <a:pt x="224" y="237"/>
                        <a:pt x="212" y="236"/>
                      </a:cubicBezTo>
                      <a:cubicBezTo>
                        <a:pt x="215" y="205"/>
                        <a:pt x="216" y="176"/>
                        <a:pt x="217" y="156"/>
                      </a:cubicBezTo>
                      <a:cubicBezTo>
                        <a:pt x="224" y="162"/>
                        <a:pt x="248" y="165"/>
                        <a:pt x="280" y="166"/>
                      </a:cubicBezTo>
                      <a:cubicBezTo>
                        <a:pt x="279" y="266"/>
                        <a:pt x="279" y="266"/>
                        <a:pt x="279" y="266"/>
                      </a:cubicBezTo>
                      <a:cubicBezTo>
                        <a:pt x="364" y="266"/>
                        <a:pt x="364" y="266"/>
                        <a:pt x="364" y="266"/>
                      </a:cubicBezTo>
                      <a:cubicBezTo>
                        <a:pt x="362" y="236"/>
                        <a:pt x="356" y="201"/>
                        <a:pt x="348" y="167"/>
                      </a:cubicBezTo>
                      <a:cubicBezTo>
                        <a:pt x="382" y="166"/>
                        <a:pt x="417" y="166"/>
                        <a:pt x="451" y="166"/>
                      </a:cubicBezTo>
                      <a:cubicBezTo>
                        <a:pt x="472" y="166"/>
                        <a:pt x="492" y="166"/>
                        <a:pt x="510" y="167"/>
                      </a:cubicBezTo>
                      <a:cubicBezTo>
                        <a:pt x="510" y="167"/>
                        <a:pt x="514" y="168"/>
                        <a:pt x="519" y="168"/>
                      </a:cubicBezTo>
                      <a:cubicBezTo>
                        <a:pt x="520" y="168"/>
                        <a:pt x="520" y="168"/>
                        <a:pt x="521" y="168"/>
                      </a:cubicBezTo>
                      <a:cubicBezTo>
                        <a:pt x="532" y="168"/>
                        <a:pt x="545" y="168"/>
                        <a:pt x="545" y="168"/>
                      </a:cubicBezTo>
                      <a:cubicBezTo>
                        <a:pt x="546" y="160"/>
                        <a:pt x="546" y="160"/>
                        <a:pt x="546" y="160"/>
                      </a:cubicBezTo>
                      <a:cubicBezTo>
                        <a:pt x="532" y="158"/>
                        <a:pt x="532" y="158"/>
                        <a:pt x="532" y="158"/>
                      </a:cubicBezTo>
                      <a:cubicBezTo>
                        <a:pt x="532" y="158"/>
                        <a:pt x="547" y="147"/>
                        <a:pt x="548" y="143"/>
                      </a:cubicBezTo>
                      <a:cubicBezTo>
                        <a:pt x="548" y="139"/>
                        <a:pt x="551" y="121"/>
                        <a:pt x="551" y="121"/>
                      </a:cubicBezTo>
                      <a:cubicBezTo>
                        <a:pt x="551" y="121"/>
                        <a:pt x="549" y="119"/>
                        <a:pt x="548" y="119"/>
                      </a:cubicBezTo>
                      <a:cubicBezTo>
                        <a:pt x="547" y="119"/>
                        <a:pt x="546" y="120"/>
                        <a:pt x="545" y="121"/>
                      </a:cubicBezTo>
                      <a:cubicBezTo>
                        <a:pt x="545" y="123"/>
                        <a:pt x="539" y="131"/>
                        <a:pt x="537" y="135"/>
                      </a:cubicBezTo>
                      <a:cubicBezTo>
                        <a:pt x="511" y="150"/>
                        <a:pt x="511" y="150"/>
                        <a:pt x="511" y="150"/>
                      </a:cubicBezTo>
                      <a:cubicBezTo>
                        <a:pt x="338" y="121"/>
                        <a:pt x="338" y="121"/>
                        <a:pt x="338" y="121"/>
                      </a:cubicBezTo>
                      <a:cubicBezTo>
                        <a:pt x="326" y="73"/>
                        <a:pt x="315" y="27"/>
                        <a:pt x="315" y="27"/>
                      </a:cubicBezTo>
                      <a:cubicBezTo>
                        <a:pt x="306" y="25"/>
                        <a:pt x="306" y="25"/>
                        <a:pt x="306" y="25"/>
                      </a:cubicBezTo>
                      <a:cubicBezTo>
                        <a:pt x="306" y="22"/>
                        <a:pt x="306" y="22"/>
                        <a:pt x="306" y="22"/>
                      </a:cubicBezTo>
                      <a:cubicBezTo>
                        <a:pt x="306" y="0"/>
                        <a:pt x="306" y="0"/>
                        <a:pt x="306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87" y="8"/>
                        <a:pt x="287" y="8"/>
                        <a:pt x="287" y="8"/>
                      </a:cubicBezTo>
                      <a:cubicBezTo>
                        <a:pt x="262" y="0"/>
                        <a:pt x="262" y="0"/>
                        <a:pt x="262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5" name="Freeform 178">
                  <a:extLst>
                    <a:ext uri="{FF2B5EF4-FFF2-40B4-BE49-F238E27FC236}">
                      <a16:creationId xmlns:a16="http://schemas.microsoft.com/office/drawing/2014/main" id="{DDE60B20-8513-44CE-C8FC-AEAD9FCA5F4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695018" y="4798755"/>
                  <a:ext cx="340636" cy="295218"/>
                </a:xfrm>
                <a:custGeom>
                  <a:avLst/>
                  <a:gdLst>
                    <a:gd name="T0" fmla="*/ 214 w 308"/>
                    <a:gd name="T1" fmla="*/ 0 h 267"/>
                    <a:gd name="T2" fmla="*/ 208 w 308"/>
                    <a:gd name="T3" fmla="*/ 1 h 267"/>
                    <a:gd name="T4" fmla="*/ 210 w 308"/>
                    <a:gd name="T5" fmla="*/ 13 h 267"/>
                    <a:gd name="T6" fmla="*/ 195 w 308"/>
                    <a:gd name="T7" fmla="*/ 4 h 267"/>
                    <a:gd name="T8" fmla="*/ 194 w 308"/>
                    <a:gd name="T9" fmla="*/ 4 h 267"/>
                    <a:gd name="T10" fmla="*/ 175 w 308"/>
                    <a:gd name="T11" fmla="*/ 8 h 267"/>
                    <a:gd name="T12" fmla="*/ 177 w 308"/>
                    <a:gd name="T13" fmla="*/ 12 h 267"/>
                    <a:gd name="T14" fmla="*/ 190 w 308"/>
                    <a:gd name="T15" fmla="*/ 16 h 267"/>
                    <a:gd name="T16" fmla="*/ 210 w 308"/>
                    <a:gd name="T17" fmla="*/ 32 h 267"/>
                    <a:gd name="T18" fmla="*/ 230 w 308"/>
                    <a:gd name="T19" fmla="*/ 190 h 267"/>
                    <a:gd name="T20" fmla="*/ 172 w 308"/>
                    <a:gd name="T21" fmla="*/ 119 h 267"/>
                    <a:gd name="T22" fmla="*/ 124 w 308"/>
                    <a:gd name="T23" fmla="*/ 94 h 267"/>
                    <a:gd name="T24" fmla="*/ 74 w 308"/>
                    <a:gd name="T25" fmla="*/ 128 h 267"/>
                    <a:gd name="T26" fmla="*/ 0 w 308"/>
                    <a:gd name="T27" fmla="*/ 267 h 267"/>
                    <a:gd name="T28" fmla="*/ 135 w 308"/>
                    <a:gd name="T29" fmla="*/ 267 h 267"/>
                    <a:gd name="T30" fmla="*/ 139 w 308"/>
                    <a:gd name="T31" fmla="*/ 192 h 267"/>
                    <a:gd name="T32" fmla="*/ 218 w 308"/>
                    <a:gd name="T33" fmla="*/ 267 h 267"/>
                    <a:gd name="T34" fmla="*/ 308 w 308"/>
                    <a:gd name="T35" fmla="*/ 267 h 267"/>
                    <a:gd name="T36" fmla="*/ 223 w 308"/>
                    <a:gd name="T37" fmla="*/ 29 h 267"/>
                    <a:gd name="T38" fmla="*/ 222 w 308"/>
                    <a:gd name="T39" fmla="*/ 20 h 267"/>
                    <a:gd name="T40" fmla="*/ 214 w 308"/>
                    <a:gd name="T41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08" h="267">
                      <a:moveTo>
                        <a:pt x="214" y="0"/>
                      </a:moveTo>
                      <a:cubicBezTo>
                        <a:pt x="208" y="1"/>
                        <a:pt x="208" y="1"/>
                        <a:pt x="208" y="1"/>
                      </a:cubicBezTo>
                      <a:cubicBezTo>
                        <a:pt x="210" y="13"/>
                        <a:pt x="210" y="13"/>
                        <a:pt x="210" y="13"/>
                      </a:cubicBezTo>
                      <a:cubicBezTo>
                        <a:pt x="210" y="13"/>
                        <a:pt x="198" y="4"/>
                        <a:pt x="195" y="4"/>
                      </a:cubicBezTo>
                      <a:cubicBezTo>
                        <a:pt x="194" y="4"/>
                        <a:pt x="194" y="4"/>
                        <a:pt x="194" y="4"/>
                      </a:cubicBezTo>
                      <a:cubicBezTo>
                        <a:pt x="191" y="5"/>
                        <a:pt x="175" y="8"/>
                        <a:pt x="175" y="8"/>
                      </a:cubicBezTo>
                      <a:cubicBezTo>
                        <a:pt x="175" y="8"/>
                        <a:pt x="173" y="12"/>
                        <a:pt x="177" y="12"/>
                      </a:cubicBezTo>
                      <a:cubicBezTo>
                        <a:pt x="178" y="12"/>
                        <a:pt x="187" y="15"/>
                        <a:pt x="190" y="16"/>
                      </a:cubicBezTo>
                      <a:cubicBezTo>
                        <a:pt x="210" y="32"/>
                        <a:pt x="210" y="32"/>
                        <a:pt x="210" y="32"/>
                      </a:cubicBezTo>
                      <a:cubicBezTo>
                        <a:pt x="230" y="190"/>
                        <a:pt x="230" y="190"/>
                        <a:pt x="230" y="190"/>
                      </a:cubicBezTo>
                      <a:cubicBezTo>
                        <a:pt x="200" y="154"/>
                        <a:pt x="177" y="125"/>
                        <a:pt x="172" y="119"/>
                      </a:cubicBezTo>
                      <a:cubicBezTo>
                        <a:pt x="164" y="107"/>
                        <a:pt x="145" y="94"/>
                        <a:pt x="124" y="94"/>
                      </a:cubicBezTo>
                      <a:cubicBezTo>
                        <a:pt x="107" y="94"/>
                        <a:pt x="89" y="102"/>
                        <a:pt x="74" y="128"/>
                      </a:cubicBezTo>
                      <a:cubicBezTo>
                        <a:pt x="54" y="164"/>
                        <a:pt x="24" y="222"/>
                        <a:pt x="0" y="267"/>
                      </a:cubicBezTo>
                      <a:cubicBezTo>
                        <a:pt x="135" y="267"/>
                        <a:pt x="135" y="267"/>
                        <a:pt x="135" y="267"/>
                      </a:cubicBezTo>
                      <a:cubicBezTo>
                        <a:pt x="138" y="241"/>
                        <a:pt x="139" y="214"/>
                        <a:pt x="139" y="192"/>
                      </a:cubicBezTo>
                      <a:cubicBezTo>
                        <a:pt x="218" y="267"/>
                        <a:pt x="218" y="267"/>
                        <a:pt x="218" y="267"/>
                      </a:cubicBezTo>
                      <a:cubicBezTo>
                        <a:pt x="308" y="267"/>
                        <a:pt x="308" y="267"/>
                        <a:pt x="308" y="267"/>
                      </a:cubicBezTo>
                      <a:cubicBezTo>
                        <a:pt x="297" y="187"/>
                        <a:pt x="223" y="29"/>
                        <a:pt x="223" y="29"/>
                      </a:cubicBezTo>
                      <a:cubicBezTo>
                        <a:pt x="223" y="29"/>
                        <a:pt x="223" y="24"/>
                        <a:pt x="222" y="20"/>
                      </a:cubicBezTo>
                      <a:cubicBezTo>
                        <a:pt x="218" y="11"/>
                        <a:pt x="214" y="0"/>
                        <a:pt x="214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6" name="Freeform 176">
                  <a:extLst>
                    <a:ext uri="{FF2B5EF4-FFF2-40B4-BE49-F238E27FC236}">
                      <a16:creationId xmlns:a16="http://schemas.microsoft.com/office/drawing/2014/main" id="{FB76A392-6509-550F-77E8-972C4DA46F8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36034" y="4916018"/>
                  <a:ext cx="541027" cy="181578"/>
                </a:xfrm>
                <a:custGeom>
                  <a:avLst/>
                  <a:gdLst>
                    <a:gd name="T0" fmla="*/ 91 w 375"/>
                    <a:gd name="T1" fmla="*/ 0 h 126"/>
                    <a:gd name="T2" fmla="*/ 48 w 375"/>
                    <a:gd name="T3" fmla="*/ 25 h 126"/>
                    <a:gd name="T4" fmla="*/ 0 w 375"/>
                    <a:gd name="T5" fmla="*/ 126 h 126"/>
                    <a:gd name="T6" fmla="*/ 88 w 375"/>
                    <a:gd name="T7" fmla="*/ 126 h 126"/>
                    <a:gd name="T8" fmla="*/ 92 w 375"/>
                    <a:gd name="T9" fmla="*/ 48 h 126"/>
                    <a:gd name="T10" fmla="*/ 152 w 375"/>
                    <a:gd name="T11" fmla="*/ 55 h 126"/>
                    <a:gd name="T12" fmla="*/ 240 w 375"/>
                    <a:gd name="T13" fmla="*/ 52 h 126"/>
                    <a:gd name="T14" fmla="*/ 331 w 375"/>
                    <a:gd name="T15" fmla="*/ 50 h 126"/>
                    <a:gd name="T16" fmla="*/ 341 w 375"/>
                    <a:gd name="T17" fmla="*/ 50 h 126"/>
                    <a:gd name="T18" fmla="*/ 349 w 375"/>
                    <a:gd name="T19" fmla="*/ 51 h 126"/>
                    <a:gd name="T20" fmla="*/ 351 w 375"/>
                    <a:gd name="T21" fmla="*/ 51 h 126"/>
                    <a:gd name="T22" fmla="*/ 371 w 375"/>
                    <a:gd name="T23" fmla="*/ 50 h 126"/>
                    <a:gd name="T24" fmla="*/ 372 w 375"/>
                    <a:gd name="T25" fmla="*/ 44 h 126"/>
                    <a:gd name="T26" fmla="*/ 360 w 375"/>
                    <a:gd name="T27" fmla="*/ 42 h 126"/>
                    <a:gd name="T28" fmla="*/ 373 w 375"/>
                    <a:gd name="T29" fmla="*/ 29 h 126"/>
                    <a:gd name="T30" fmla="*/ 375 w 375"/>
                    <a:gd name="T31" fmla="*/ 10 h 126"/>
                    <a:gd name="T32" fmla="*/ 372 w 375"/>
                    <a:gd name="T33" fmla="*/ 9 h 126"/>
                    <a:gd name="T34" fmla="*/ 370 w 375"/>
                    <a:gd name="T35" fmla="*/ 10 h 126"/>
                    <a:gd name="T36" fmla="*/ 363 w 375"/>
                    <a:gd name="T37" fmla="*/ 22 h 126"/>
                    <a:gd name="T38" fmla="*/ 342 w 375"/>
                    <a:gd name="T39" fmla="*/ 36 h 126"/>
                    <a:gd name="T40" fmla="*/ 176 w 375"/>
                    <a:gd name="T41" fmla="*/ 13 h 126"/>
                    <a:gd name="T42" fmla="*/ 91 w 375"/>
                    <a:gd name="T43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75" h="126">
                      <a:moveTo>
                        <a:pt x="91" y="0"/>
                      </a:moveTo>
                      <a:cubicBezTo>
                        <a:pt x="91" y="0"/>
                        <a:pt x="65" y="2"/>
                        <a:pt x="48" y="25"/>
                      </a:cubicBezTo>
                      <a:cubicBezTo>
                        <a:pt x="46" y="29"/>
                        <a:pt x="23" y="76"/>
                        <a:pt x="0" y="126"/>
                      </a:cubicBezTo>
                      <a:cubicBezTo>
                        <a:pt x="88" y="126"/>
                        <a:pt x="88" y="126"/>
                        <a:pt x="88" y="126"/>
                      </a:cubicBezTo>
                      <a:cubicBezTo>
                        <a:pt x="91" y="96"/>
                        <a:pt x="92" y="67"/>
                        <a:pt x="92" y="48"/>
                      </a:cubicBezTo>
                      <a:cubicBezTo>
                        <a:pt x="99" y="53"/>
                        <a:pt x="121" y="55"/>
                        <a:pt x="152" y="55"/>
                      </a:cubicBezTo>
                      <a:cubicBezTo>
                        <a:pt x="177" y="55"/>
                        <a:pt x="208" y="53"/>
                        <a:pt x="240" y="52"/>
                      </a:cubicBezTo>
                      <a:cubicBezTo>
                        <a:pt x="271" y="51"/>
                        <a:pt x="303" y="50"/>
                        <a:pt x="331" y="50"/>
                      </a:cubicBezTo>
                      <a:cubicBezTo>
                        <a:pt x="334" y="50"/>
                        <a:pt x="338" y="50"/>
                        <a:pt x="341" y="50"/>
                      </a:cubicBezTo>
                      <a:cubicBezTo>
                        <a:pt x="341" y="50"/>
                        <a:pt x="345" y="51"/>
                        <a:pt x="349" y="51"/>
                      </a:cubicBezTo>
                      <a:cubicBezTo>
                        <a:pt x="349" y="51"/>
                        <a:pt x="350" y="51"/>
                        <a:pt x="351" y="51"/>
                      </a:cubicBezTo>
                      <a:cubicBezTo>
                        <a:pt x="360" y="50"/>
                        <a:pt x="371" y="50"/>
                        <a:pt x="371" y="50"/>
                      </a:cubicBezTo>
                      <a:cubicBezTo>
                        <a:pt x="372" y="44"/>
                        <a:pt x="372" y="44"/>
                        <a:pt x="372" y="44"/>
                      </a:cubicBezTo>
                      <a:cubicBezTo>
                        <a:pt x="360" y="42"/>
                        <a:pt x="360" y="42"/>
                        <a:pt x="360" y="42"/>
                      </a:cubicBezTo>
                      <a:cubicBezTo>
                        <a:pt x="360" y="42"/>
                        <a:pt x="373" y="33"/>
                        <a:pt x="373" y="29"/>
                      </a:cubicBezTo>
                      <a:cubicBezTo>
                        <a:pt x="373" y="26"/>
                        <a:pt x="375" y="10"/>
                        <a:pt x="375" y="10"/>
                      </a:cubicBezTo>
                      <a:cubicBezTo>
                        <a:pt x="375" y="10"/>
                        <a:pt x="374" y="9"/>
                        <a:pt x="372" y="9"/>
                      </a:cubicBezTo>
                      <a:cubicBezTo>
                        <a:pt x="372" y="9"/>
                        <a:pt x="371" y="9"/>
                        <a:pt x="370" y="10"/>
                      </a:cubicBezTo>
                      <a:cubicBezTo>
                        <a:pt x="370" y="11"/>
                        <a:pt x="365" y="19"/>
                        <a:pt x="363" y="22"/>
                      </a:cubicBezTo>
                      <a:cubicBezTo>
                        <a:pt x="342" y="36"/>
                        <a:pt x="342" y="36"/>
                        <a:pt x="342" y="36"/>
                      </a:cubicBezTo>
                      <a:cubicBezTo>
                        <a:pt x="176" y="13"/>
                        <a:pt x="176" y="13"/>
                        <a:pt x="176" y="13"/>
                      </a:cubicBezTo>
                      <a:cubicBezTo>
                        <a:pt x="91" y="0"/>
                        <a:pt x="91" y="0"/>
                        <a:pt x="91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6988963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2295CD-F365-65C5-983F-070D8C0114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" name="think-cell data - do not delete" hidden="1">
            <a:extLst>
              <a:ext uri="{FF2B5EF4-FFF2-40B4-BE49-F238E27FC236}">
                <a16:creationId xmlns:a16="http://schemas.microsoft.com/office/drawing/2014/main" id="{4E188B95-85FF-DC20-2521-53E9223F8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014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06" imgH="608" progId="TCLayout.ActiveDocument.1">
                  <p:embed/>
                </p:oleObj>
              </mc:Choice>
              <mc:Fallback>
                <p:oleObj name="think-cell Folie" r:id="rId3" imgW="606" imgH="608" progId="TCLayout.ActiveDocument.1">
                  <p:embed/>
                  <p:pic>
                    <p:nvPicPr>
                      <p:cNvPr id="26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8D9D1D-F4C7-B649-6736-A7CEC5112D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13D0D1F1-843D-8D5F-C17C-1625DF37D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err="1"/>
              <a:t>Liability</a:t>
            </a:r>
            <a:r>
              <a:rPr lang="de-DE" dirty="0"/>
              <a:t> </a:t>
            </a:r>
            <a:r>
              <a:rPr lang="de-DE" dirty="0" err="1"/>
              <a:t>loss</a:t>
            </a:r>
            <a:r>
              <a:rPr lang="de-DE" dirty="0"/>
              <a:t> </a:t>
            </a:r>
            <a:r>
              <a:rPr lang="de-DE" dirty="0" err="1"/>
              <a:t>trends</a:t>
            </a:r>
            <a:br>
              <a:rPr lang="de-DE" dirty="0"/>
            </a:br>
            <a:r>
              <a:rPr lang="de-DE" dirty="0"/>
              <a:t>2024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05623D3-6C11-ACC0-0CA7-4804C38EB71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06</a:t>
            </a:r>
          </a:p>
        </p:txBody>
      </p:sp>
      <p:grpSp>
        <p:nvGrpSpPr>
          <p:cNvPr id="6" name="Group 8">
            <a:extLst>
              <a:ext uri="{FF2B5EF4-FFF2-40B4-BE49-F238E27FC236}">
                <a16:creationId xmlns:a16="http://schemas.microsoft.com/office/drawing/2014/main" id="{EA462E0C-318C-E9CD-0BAC-C8118FC3C8BA}"/>
              </a:ext>
            </a:extLst>
          </p:cNvPr>
          <p:cNvGrpSpPr/>
          <p:nvPr/>
        </p:nvGrpSpPr>
        <p:grpSpPr>
          <a:xfrm>
            <a:off x="335360" y="1694602"/>
            <a:ext cx="5113637" cy="4188876"/>
            <a:chOff x="445135" y="1549065"/>
            <a:chExt cx="4331926" cy="3548531"/>
          </a:xfrm>
        </p:grpSpPr>
        <p:grpSp>
          <p:nvGrpSpPr>
            <p:cNvPr id="7" name="Group 7">
              <a:extLst>
                <a:ext uri="{FF2B5EF4-FFF2-40B4-BE49-F238E27FC236}">
                  <a16:creationId xmlns:a16="http://schemas.microsoft.com/office/drawing/2014/main" id="{B91BDDD9-7E59-A39B-238C-309870F76A4F}"/>
                </a:ext>
              </a:extLst>
            </p:cNvPr>
            <p:cNvGrpSpPr/>
            <p:nvPr/>
          </p:nvGrpSpPr>
          <p:grpSpPr>
            <a:xfrm>
              <a:off x="445135" y="1549065"/>
              <a:ext cx="3558677" cy="3191816"/>
              <a:chOff x="445135" y="1549065"/>
              <a:chExt cx="3558677" cy="3191816"/>
            </a:xfrm>
          </p:grpSpPr>
          <p:sp>
            <p:nvSpPr>
              <p:cNvPr id="95" name="Block Arc 1015">
                <a:extLst>
                  <a:ext uri="{FF2B5EF4-FFF2-40B4-BE49-F238E27FC236}">
                    <a16:creationId xmlns:a16="http://schemas.microsoft.com/office/drawing/2014/main" id="{6EA168F6-7FD2-B618-7CDF-912A40C993E1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20207308">
                <a:off x="725875" y="1982498"/>
                <a:ext cx="3010427" cy="2737514"/>
              </a:xfrm>
              <a:prstGeom prst="blockArc">
                <a:avLst>
                  <a:gd name="adj1" fmla="val 12006639"/>
                  <a:gd name="adj2" fmla="val 0"/>
                  <a:gd name="adj3" fmla="val 25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solidFill>
                    <a:schemeClr val="tx1"/>
                  </a:solidFill>
                </a:endParaRPr>
              </a:p>
            </p:txBody>
          </p:sp>
          <p:pic>
            <p:nvPicPr>
              <p:cNvPr id="96" name="Picture 8">
                <a:extLst>
                  <a:ext uri="{FF2B5EF4-FFF2-40B4-BE49-F238E27FC236}">
                    <a16:creationId xmlns:a16="http://schemas.microsoft.com/office/drawing/2014/main" id="{D948BA9F-E8E1-4991-EF43-5E13D9B4A74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34972" y="1928279"/>
                <a:ext cx="9882" cy="61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97" name="Group 1018">
                <a:extLst>
                  <a:ext uri="{FF2B5EF4-FFF2-40B4-BE49-F238E27FC236}">
                    <a16:creationId xmlns:a16="http://schemas.microsoft.com/office/drawing/2014/main" id="{E23F552F-469A-31F5-B7DA-7FB22CAD76D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45135" y="1549065"/>
                <a:ext cx="3106586" cy="2757018"/>
                <a:chOff x="528638" y="2306638"/>
                <a:chExt cx="3992563" cy="3543301"/>
              </a:xfrm>
            </p:grpSpPr>
            <p:sp>
              <p:nvSpPr>
                <p:cNvPr id="227" name="Freeform 38">
                  <a:extLst>
                    <a:ext uri="{FF2B5EF4-FFF2-40B4-BE49-F238E27FC236}">
                      <a16:creationId xmlns:a16="http://schemas.microsoft.com/office/drawing/2014/main" id="{2B4823B8-A347-66D2-786F-4F5B6523A7B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58800" y="4167188"/>
                  <a:ext cx="139700" cy="38100"/>
                </a:xfrm>
                <a:custGeom>
                  <a:avLst/>
                  <a:gdLst>
                    <a:gd name="T0" fmla="*/ 75 w 76"/>
                    <a:gd name="T1" fmla="*/ 21 h 21"/>
                    <a:gd name="T2" fmla="*/ 76 w 76"/>
                    <a:gd name="T3" fmla="*/ 13 h 21"/>
                    <a:gd name="T4" fmla="*/ 2 w 76"/>
                    <a:gd name="T5" fmla="*/ 0 h 21"/>
                    <a:gd name="T6" fmla="*/ 0 w 76"/>
                    <a:gd name="T7" fmla="*/ 8 h 21"/>
                    <a:gd name="T8" fmla="*/ 75 w 76"/>
                    <a:gd name="T9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6" h="21">
                      <a:moveTo>
                        <a:pt x="75" y="21"/>
                      </a:moveTo>
                      <a:cubicBezTo>
                        <a:pt x="75" y="18"/>
                        <a:pt x="76" y="15"/>
                        <a:pt x="76" y="13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2"/>
                        <a:pt x="1" y="5"/>
                        <a:pt x="0" y="8"/>
                      </a:cubicBezTo>
                      <a:lnTo>
                        <a:pt x="75" y="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 45">
                  <a:extLst>
                    <a:ext uri="{FF2B5EF4-FFF2-40B4-BE49-F238E27FC236}">
                      <a16:creationId xmlns:a16="http://schemas.microsoft.com/office/drawing/2014/main" id="{21608ED0-C05D-B437-6FE2-F56841BBCF8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95313" y="3963988"/>
                  <a:ext cx="177800" cy="80963"/>
                </a:xfrm>
                <a:custGeom>
                  <a:avLst/>
                  <a:gdLst>
                    <a:gd name="T0" fmla="*/ 0 w 96"/>
                    <a:gd name="T1" fmla="*/ 19 h 44"/>
                    <a:gd name="T2" fmla="*/ 91 w 96"/>
                    <a:gd name="T3" fmla="*/ 44 h 44"/>
                    <a:gd name="T4" fmla="*/ 93 w 96"/>
                    <a:gd name="T5" fmla="*/ 35 h 44"/>
                    <a:gd name="T6" fmla="*/ 96 w 96"/>
                    <a:gd name="T7" fmla="*/ 25 h 44"/>
                    <a:gd name="T8" fmla="*/ 6 w 96"/>
                    <a:gd name="T9" fmla="*/ 0 h 44"/>
                    <a:gd name="T10" fmla="*/ 3 w 96"/>
                    <a:gd name="T11" fmla="*/ 10 h 44"/>
                    <a:gd name="T12" fmla="*/ 0 w 96"/>
                    <a:gd name="T13" fmla="*/ 19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6" h="44">
                      <a:moveTo>
                        <a:pt x="0" y="19"/>
                      </a:moveTo>
                      <a:cubicBezTo>
                        <a:pt x="91" y="44"/>
                        <a:pt x="91" y="44"/>
                        <a:pt x="91" y="44"/>
                      </a:cubicBezTo>
                      <a:cubicBezTo>
                        <a:pt x="91" y="43"/>
                        <a:pt x="93" y="36"/>
                        <a:pt x="93" y="35"/>
                      </a:cubicBezTo>
                      <a:cubicBezTo>
                        <a:pt x="94" y="33"/>
                        <a:pt x="96" y="26"/>
                        <a:pt x="96" y="25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5" y="1"/>
                        <a:pt x="3" y="8"/>
                        <a:pt x="3" y="10"/>
                      </a:cubicBezTo>
                      <a:cubicBezTo>
                        <a:pt x="3" y="11"/>
                        <a:pt x="1" y="18"/>
                        <a:pt x="0" y="1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229" name="Group 1238">
                  <a:extLst>
                    <a:ext uri="{FF2B5EF4-FFF2-40B4-BE49-F238E27FC236}">
                      <a16:creationId xmlns:a16="http://schemas.microsoft.com/office/drawing/2014/main" id="{C01D27ED-41C8-D8F3-EDB5-16C6CDE145A4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528638" y="2306638"/>
                  <a:ext cx="3992563" cy="3543301"/>
                  <a:chOff x="528638" y="2306638"/>
                  <a:chExt cx="3992563" cy="3543301"/>
                </a:xfrm>
              </p:grpSpPr>
              <p:sp>
                <p:nvSpPr>
                  <p:cNvPr id="230" name="Oval 10">
                    <a:extLst>
                      <a:ext uri="{FF2B5EF4-FFF2-40B4-BE49-F238E27FC236}">
                        <a16:creationId xmlns:a16="http://schemas.microsoft.com/office/drawing/2014/main" id="{F6809571-C844-0CC5-12A0-52EBB9858EA0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957263" y="5762626"/>
                    <a:ext cx="87313" cy="8731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1" name="Freeform 11">
                    <a:extLst>
                      <a:ext uri="{FF2B5EF4-FFF2-40B4-BE49-F238E27FC236}">
                        <a16:creationId xmlns:a16="http://schemas.microsoft.com/office/drawing/2014/main" id="{6E914644-CE83-4F4B-1CE4-5AF4939150A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008188" y="2438401"/>
                    <a:ext cx="63500" cy="136525"/>
                  </a:xfrm>
                  <a:custGeom>
                    <a:avLst/>
                    <a:gdLst>
                      <a:gd name="T0" fmla="*/ 26 w 34"/>
                      <a:gd name="T1" fmla="*/ 74 h 74"/>
                      <a:gd name="T2" fmla="*/ 34 w 34"/>
                      <a:gd name="T3" fmla="*/ 71 h 74"/>
                      <a:gd name="T4" fmla="*/ 8 w 34"/>
                      <a:gd name="T5" fmla="*/ 0 h 74"/>
                      <a:gd name="T6" fmla="*/ 0 w 34"/>
                      <a:gd name="T7" fmla="*/ 2 h 74"/>
                      <a:gd name="T8" fmla="*/ 26 w 34"/>
                      <a:gd name="T9" fmla="*/ 7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" h="74">
                        <a:moveTo>
                          <a:pt x="26" y="74"/>
                        </a:moveTo>
                        <a:cubicBezTo>
                          <a:pt x="28" y="73"/>
                          <a:pt x="31" y="72"/>
                          <a:pt x="34" y="71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3" y="1"/>
                          <a:pt x="0" y="2"/>
                        </a:cubicBezTo>
                        <a:lnTo>
                          <a:pt x="26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2" name="Freeform 12">
                    <a:extLst>
                      <a:ext uri="{FF2B5EF4-FFF2-40B4-BE49-F238E27FC236}">
                        <a16:creationId xmlns:a16="http://schemas.microsoft.com/office/drawing/2014/main" id="{A2B259C2-FCF6-56F6-B47B-0F1A9425BB0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389188" y="2338388"/>
                    <a:ext cx="39688" cy="139700"/>
                  </a:xfrm>
                  <a:custGeom>
                    <a:avLst/>
                    <a:gdLst>
                      <a:gd name="T0" fmla="*/ 13 w 21"/>
                      <a:gd name="T1" fmla="*/ 76 h 76"/>
                      <a:gd name="T2" fmla="*/ 21 w 21"/>
                      <a:gd name="T3" fmla="*/ 75 h 76"/>
                      <a:gd name="T4" fmla="*/ 8 w 21"/>
                      <a:gd name="T5" fmla="*/ 0 h 76"/>
                      <a:gd name="T6" fmla="*/ 0 w 21"/>
                      <a:gd name="T7" fmla="*/ 1 h 76"/>
                      <a:gd name="T8" fmla="*/ 13 w 21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6">
                        <a:moveTo>
                          <a:pt x="13" y="76"/>
                        </a:moveTo>
                        <a:cubicBezTo>
                          <a:pt x="15" y="75"/>
                          <a:pt x="18" y="75"/>
                          <a:pt x="21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2" y="1"/>
                          <a:pt x="0" y="1"/>
                        </a:cubicBezTo>
                        <a:lnTo>
                          <a:pt x="13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3" name="Freeform 13">
                    <a:extLst>
                      <a:ext uri="{FF2B5EF4-FFF2-40B4-BE49-F238E27FC236}">
                        <a16:creationId xmlns:a16="http://schemas.microsoft.com/office/drawing/2014/main" id="{BD92DA5F-D067-6753-061A-0271CFE8D51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584450" y="2314576"/>
                    <a:ext cx="28575" cy="139700"/>
                  </a:xfrm>
                  <a:custGeom>
                    <a:avLst/>
                    <a:gdLst>
                      <a:gd name="T0" fmla="*/ 7 w 15"/>
                      <a:gd name="T1" fmla="*/ 76 h 76"/>
                      <a:gd name="T2" fmla="*/ 15 w 15"/>
                      <a:gd name="T3" fmla="*/ 75 h 76"/>
                      <a:gd name="T4" fmla="*/ 8 w 15"/>
                      <a:gd name="T5" fmla="*/ 0 h 76"/>
                      <a:gd name="T6" fmla="*/ 0 w 15"/>
                      <a:gd name="T7" fmla="*/ 1 h 76"/>
                      <a:gd name="T8" fmla="*/ 7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7" y="76"/>
                        </a:moveTo>
                        <a:cubicBezTo>
                          <a:pt x="9" y="76"/>
                          <a:pt x="12" y="75"/>
                          <a:pt x="15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6" y="0"/>
                          <a:pt x="3" y="0"/>
                          <a:pt x="0" y="1"/>
                        </a:cubicBezTo>
                        <a:lnTo>
                          <a:pt x="7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4" name="Freeform 14">
                    <a:extLst>
                      <a:ext uri="{FF2B5EF4-FFF2-40B4-BE49-F238E27FC236}">
                        <a16:creationId xmlns:a16="http://schemas.microsoft.com/office/drawing/2014/main" id="{36D4A583-1B46-2AD4-0150-88AD2BE7B24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197100" y="2378076"/>
                    <a:ext cx="49213" cy="141288"/>
                  </a:xfrm>
                  <a:custGeom>
                    <a:avLst/>
                    <a:gdLst>
                      <a:gd name="T0" fmla="*/ 19 w 27"/>
                      <a:gd name="T1" fmla="*/ 76 h 76"/>
                      <a:gd name="T2" fmla="*/ 27 w 27"/>
                      <a:gd name="T3" fmla="*/ 73 h 76"/>
                      <a:gd name="T4" fmla="*/ 7 w 27"/>
                      <a:gd name="T5" fmla="*/ 0 h 76"/>
                      <a:gd name="T6" fmla="*/ 0 w 27"/>
                      <a:gd name="T7" fmla="*/ 2 h 76"/>
                      <a:gd name="T8" fmla="*/ 19 w 27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6">
                        <a:moveTo>
                          <a:pt x="19" y="76"/>
                        </a:moveTo>
                        <a:cubicBezTo>
                          <a:pt x="22" y="75"/>
                          <a:pt x="24" y="74"/>
                          <a:pt x="27" y="73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2" y="2"/>
                          <a:pt x="0" y="2"/>
                        </a:cubicBezTo>
                        <a:lnTo>
                          <a:pt x="19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5" name="Freeform 15">
                    <a:extLst>
                      <a:ext uri="{FF2B5EF4-FFF2-40B4-BE49-F238E27FC236}">
                        <a16:creationId xmlns:a16="http://schemas.microsoft.com/office/drawing/2014/main" id="{DC386FB1-2A24-5F59-512E-F155A7B6A5B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322638" y="2381251"/>
                    <a:ext cx="49213" cy="138113"/>
                  </a:xfrm>
                  <a:custGeom>
                    <a:avLst/>
                    <a:gdLst>
                      <a:gd name="T0" fmla="*/ 0 w 27"/>
                      <a:gd name="T1" fmla="*/ 73 h 75"/>
                      <a:gd name="T2" fmla="*/ 8 w 27"/>
                      <a:gd name="T3" fmla="*/ 75 h 75"/>
                      <a:gd name="T4" fmla="*/ 27 w 27"/>
                      <a:gd name="T5" fmla="*/ 2 h 75"/>
                      <a:gd name="T6" fmla="*/ 20 w 27"/>
                      <a:gd name="T7" fmla="*/ 0 h 75"/>
                      <a:gd name="T8" fmla="*/ 0 w 27"/>
                      <a:gd name="T9" fmla="*/ 73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5">
                        <a:moveTo>
                          <a:pt x="0" y="73"/>
                        </a:moveTo>
                        <a:cubicBezTo>
                          <a:pt x="3" y="74"/>
                          <a:pt x="5" y="75"/>
                          <a:pt x="8" y="75"/>
                        </a:cubicBezTo>
                        <a:cubicBezTo>
                          <a:pt x="27" y="2"/>
                          <a:pt x="27" y="2"/>
                          <a:pt x="27" y="2"/>
                        </a:cubicBezTo>
                        <a:cubicBezTo>
                          <a:pt x="25" y="1"/>
                          <a:pt x="22" y="1"/>
                          <a:pt x="20" y="0"/>
                        </a:cubicBezTo>
                        <a:lnTo>
                          <a:pt x="0" y="7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6" name="Freeform 16">
                    <a:extLst>
                      <a:ext uri="{FF2B5EF4-FFF2-40B4-BE49-F238E27FC236}">
                        <a16:creationId xmlns:a16="http://schemas.microsoft.com/office/drawing/2014/main" id="{4B3686F8-2234-070A-3EFF-0288DB7D023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763838" y="2306638"/>
                    <a:ext cx="38100" cy="174625"/>
                  </a:xfrm>
                  <a:custGeom>
                    <a:avLst/>
                    <a:gdLst>
                      <a:gd name="T0" fmla="*/ 0 w 20"/>
                      <a:gd name="T1" fmla="*/ 0 h 94"/>
                      <a:gd name="T2" fmla="*/ 0 w 20"/>
                      <a:gd name="T3" fmla="*/ 94 h 94"/>
                      <a:gd name="T4" fmla="*/ 10 w 20"/>
                      <a:gd name="T5" fmla="*/ 94 h 94"/>
                      <a:gd name="T6" fmla="*/ 20 w 20"/>
                      <a:gd name="T7" fmla="*/ 94 h 94"/>
                      <a:gd name="T8" fmla="*/ 20 w 20"/>
                      <a:gd name="T9" fmla="*/ 0 h 94"/>
                      <a:gd name="T10" fmla="*/ 10 w 20"/>
                      <a:gd name="T11" fmla="*/ 0 h 94"/>
                      <a:gd name="T12" fmla="*/ 0 w 20"/>
                      <a:gd name="T13" fmla="*/ 0 h 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" h="94">
                        <a:moveTo>
                          <a:pt x="0" y="0"/>
                        </a:moveTo>
                        <a:cubicBezTo>
                          <a:pt x="0" y="94"/>
                          <a:pt x="0" y="94"/>
                          <a:pt x="0" y="94"/>
                        </a:cubicBezTo>
                        <a:cubicBezTo>
                          <a:pt x="1" y="94"/>
                          <a:pt x="8" y="94"/>
                          <a:pt x="10" y="94"/>
                        </a:cubicBezTo>
                        <a:cubicBezTo>
                          <a:pt x="11" y="94"/>
                          <a:pt x="18" y="94"/>
                          <a:pt x="20" y="94"/>
                        </a:cubicBezTo>
                        <a:cubicBezTo>
                          <a:pt x="20" y="0"/>
                          <a:pt x="20" y="0"/>
                          <a:pt x="20" y="0"/>
                        </a:cubicBezTo>
                        <a:cubicBezTo>
                          <a:pt x="18" y="0"/>
                          <a:pt x="11" y="0"/>
                          <a:pt x="10" y="0"/>
                        </a:cubicBezTo>
                        <a:cubicBezTo>
                          <a:pt x="8" y="0"/>
                          <a:pt x="1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7" name="Freeform 17">
                    <a:extLst>
                      <a:ext uri="{FF2B5EF4-FFF2-40B4-BE49-F238E27FC236}">
                        <a16:creationId xmlns:a16="http://schemas.microsoft.com/office/drawing/2014/main" id="{4BD40FC0-2019-0838-5C27-89B2FECE343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143250" y="2339976"/>
                    <a:ext cx="38100" cy="138113"/>
                  </a:xfrm>
                  <a:custGeom>
                    <a:avLst/>
                    <a:gdLst>
                      <a:gd name="T0" fmla="*/ 0 w 21"/>
                      <a:gd name="T1" fmla="*/ 74 h 75"/>
                      <a:gd name="T2" fmla="*/ 8 w 21"/>
                      <a:gd name="T3" fmla="*/ 75 h 75"/>
                      <a:gd name="T4" fmla="*/ 21 w 21"/>
                      <a:gd name="T5" fmla="*/ 1 h 75"/>
                      <a:gd name="T6" fmla="*/ 13 w 21"/>
                      <a:gd name="T7" fmla="*/ 0 h 75"/>
                      <a:gd name="T8" fmla="*/ 0 w 21"/>
                      <a:gd name="T9" fmla="*/ 74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5">
                        <a:moveTo>
                          <a:pt x="0" y="74"/>
                        </a:moveTo>
                        <a:cubicBezTo>
                          <a:pt x="2" y="75"/>
                          <a:pt x="5" y="75"/>
                          <a:pt x="8" y="75"/>
                        </a:cubicBezTo>
                        <a:cubicBezTo>
                          <a:pt x="21" y="1"/>
                          <a:pt x="21" y="1"/>
                          <a:pt x="21" y="1"/>
                        </a:cubicBezTo>
                        <a:cubicBezTo>
                          <a:pt x="18" y="0"/>
                          <a:pt x="15" y="0"/>
                          <a:pt x="13" y="0"/>
                        </a:cubicBezTo>
                        <a:lnTo>
                          <a:pt x="0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8" name="Freeform 18">
                    <a:extLst>
                      <a:ext uri="{FF2B5EF4-FFF2-40B4-BE49-F238E27FC236}">
                        <a16:creationId xmlns:a16="http://schemas.microsoft.com/office/drawing/2014/main" id="{B4D0C6ED-E3A5-F880-B800-D45A1973848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959100" y="2314576"/>
                    <a:ext cx="26988" cy="139700"/>
                  </a:xfrm>
                  <a:custGeom>
                    <a:avLst/>
                    <a:gdLst>
                      <a:gd name="T0" fmla="*/ 0 w 15"/>
                      <a:gd name="T1" fmla="*/ 76 h 76"/>
                      <a:gd name="T2" fmla="*/ 8 w 15"/>
                      <a:gd name="T3" fmla="*/ 76 h 76"/>
                      <a:gd name="T4" fmla="*/ 15 w 15"/>
                      <a:gd name="T5" fmla="*/ 1 h 76"/>
                      <a:gd name="T6" fmla="*/ 7 w 15"/>
                      <a:gd name="T7" fmla="*/ 0 h 76"/>
                      <a:gd name="T8" fmla="*/ 0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0" y="76"/>
                        </a:moveTo>
                        <a:cubicBezTo>
                          <a:pt x="3" y="76"/>
                          <a:pt x="5" y="76"/>
                          <a:pt x="8" y="76"/>
                        </a:cubicBezTo>
                        <a:cubicBezTo>
                          <a:pt x="15" y="1"/>
                          <a:pt x="15" y="1"/>
                          <a:pt x="15" y="1"/>
                        </a:cubicBezTo>
                        <a:cubicBezTo>
                          <a:pt x="12" y="1"/>
                          <a:pt x="9" y="0"/>
                          <a:pt x="7" y="0"/>
                        </a:cubicBezTo>
                        <a:lnTo>
                          <a:pt x="0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9" name="Freeform 19">
                    <a:extLst>
                      <a:ext uri="{FF2B5EF4-FFF2-40B4-BE49-F238E27FC236}">
                        <a16:creationId xmlns:a16="http://schemas.microsoft.com/office/drawing/2014/main" id="{C093B086-DAC6-03AB-D155-B07E3B9FB36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27100" y="3265488"/>
                    <a:ext cx="123825" cy="92075"/>
                  </a:xfrm>
                  <a:custGeom>
                    <a:avLst/>
                    <a:gdLst>
                      <a:gd name="T0" fmla="*/ 63 w 67"/>
                      <a:gd name="T1" fmla="*/ 50 h 50"/>
                      <a:gd name="T2" fmla="*/ 67 w 67"/>
                      <a:gd name="T3" fmla="*/ 43 h 50"/>
                      <a:gd name="T4" fmla="*/ 5 w 67"/>
                      <a:gd name="T5" fmla="*/ 0 h 50"/>
                      <a:gd name="T6" fmla="*/ 0 w 67"/>
                      <a:gd name="T7" fmla="*/ 6 h 50"/>
                      <a:gd name="T8" fmla="*/ 63 w 67"/>
                      <a:gd name="T9" fmla="*/ 5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7" h="50">
                        <a:moveTo>
                          <a:pt x="63" y="50"/>
                        </a:moveTo>
                        <a:cubicBezTo>
                          <a:pt x="64" y="48"/>
                          <a:pt x="66" y="46"/>
                          <a:pt x="67" y="43"/>
                        </a:cubicBezTo>
                        <a:cubicBezTo>
                          <a:pt x="5" y="0"/>
                          <a:pt x="5" y="0"/>
                          <a:pt x="5" y="0"/>
                        </a:cubicBezTo>
                        <a:cubicBezTo>
                          <a:pt x="3" y="2"/>
                          <a:pt x="2" y="4"/>
                          <a:pt x="0" y="6"/>
                        </a:cubicBezTo>
                        <a:lnTo>
                          <a:pt x="63" y="5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0" name="Freeform 20">
                    <a:extLst>
                      <a:ext uri="{FF2B5EF4-FFF2-40B4-BE49-F238E27FC236}">
                        <a16:creationId xmlns:a16="http://schemas.microsoft.com/office/drawing/2014/main" id="{E5DD6973-7090-A08B-BDDF-3326376E81C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0738" y="3430588"/>
                    <a:ext cx="130175" cy="82550"/>
                  </a:xfrm>
                  <a:custGeom>
                    <a:avLst/>
                    <a:gdLst>
                      <a:gd name="T0" fmla="*/ 66 w 70"/>
                      <a:gd name="T1" fmla="*/ 45 h 45"/>
                      <a:gd name="T2" fmla="*/ 70 w 70"/>
                      <a:gd name="T3" fmla="*/ 38 h 45"/>
                      <a:gd name="T4" fmla="*/ 4 w 70"/>
                      <a:gd name="T5" fmla="*/ 0 h 45"/>
                      <a:gd name="T6" fmla="*/ 0 w 70"/>
                      <a:gd name="T7" fmla="*/ 7 h 45"/>
                      <a:gd name="T8" fmla="*/ 66 w 70"/>
                      <a:gd name="T9" fmla="*/ 45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66" y="45"/>
                        </a:moveTo>
                        <a:cubicBezTo>
                          <a:pt x="68" y="43"/>
                          <a:pt x="69" y="41"/>
                          <a:pt x="70" y="38"/>
                        </a:cubicBez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3" y="3"/>
                          <a:pt x="2" y="5"/>
                          <a:pt x="0" y="7"/>
                        </a:cubicBezTo>
                        <a:lnTo>
                          <a:pt x="66" y="4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1" name="Freeform 21">
                    <a:extLst>
                      <a:ext uri="{FF2B5EF4-FFF2-40B4-BE49-F238E27FC236}">
                        <a16:creationId xmlns:a16="http://schemas.microsoft.com/office/drawing/2014/main" id="{A3B8BEB8-D88D-7E95-469F-55B9EA8292B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1838" y="3606801"/>
                    <a:ext cx="133350" cy="71438"/>
                  </a:xfrm>
                  <a:custGeom>
                    <a:avLst/>
                    <a:gdLst>
                      <a:gd name="T0" fmla="*/ 69 w 72"/>
                      <a:gd name="T1" fmla="*/ 39 h 39"/>
                      <a:gd name="T2" fmla="*/ 72 w 72"/>
                      <a:gd name="T3" fmla="*/ 32 h 39"/>
                      <a:gd name="T4" fmla="*/ 3 w 72"/>
                      <a:gd name="T5" fmla="*/ 0 h 39"/>
                      <a:gd name="T6" fmla="*/ 0 w 72"/>
                      <a:gd name="T7" fmla="*/ 7 h 39"/>
                      <a:gd name="T8" fmla="*/ 69 w 72"/>
                      <a:gd name="T9" fmla="*/ 39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69" y="39"/>
                        </a:moveTo>
                        <a:cubicBezTo>
                          <a:pt x="70" y="37"/>
                          <a:pt x="71" y="34"/>
                          <a:pt x="72" y="32"/>
                        </a:cubicBezTo>
                        <a:cubicBezTo>
                          <a:pt x="3" y="0"/>
                          <a:pt x="3" y="0"/>
                          <a:pt x="3" y="0"/>
                        </a:cubicBezTo>
                        <a:cubicBezTo>
                          <a:pt x="2" y="2"/>
                          <a:pt x="1" y="4"/>
                          <a:pt x="0" y="7"/>
                        </a:cubicBezTo>
                        <a:lnTo>
                          <a:pt x="69" y="3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2" name="Freeform 22">
                    <a:extLst>
                      <a:ext uri="{FF2B5EF4-FFF2-40B4-BE49-F238E27FC236}">
                        <a16:creationId xmlns:a16="http://schemas.microsoft.com/office/drawing/2014/main" id="{5686001E-2237-75B4-1E6F-981E8F0EE3C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498850" y="2438401"/>
                    <a:ext cx="60325" cy="138113"/>
                  </a:xfrm>
                  <a:custGeom>
                    <a:avLst/>
                    <a:gdLst>
                      <a:gd name="T0" fmla="*/ 0 w 33"/>
                      <a:gd name="T1" fmla="*/ 72 h 75"/>
                      <a:gd name="T2" fmla="*/ 7 w 33"/>
                      <a:gd name="T3" fmla="*/ 75 h 75"/>
                      <a:gd name="T4" fmla="*/ 33 w 33"/>
                      <a:gd name="T5" fmla="*/ 3 h 75"/>
                      <a:gd name="T6" fmla="*/ 26 w 33"/>
                      <a:gd name="T7" fmla="*/ 0 h 75"/>
                      <a:gd name="T8" fmla="*/ 0 w 33"/>
                      <a:gd name="T9" fmla="*/ 72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3" h="75">
                        <a:moveTo>
                          <a:pt x="0" y="72"/>
                        </a:moveTo>
                        <a:cubicBezTo>
                          <a:pt x="2" y="73"/>
                          <a:pt x="5" y="74"/>
                          <a:pt x="7" y="75"/>
                        </a:cubicBezTo>
                        <a:cubicBezTo>
                          <a:pt x="33" y="3"/>
                          <a:pt x="33" y="3"/>
                          <a:pt x="33" y="3"/>
                        </a:cubicBezTo>
                        <a:cubicBezTo>
                          <a:pt x="31" y="2"/>
                          <a:pt x="28" y="1"/>
                          <a:pt x="26" y="0"/>
                        </a:cubicBezTo>
                        <a:lnTo>
                          <a:pt x="0" y="7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3" name="Freeform 23">
                    <a:extLst>
                      <a:ext uri="{FF2B5EF4-FFF2-40B4-BE49-F238E27FC236}">
                        <a16:creationId xmlns:a16="http://schemas.microsoft.com/office/drawing/2014/main" id="{A3939097-C5CE-3111-FE9C-45300C1B1FA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649413" y="2601913"/>
                    <a:ext cx="84138" cy="130175"/>
                  </a:xfrm>
                  <a:custGeom>
                    <a:avLst/>
                    <a:gdLst>
                      <a:gd name="T0" fmla="*/ 38 w 45"/>
                      <a:gd name="T1" fmla="*/ 70 h 70"/>
                      <a:gd name="T2" fmla="*/ 45 w 45"/>
                      <a:gd name="T3" fmla="*/ 66 h 70"/>
                      <a:gd name="T4" fmla="*/ 7 w 45"/>
                      <a:gd name="T5" fmla="*/ 0 h 70"/>
                      <a:gd name="T6" fmla="*/ 0 w 45"/>
                      <a:gd name="T7" fmla="*/ 4 h 70"/>
                      <a:gd name="T8" fmla="*/ 38 w 45"/>
                      <a:gd name="T9" fmla="*/ 70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38" y="70"/>
                        </a:moveTo>
                        <a:cubicBezTo>
                          <a:pt x="41" y="68"/>
                          <a:pt x="43" y="67"/>
                          <a:pt x="45" y="66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3" y="2"/>
                          <a:pt x="0" y="4"/>
                        </a:cubicBezTo>
                        <a:lnTo>
                          <a:pt x="38" y="7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4" name="Freeform 24">
                    <a:extLst>
                      <a:ext uri="{FF2B5EF4-FFF2-40B4-BE49-F238E27FC236}">
                        <a16:creationId xmlns:a16="http://schemas.microsoft.com/office/drawing/2014/main" id="{0E5F8134-7E32-FB18-FEBA-177BC96B267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323975" y="2832101"/>
                    <a:ext cx="101600" cy="117475"/>
                  </a:xfrm>
                  <a:custGeom>
                    <a:avLst/>
                    <a:gdLst>
                      <a:gd name="T0" fmla="*/ 49 w 55"/>
                      <a:gd name="T1" fmla="*/ 63 h 63"/>
                      <a:gd name="T2" fmla="*/ 55 w 55"/>
                      <a:gd name="T3" fmla="*/ 58 h 63"/>
                      <a:gd name="T4" fmla="*/ 6 w 55"/>
                      <a:gd name="T5" fmla="*/ 0 h 63"/>
                      <a:gd name="T6" fmla="*/ 0 w 55"/>
                      <a:gd name="T7" fmla="*/ 5 h 63"/>
                      <a:gd name="T8" fmla="*/ 49 w 55"/>
                      <a:gd name="T9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49" y="63"/>
                        </a:moveTo>
                        <a:cubicBezTo>
                          <a:pt x="51" y="61"/>
                          <a:pt x="53" y="60"/>
                          <a:pt x="55" y="58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5"/>
                        </a:cubicBezTo>
                        <a:lnTo>
                          <a:pt x="49" y="6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5" name="Freeform 25">
                    <a:extLst>
                      <a:ext uri="{FF2B5EF4-FFF2-40B4-BE49-F238E27FC236}">
                        <a16:creationId xmlns:a16="http://schemas.microsoft.com/office/drawing/2014/main" id="{7DA19F92-99D4-271A-BD8C-737D96F2371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479550" y="2711451"/>
                    <a:ext cx="92075" cy="123825"/>
                  </a:xfrm>
                  <a:custGeom>
                    <a:avLst/>
                    <a:gdLst>
                      <a:gd name="T0" fmla="*/ 44 w 50"/>
                      <a:gd name="T1" fmla="*/ 67 h 67"/>
                      <a:gd name="T2" fmla="*/ 50 w 50"/>
                      <a:gd name="T3" fmla="*/ 62 h 67"/>
                      <a:gd name="T4" fmla="*/ 6 w 50"/>
                      <a:gd name="T5" fmla="*/ 0 h 67"/>
                      <a:gd name="T6" fmla="*/ 0 w 50"/>
                      <a:gd name="T7" fmla="*/ 4 h 67"/>
                      <a:gd name="T8" fmla="*/ 44 w 50"/>
                      <a:gd name="T9" fmla="*/ 67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0" h="67">
                        <a:moveTo>
                          <a:pt x="44" y="67"/>
                        </a:moveTo>
                        <a:cubicBezTo>
                          <a:pt x="46" y="65"/>
                          <a:pt x="48" y="64"/>
                          <a:pt x="50" y="62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4"/>
                        </a:cubicBezTo>
                        <a:lnTo>
                          <a:pt x="44" y="6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6" name="Freeform 26">
                    <a:extLst>
                      <a:ext uri="{FF2B5EF4-FFF2-40B4-BE49-F238E27FC236}">
                        <a16:creationId xmlns:a16="http://schemas.microsoft.com/office/drawing/2014/main" id="{F71310D4-02F5-2D8B-3513-80F87831C63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271963" y="2960688"/>
                    <a:ext cx="109538" cy="111125"/>
                  </a:xfrm>
                  <a:custGeom>
                    <a:avLst/>
                    <a:gdLst>
                      <a:gd name="T0" fmla="*/ 5 w 59"/>
                      <a:gd name="T1" fmla="*/ 60 h 60"/>
                      <a:gd name="T2" fmla="*/ 59 w 59"/>
                      <a:gd name="T3" fmla="*/ 6 h 60"/>
                      <a:gd name="T4" fmla="*/ 56 w 59"/>
                      <a:gd name="T5" fmla="*/ 3 h 60"/>
                      <a:gd name="T6" fmla="*/ 54 w 59"/>
                      <a:gd name="T7" fmla="*/ 0 h 60"/>
                      <a:gd name="T8" fmla="*/ 0 w 59"/>
                      <a:gd name="T9" fmla="*/ 54 h 60"/>
                      <a:gd name="T10" fmla="*/ 5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" y="60"/>
                        </a:moveTo>
                        <a:cubicBezTo>
                          <a:pt x="59" y="6"/>
                          <a:pt x="59" y="6"/>
                          <a:pt x="59" y="6"/>
                        </a:cubicBezTo>
                        <a:cubicBezTo>
                          <a:pt x="58" y="5"/>
                          <a:pt x="57" y="4"/>
                          <a:pt x="56" y="3"/>
                        </a:cubicBezTo>
                        <a:cubicBezTo>
                          <a:pt x="55" y="2"/>
                          <a:pt x="55" y="1"/>
                          <a:pt x="54" y="0"/>
                        </a:cubicBezTo>
                        <a:cubicBezTo>
                          <a:pt x="0" y="54"/>
                          <a:pt x="0" y="54"/>
                          <a:pt x="0" y="54"/>
                        </a:cubicBezTo>
                        <a:cubicBezTo>
                          <a:pt x="2" y="56"/>
                          <a:pt x="4" y="58"/>
                          <a:pt x="5" y="6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7" name="Freeform 27">
                    <a:extLst>
                      <a:ext uri="{FF2B5EF4-FFF2-40B4-BE49-F238E27FC236}">
                        <a16:creationId xmlns:a16="http://schemas.microsoft.com/office/drawing/2014/main" id="{88D57E38-1610-725D-C886-2DDBC8349B4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79513" y="2963863"/>
                    <a:ext cx="109538" cy="111125"/>
                  </a:xfrm>
                  <a:custGeom>
                    <a:avLst/>
                    <a:gdLst>
                      <a:gd name="T0" fmla="*/ 54 w 59"/>
                      <a:gd name="T1" fmla="*/ 60 h 60"/>
                      <a:gd name="T2" fmla="*/ 59 w 59"/>
                      <a:gd name="T3" fmla="*/ 54 h 60"/>
                      <a:gd name="T4" fmla="*/ 6 w 59"/>
                      <a:gd name="T5" fmla="*/ 0 h 60"/>
                      <a:gd name="T6" fmla="*/ 5 w 59"/>
                      <a:gd name="T7" fmla="*/ 1 h 60"/>
                      <a:gd name="T8" fmla="*/ 0 w 59"/>
                      <a:gd name="T9" fmla="*/ 6 h 60"/>
                      <a:gd name="T10" fmla="*/ 54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4" y="60"/>
                        </a:moveTo>
                        <a:cubicBezTo>
                          <a:pt x="56" y="58"/>
                          <a:pt x="57" y="56"/>
                          <a:pt x="59" y="54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5" y="1"/>
                          <a:pt x="5" y="1"/>
                          <a:pt x="5" y="1"/>
                        </a:cubicBezTo>
                        <a:cubicBezTo>
                          <a:pt x="3" y="3"/>
                          <a:pt x="2" y="4"/>
                          <a:pt x="0" y="6"/>
                        </a:cubicBezTo>
                        <a:lnTo>
                          <a:pt x="54" y="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8" name="Freeform 28">
                    <a:extLst>
                      <a:ext uri="{FF2B5EF4-FFF2-40B4-BE49-F238E27FC236}">
                        <a16:creationId xmlns:a16="http://schemas.microsoft.com/office/drawing/2014/main" id="{D04364B2-B42C-9DC9-F45A-28919039854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28638" y="4557713"/>
                    <a:ext cx="138113" cy="14288"/>
                  </a:xfrm>
                  <a:custGeom>
                    <a:avLst/>
                    <a:gdLst>
                      <a:gd name="T0" fmla="*/ 75 w 75"/>
                      <a:gd name="T1" fmla="*/ 0 h 8"/>
                      <a:gd name="T2" fmla="*/ 0 w 75"/>
                      <a:gd name="T3" fmla="*/ 0 h 8"/>
                      <a:gd name="T4" fmla="*/ 0 w 75"/>
                      <a:gd name="T5" fmla="*/ 8 h 8"/>
                      <a:gd name="T6" fmla="*/ 75 w 75"/>
                      <a:gd name="T7" fmla="*/ 8 h 8"/>
                      <a:gd name="T8" fmla="*/ 75 w 75"/>
                      <a:gd name="T9" fmla="*/ 0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8">
                        <a:moveTo>
                          <a:pt x="75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cubicBezTo>
                          <a:pt x="75" y="8"/>
                          <a:pt x="75" y="8"/>
                          <a:pt x="75" y="8"/>
                        </a:cubicBezTo>
                        <a:cubicBezTo>
                          <a:pt x="75" y="5"/>
                          <a:pt x="75" y="3"/>
                          <a:pt x="75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9" name="Freeform 29">
                    <a:extLst>
                      <a:ext uri="{FF2B5EF4-FFF2-40B4-BE49-F238E27FC236}">
                        <a16:creationId xmlns:a16="http://schemas.microsoft.com/office/drawing/2014/main" id="{27876562-D79C-9F84-5667-E1DFEAB042B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133850" y="2828926"/>
                    <a:ext cx="103188" cy="115888"/>
                  </a:xfrm>
                  <a:custGeom>
                    <a:avLst/>
                    <a:gdLst>
                      <a:gd name="T0" fmla="*/ 0 w 55"/>
                      <a:gd name="T1" fmla="*/ 58 h 63"/>
                      <a:gd name="T2" fmla="*/ 6 w 55"/>
                      <a:gd name="T3" fmla="*/ 63 h 63"/>
                      <a:gd name="T4" fmla="*/ 55 w 55"/>
                      <a:gd name="T5" fmla="*/ 5 h 63"/>
                      <a:gd name="T6" fmla="*/ 49 w 55"/>
                      <a:gd name="T7" fmla="*/ 0 h 63"/>
                      <a:gd name="T8" fmla="*/ 0 w 55"/>
                      <a:gd name="T9" fmla="*/ 58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0" y="58"/>
                        </a:moveTo>
                        <a:cubicBezTo>
                          <a:pt x="2" y="60"/>
                          <a:pt x="4" y="62"/>
                          <a:pt x="6" y="63"/>
                        </a:cubicBezTo>
                        <a:cubicBezTo>
                          <a:pt x="55" y="5"/>
                          <a:pt x="55" y="5"/>
                          <a:pt x="55" y="5"/>
                        </a:cubicBezTo>
                        <a:cubicBezTo>
                          <a:pt x="53" y="3"/>
                          <a:pt x="51" y="2"/>
                          <a:pt x="49" y="0"/>
                        </a:cubicBezTo>
                        <a:lnTo>
                          <a:pt x="0" y="58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0" name="Freeform 30">
                    <a:extLst>
                      <a:ext uri="{FF2B5EF4-FFF2-40B4-BE49-F238E27FC236}">
                        <a16:creationId xmlns:a16="http://schemas.microsoft.com/office/drawing/2014/main" id="{1C85D524-0EBD-C8CF-A1D8-06800F9D77D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58813" y="3787776"/>
                    <a:ext cx="136525" cy="60325"/>
                  </a:xfrm>
                  <a:custGeom>
                    <a:avLst/>
                    <a:gdLst>
                      <a:gd name="T0" fmla="*/ 71 w 74"/>
                      <a:gd name="T1" fmla="*/ 33 h 33"/>
                      <a:gd name="T2" fmla="*/ 74 w 74"/>
                      <a:gd name="T3" fmla="*/ 26 h 33"/>
                      <a:gd name="T4" fmla="*/ 2 w 74"/>
                      <a:gd name="T5" fmla="*/ 0 h 33"/>
                      <a:gd name="T6" fmla="*/ 0 w 74"/>
                      <a:gd name="T7" fmla="*/ 7 h 33"/>
                      <a:gd name="T8" fmla="*/ 71 w 74"/>
                      <a:gd name="T9" fmla="*/ 33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4" h="33">
                        <a:moveTo>
                          <a:pt x="71" y="33"/>
                        </a:moveTo>
                        <a:cubicBezTo>
                          <a:pt x="72" y="31"/>
                          <a:pt x="73" y="28"/>
                          <a:pt x="74" y="26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2" y="2"/>
                          <a:pt x="1" y="5"/>
                          <a:pt x="0" y="7"/>
                        </a:cubicBezTo>
                        <a:lnTo>
                          <a:pt x="71" y="3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1" name="Freeform 31">
                    <a:extLst>
                      <a:ext uri="{FF2B5EF4-FFF2-40B4-BE49-F238E27FC236}">
                        <a16:creationId xmlns:a16="http://schemas.microsoft.com/office/drawing/2014/main" id="{954B332A-662A-11A9-68F9-15BF5DBEE52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832225" y="2605088"/>
                    <a:ext cx="84138" cy="128588"/>
                  </a:xfrm>
                  <a:custGeom>
                    <a:avLst/>
                    <a:gdLst>
                      <a:gd name="T0" fmla="*/ 0 w 45"/>
                      <a:gd name="T1" fmla="*/ 65 h 70"/>
                      <a:gd name="T2" fmla="*/ 7 w 45"/>
                      <a:gd name="T3" fmla="*/ 70 h 70"/>
                      <a:gd name="T4" fmla="*/ 45 w 45"/>
                      <a:gd name="T5" fmla="*/ 4 h 70"/>
                      <a:gd name="T6" fmla="*/ 38 w 45"/>
                      <a:gd name="T7" fmla="*/ 0 h 70"/>
                      <a:gd name="T8" fmla="*/ 0 w 45"/>
                      <a:gd name="T9" fmla="*/ 65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0" y="65"/>
                        </a:moveTo>
                        <a:cubicBezTo>
                          <a:pt x="3" y="67"/>
                          <a:pt x="5" y="68"/>
                          <a:pt x="7" y="70"/>
                        </a:cubicBezTo>
                        <a:cubicBezTo>
                          <a:pt x="45" y="4"/>
                          <a:pt x="45" y="4"/>
                          <a:pt x="45" y="4"/>
                        </a:cubicBezTo>
                        <a:cubicBezTo>
                          <a:pt x="43" y="2"/>
                          <a:pt x="41" y="1"/>
                          <a:pt x="38" y="0"/>
                        </a:cubicBezTo>
                        <a:lnTo>
                          <a:pt x="0" y="65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2" name="Freeform 32">
                    <a:extLst>
                      <a:ext uri="{FF2B5EF4-FFF2-40B4-BE49-F238E27FC236}">
                        <a16:creationId xmlns:a16="http://schemas.microsoft.com/office/drawing/2014/main" id="{75B2D809-A112-B996-51CE-75B18F96B06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987800" y="2708276"/>
                    <a:ext cx="95250" cy="123825"/>
                  </a:xfrm>
                  <a:custGeom>
                    <a:avLst/>
                    <a:gdLst>
                      <a:gd name="T0" fmla="*/ 0 w 51"/>
                      <a:gd name="T1" fmla="*/ 63 h 67"/>
                      <a:gd name="T2" fmla="*/ 7 w 51"/>
                      <a:gd name="T3" fmla="*/ 67 h 67"/>
                      <a:gd name="T4" fmla="*/ 51 w 51"/>
                      <a:gd name="T5" fmla="*/ 5 h 67"/>
                      <a:gd name="T6" fmla="*/ 44 w 51"/>
                      <a:gd name="T7" fmla="*/ 0 h 67"/>
                      <a:gd name="T8" fmla="*/ 0 w 51"/>
                      <a:gd name="T9" fmla="*/ 63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1" h="67">
                        <a:moveTo>
                          <a:pt x="0" y="63"/>
                        </a:moveTo>
                        <a:cubicBezTo>
                          <a:pt x="2" y="64"/>
                          <a:pt x="5" y="66"/>
                          <a:pt x="7" y="67"/>
                        </a:cubicBezTo>
                        <a:cubicBezTo>
                          <a:pt x="51" y="5"/>
                          <a:pt x="51" y="5"/>
                          <a:pt x="51" y="5"/>
                        </a:cubicBezTo>
                        <a:cubicBezTo>
                          <a:pt x="48" y="3"/>
                          <a:pt x="46" y="2"/>
                          <a:pt x="44" y="0"/>
                        </a:cubicBezTo>
                        <a:lnTo>
                          <a:pt x="0" y="63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3" name="Freeform 33">
                    <a:extLst>
                      <a:ext uri="{FF2B5EF4-FFF2-40B4-BE49-F238E27FC236}">
                        <a16:creationId xmlns:a16="http://schemas.microsoft.com/office/drawing/2014/main" id="{C8BB5EDB-F6C1-2C7B-5CC8-8F04A61EB0B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61988" y="5280026"/>
                    <a:ext cx="139700" cy="60325"/>
                  </a:xfrm>
                  <a:custGeom>
                    <a:avLst/>
                    <a:gdLst>
                      <a:gd name="T0" fmla="*/ 75 w 75"/>
                      <a:gd name="T1" fmla="*/ 7 h 33"/>
                      <a:gd name="T2" fmla="*/ 72 w 75"/>
                      <a:gd name="T3" fmla="*/ 0 h 33"/>
                      <a:gd name="T4" fmla="*/ 0 w 75"/>
                      <a:gd name="T5" fmla="*/ 26 h 33"/>
                      <a:gd name="T6" fmla="*/ 3 w 75"/>
                      <a:gd name="T7" fmla="*/ 33 h 33"/>
                      <a:gd name="T8" fmla="*/ 75 w 75"/>
                      <a:gd name="T9" fmla="*/ 7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33">
                        <a:moveTo>
                          <a:pt x="75" y="7"/>
                        </a:moveTo>
                        <a:cubicBezTo>
                          <a:pt x="74" y="5"/>
                          <a:pt x="73" y="2"/>
                          <a:pt x="72" y="0"/>
                        </a:cubicBezTo>
                        <a:cubicBezTo>
                          <a:pt x="0" y="26"/>
                          <a:pt x="0" y="26"/>
                          <a:pt x="0" y="26"/>
                        </a:cubicBezTo>
                        <a:cubicBezTo>
                          <a:pt x="1" y="28"/>
                          <a:pt x="2" y="31"/>
                          <a:pt x="3" y="33"/>
                        </a:cubicBezTo>
                        <a:lnTo>
                          <a:pt x="75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4" name="Freeform 34">
                    <a:extLst>
                      <a:ext uri="{FF2B5EF4-FFF2-40B4-BE49-F238E27FC236}">
                        <a16:creationId xmlns:a16="http://schemas.microsoft.com/office/drawing/2014/main" id="{E735D0DA-1452-2985-35A0-0BAF1C373AE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04838" y="5103813"/>
                    <a:ext cx="138113" cy="50800"/>
                  </a:xfrm>
                  <a:custGeom>
                    <a:avLst/>
                    <a:gdLst>
                      <a:gd name="T0" fmla="*/ 75 w 75"/>
                      <a:gd name="T1" fmla="*/ 8 h 27"/>
                      <a:gd name="T2" fmla="*/ 73 w 75"/>
                      <a:gd name="T3" fmla="*/ 0 h 27"/>
                      <a:gd name="T4" fmla="*/ 0 w 75"/>
                      <a:gd name="T5" fmla="*/ 20 h 27"/>
                      <a:gd name="T6" fmla="*/ 2 w 75"/>
                      <a:gd name="T7" fmla="*/ 27 h 27"/>
                      <a:gd name="T8" fmla="*/ 75 w 75"/>
                      <a:gd name="T9" fmla="*/ 8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27">
                        <a:moveTo>
                          <a:pt x="75" y="8"/>
                        </a:moveTo>
                        <a:cubicBezTo>
                          <a:pt x="74" y="5"/>
                          <a:pt x="74" y="3"/>
                          <a:pt x="73" y="0"/>
                        </a:cubicBezTo>
                        <a:cubicBezTo>
                          <a:pt x="0" y="20"/>
                          <a:pt x="0" y="20"/>
                          <a:pt x="0" y="20"/>
                        </a:cubicBezTo>
                        <a:cubicBezTo>
                          <a:pt x="0" y="22"/>
                          <a:pt x="1" y="25"/>
                          <a:pt x="2" y="27"/>
                        </a:cubicBezTo>
                        <a:lnTo>
                          <a:pt x="75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5" name="Freeform 35">
                    <a:extLst>
                      <a:ext uri="{FF2B5EF4-FFF2-40B4-BE49-F238E27FC236}">
                        <a16:creationId xmlns:a16="http://schemas.microsoft.com/office/drawing/2014/main" id="{6267A596-A634-D366-8DC4-E5B3A092F26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8675" y="5613401"/>
                    <a:ext cx="130175" cy="82550"/>
                  </a:xfrm>
                  <a:custGeom>
                    <a:avLst/>
                    <a:gdLst>
                      <a:gd name="T0" fmla="*/ 70 w 70"/>
                      <a:gd name="T1" fmla="*/ 7 h 45"/>
                      <a:gd name="T2" fmla="*/ 66 w 70"/>
                      <a:gd name="T3" fmla="*/ 0 h 45"/>
                      <a:gd name="T4" fmla="*/ 0 w 70"/>
                      <a:gd name="T5" fmla="*/ 38 h 45"/>
                      <a:gd name="T6" fmla="*/ 4 w 70"/>
                      <a:gd name="T7" fmla="*/ 45 h 45"/>
                      <a:gd name="T8" fmla="*/ 70 w 70"/>
                      <a:gd name="T9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70" y="7"/>
                        </a:moveTo>
                        <a:cubicBezTo>
                          <a:pt x="69" y="4"/>
                          <a:pt x="67" y="2"/>
                          <a:pt x="66" y="0"/>
                        </a:cubicBezTo>
                        <a:cubicBezTo>
                          <a:pt x="0" y="38"/>
                          <a:pt x="0" y="38"/>
                          <a:pt x="0" y="38"/>
                        </a:cubicBezTo>
                        <a:cubicBezTo>
                          <a:pt x="1" y="40"/>
                          <a:pt x="3" y="42"/>
                          <a:pt x="4" y="45"/>
                        </a:cubicBezTo>
                        <a:lnTo>
                          <a:pt x="70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6" name="Freeform 36">
                    <a:extLst>
                      <a:ext uri="{FF2B5EF4-FFF2-40B4-BE49-F238E27FC236}">
                        <a16:creationId xmlns:a16="http://schemas.microsoft.com/office/drawing/2014/main" id="{B9533551-5770-E8B1-C0E4-B9BAAAC4A86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61975" y="4924426"/>
                    <a:ext cx="141288" cy="38100"/>
                  </a:xfrm>
                  <a:custGeom>
                    <a:avLst/>
                    <a:gdLst>
                      <a:gd name="T0" fmla="*/ 76 w 76"/>
                      <a:gd name="T1" fmla="*/ 8 h 21"/>
                      <a:gd name="T2" fmla="*/ 74 w 76"/>
                      <a:gd name="T3" fmla="*/ 0 h 21"/>
                      <a:gd name="T4" fmla="*/ 0 w 76"/>
                      <a:gd name="T5" fmla="*/ 13 h 21"/>
                      <a:gd name="T6" fmla="*/ 1 w 76"/>
                      <a:gd name="T7" fmla="*/ 21 h 21"/>
                      <a:gd name="T8" fmla="*/ 76 w 76"/>
                      <a:gd name="T9" fmla="*/ 8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21">
                        <a:moveTo>
                          <a:pt x="76" y="8"/>
                        </a:moveTo>
                        <a:cubicBezTo>
                          <a:pt x="75" y="5"/>
                          <a:pt x="75" y="3"/>
                          <a:pt x="74" y="0"/>
                        </a:cubicBez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0" y="16"/>
                          <a:pt x="1" y="18"/>
                          <a:pt x="1" y="21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7" name="Freeform 37">
                    <a:extLst>
                      <a:ext uri="{FF2B5EF4-FFF2-40B4-BE49-F238E27FC236}">
                        <a16:creationId xmlns:a16="http://schemas.microsoft.com/office/drawing/2014/main" id="{4478F083-C517-72E7-5ED1-4AA86EFF38B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8188" y="5449888"/>
                    <a:ext cx="133350" cy="73025"/>
                  </a:xfrm>
                  <a:custGeom>
                    <a:avLst/>
                    <a:gdLst>
                      <a:gd name="T0" fmla="*/ 72 w 72"/>
                      <a:gd name="T1" fmla="*/ 7 h 39"/>
                      <a:gd name="T2" fmla="*/ 69 w 72"/>
                      <a:gd name="T3" fmla="*/ 0 h 39"/>
                      <a:gd name="T4" fmla="*/ 0 w 72"/>
                      <a:gd name="T5" fmla="*/ 32 h 39"/>
                      <a:gd name="T6" fmla="*/ 3 w 72"/>
                      <a:gd name="T7" fmla="*/ 39 h 39"/>
                      <a:gd name="T8" fmla="*/ 72 w 72"/>
                      <a:gd name="T9" fmla="*/ 7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72" y="7"/>
                        </a:moveTo>
                        <a:cubicBezTo>
                          <a:pt x="71" y="4"/>
                          <a:pt x="70" y="2"/>
                          <a:pt x="69" y="0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1" y="34"/>
                          <a:pt x="2" y="37"/>
                          <a:pt x="3" y="39"/>
                        </a:cubicBezTo>
                        <a:lnTo>
                          <a:pt x="72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8" name="Freeform 39">
                    <a:extLst>
                      <a:ext uri="{FF2B5EF4-FFF2-40B4-BE49-F238E27FC236}">
                        <a16:creationId xmlns:a16="http://schemas.microsoft.com/office/drawing/2014/main" id="{458C15D0-D6FF-232D-8900-B84F36C6063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740276"/>
                    <a:ext cx="139700" cy="28575"/>
                  </a:xfrm>
                  <a:custGeom>
                    <a:avLst/>
                    <a:gdLst>
                      <a:gd name="T0" fmla="*/ 76 w 76"/>
                      <a:gd name="T1" fmla="*/ 8 h 15"/>
                      <a:gd name="T2" fmla="*/ 75 w 76"/>
                      <a:gd name="T3" fmla="*/ 0 h 15"/>
                      <a:gd name="T4" fmla="*/ 0 w 76"/>
                      <a:gd name="T5" fmla="*/ 7 h 15"/>
                      <a:gd name="T6" fmla="*/ 1 w 76"/>
                      <a:gd name="T7" fmla="*/ 15 h 15"/>
                      <a:gd name="T8" fmla="*/ 76 w 76"/>
                      <a:gd name="T9" fmla="*/ 8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15">
                        <a:moveTo>
                          <a:pt x="76" y="8"/>
                        </a:moveTo>
                        <a:cubicBezTo>
                          <a:pt x="76" y="6"/>
                          <a:pt x="76" y="3"/>
                          <a:pt x="75" y="0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10"/>
                          <a:pt x="1" y="12"/>
                          <a:pt x="1" y="15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9" name="Freeform 40">
                    <a:extLst>
                      <a:ext uri="{FF2B5EF4-FFF2-40B4-BE49-F238E27FC236}">
                        <a16:creationId xmlns:a16="http://schemas.microsoft.com/office/drawing/2014/main" id="{F0F5ECDD-06AF-A0BD-A71D-9F065091F51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360863"/>
                    <a:ext cx="138113" cy="28575"/>
                  </a:xfrm>
                  <a:custGeom>
                    <a:avLst/>
                    <a:gdLst>
                      <a:gd name="T0" fmla="*/ 75 w 75"/>
                      <a:gd name="T1" fmla="*/ 15 h 15"/>
                      <a:gd name="T2" fmla="*/ 75 w 75"/>
                      <a:gd name="T3" fmla="*/ 7 h 15"/>
                      <a:gd name="T4" fmla="*/ 0 w 75"/>
                      <a:gd name="T5" fmla="*/ 0 h 15"/>
                      <a:gd name="T6" fmla="*/ 0 w 75"/>
                      <a:gd name="T7" fmla="*/ 8 h 15"/>
                      <a:gd name="T8" fmla="*/ 75 w 75"/>
                      <a:gd name="T9" fmla="*/ 15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5">
                        <a:moveTo>
                          <a:pt x="75" y="15"/>
                        </a:moveTo>
                        <a:cubicBezTo>
                          <a:pt x="75" y="12"/>
                          <a:pt x="75" y="9"/>
                          <a:pt x="75" y="7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lnTo>
                          <a:pt x="75" y="1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0" name="Freeform 41">
                    <a:extLst>
                      <a:ext uri="{FF2B5EF4-FFF2-40B4-BE49-F238E27FC236}">
                        <a16:creationId xmlns:a16="http://schemas.microsoft.com/office/drawing/2014/main" id="{83718A54-1748-21C3-ADAC-2A49283C2A4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644900" y="2508251"/>
                    <a:ext cx="107950" cy="171450"/>
                  </a:xfrm>
                  <a:custGeom>
                    <a:avLst/>
                    <a:gdLst>
                      <a:gd name="T0" fmla="*/ 39 w 58"/>
                      <a:gd name="T1" fmla="*/ 0 h 93"/>
                      <a:gd name="T2" fmla="*/ 0 w 58"/>
                      <a:gd name="T3" fmla="*/ 85 h 93"/>
                      <a:gd name="T4" fmla="*/ 10 w 58"/>
                      <a:gd name="T5" fmla="*/ 89 h 93"/>
                      <a:gd name="T6" fmla="*/ 19 w 58"/>
                      <a:gd name="T7" fmla="*/ 93 h 93"/>
                      <a:gd name="T8" fmla="*/ 58 w 58"/>
                      <a:gd name="T9" fmla="*/ 8 h 93"/>
                      <a:gd name="T10" fmla="*/ 49 w 58"/>
                      <a:gd name="T11" fmla="*/ 4 h 93"/>
                      <a:gd name="T12" fmla="*/ 39 w 58"/>
                      <a:gd name="T13" fmla="*/ 0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39" y="0"/>
                        </a:moveTo>
                        <a:cubicBezTo>
                          <a:pt x="0" y="85"/>
                          <a:pt x="0" y="85"/>
                          <a:pt x="0" y="85"/>
                        </a:cubicBezTo>
                        <a:cubicBezTo>
                          <a:pt x="2" y="85"/>
                          <a:pt x="8" y="88"/>
                          <a:pt x="10" y="89"/>
                        </a:cubicBezTo>
                        <a:cubicBezTo>
                          <a:pt x="11" y="90"/>
                          <a:pt x="17" y="93"/>
                          <a:pt x="19" y="93"/>
                        </a:cubicBezTo>
                        <a:cubicBezTo>
                          <a:pt x="58" y="8"/>
                          <a:pt x="58" y="8"/>
                          <a:pt x="58" y="8"/>
                        </a:cubicBezTo>
                        <a:cubicBezTo>
                          <a:pt x="56" y="8"/>
                          <a:pt x="50" y="4"/>
                          <a:pt x="49" y="4"/>
                        </a:cubicBezTo>
                        <a:cubicBezTo>
                          <a:pt x="47" y="3"/>
                          <a:pt x="41" y="0"/>
                          <a:pt x="39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1" name="Freeform 42">
                    <a:extLst>
                      <a:ext uri="{FF2B5EF4-FFF2-40B4-BE49-F238E27FC236}">
                        <a16:creationId xmlns:a16="http://schemas.microsoft.com/office/drawing/2014/main" id="{E802421C-F1B6-D890-7523-11799056FF5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364038" y="3095626"/>
                    <a:ext cx="157163" cy="139700"/>
                  </a:xfrm>
                  <a:custGeom>
                    <a:avLst/>
                    <a:gdLst>
                      <a:gd name="T0" fmla="*/ 72 w 85"/>
                      <a:gd name="T1" fmla="*/ 0 h 76"/>
                      <a:gd name="T2" fmla="*/ 0 w 85"/>
                      <a:gd name="T3" fmla="*/ 60 h 76"/>
                      <a:gd name="T4" fmla="*/ 6 w 85"/>
                      <a:gd name="T5" fmla="*/ 68 h 76"/>
                      <a:gd name="T6" fmla="*/ 13 w 85"/>
                      <a:gd name="T7" fmla="*/ 76 h 76"/>
                      <a:gd name="T8" fmla="*/ 85 w 85"/>
                      <a:gd name="T9" fmla="*/ 16 h 76"/>
                      <a:gd name="T10" fmla="*/ 78 w 85"/>
                      <a:gd name="T11" fmla="*/ 8 h 76"/>
                      <a:gd name="T12" fmla="*/ 72 w 85"/>
                      <a:gd name="T13" fmla="*/ 0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6">
                        <a:moveTo>
                          <a:pt x="72" y="0"/>
                        </a:move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1" y="61"/>
                          <a:pt x="6" y="67"/>
                          <a:pt x="6" y="68"/>
                        </a:cubicBezTo>
                        <a:cubicBezTo>
                          <a:pt x="7" y="69"/>
                          <a:pt x="12" y="75"/>
                          <a:pt x="13" y="76"/>
                        </a:cubicBezTo>
                        <a:cubicBezTo>
                          <a:pt x="85" y="16"/>
                          <a:pt x="85" y="16"/>
                          <a:pt x="85" y="16"/>
                        </a:cubicBezTo>
                        <a:cubicBezTo>
                          <a:pt x="84" y="15"/>
                          <a:pt x="79" y="9"/>
                          <a:pt x="78" y="8"/>
                        </a:cubicBezTo>
                        <a:cubicBezTo>
                          <a:pt x="78" y="7"/>
                          <a:pt x="73" y="1"/>
                          <a:pt x="72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2" name="Freeform 43">
                    <a:extLst>
                      <a:ext uri="{FF2B5EF4-FFF2-40B4-BE49-F238E27FC236}">
                        <a16:creationId xmlns:a16="http://schemas.microsoft.com/office/drawing/2014/main" id="{BF49A975-2E4C-0BFC-08AE-4CE0B3DC053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814513" y="2506663"/>
                    <a:ext cx="107950" cy="171450"/>
                  </a:xfrm>
                  <a:custGeom>
                    <a:avLst/>
                    <a:gdLst>
                      <a:gd name="T0" fmla="*/ 0 w 58"/>
                      <a:gd name="T1" fmla="*/ 9 h 93"/>
                      <a:gd name="T2" fmla="*/ 40 w 58"/>
                      <a:gd name="T3" fmla="*/ 93 h 93"/>
                      <a:gd name="T4" fmla="*/ 49 w 58"/>
                      <a:gd name="T5" fmla="*/ 89 h 93"/>
                      <a:gd name="T6" fmla="*/ 58 w 58"/>
                      <a:gd name="T7" fmla="*/ 85 h 93"/>
                      <a:gd name="T8" fmla="*/ 18 w 58"/>
                      <a:gd name="T9" fmla="*/ 0 h 93"/>
                      <a:gd name="T10" fmla="*/ 9 w 58"/>
                      <a:gd name="T11" fmla="*/ 4 h 93"/>
                      <a:gd name="T12" fmla="*/ 0 w 58"/>
                      <a:gd name="T13" fmla="*/ 9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0" y="9"/>
                        </a:moveTo>
                        <a:cubicBezTo>
                          <a:pt x="40" y="93"/>
                          <a:pt x="40" y="93"/>
                          <a:pt x="40" y="93"/>
                        </a:cubicBezTo>
                        <a:cubicBezTo>
                          <a:pt x="41" y="93"/>
                          <a:pt x="47" y="90"/>
                          <a:pt x="49" y="89"/>
                        </a:cubicBezTo>
                        <a:cubicBezTo>
                          <a:pt x="50" y="88"/>
                          <a:pt x="57" y="85"/>
                          <a:pt x="58" y="85"/>
                        </a:cubicBezTo>
                        <a:cubicBezTo>
                          <a:pt x="18" y="0"/>
                          <a:pt x="18" y="0"/>
                          <a:pt x="18" y="0"/>
                        </a:cubicBezTo>
                        <a:cubicBezTo>
                          <a:pt x="17" y="1"/>
                          <a:pt x="10" y="4"/>
                          <a:pt x="9" y="4"/>
                        </a:cubicBezTo>
                        <a:cubicBezTo>
                          <a:pt x="7" y="5"/>
                          <a:pt x="1" y="8"/>
                          <a:pt x="0" y="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3" name="Freeform 44">
                    <a:extLst>
                      <a:ext uri="{FF2B5EF4-FFF2-40B4-BE49-F238E27FC236}">
                        <a16:creationId xmlns:a16="http://schemas.microsoft.com/office/drawing/2014/main" id="{EAE65300-AC39-24FE-F6AC-CAD1AC1FF04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225" y="3100388"/>
                    <a:ext cx="157163" cy="139700"/>
                  </a:xfrm>
                  <a:custGeom>
                    <a:avLst/>
                    <a:gdLst>
                      <a:gd name="T0" fmla="*/ 0 w 85"/>
                      <a:gd name="T1" fmla="*/ 16 h 75"/>
                      <a:gd name="T2" fmla="*/ 72 w 85"/>
                      <a:gd name="T3" fmla="*/ 75 h 75"/>
                      <a:gd name="T4" fmla="*/ 78 w 85"/>
                      <a:gd name="T5" fmla="*/ 67 h 75"/>
                      <a:gd name="T6" fmla="*/ 85 w 85"/>
                      <a:gd name="T7" fmla="*/ 59 h 75"/>
                      <a:gd name="T8" fmla="*/ 12 w 85"/>
                      <a:gd name="T9" fmla="*/ 0 h 75"/>
                      <a:gd name="T10" fmla="*/ 6 w 85"/>
                      <a:gd name="T11" fmla="*/ 8 h 75"/>
                      <a:gd name="T12" fmla="*/ 0 w 85"/>
                      <a:gd name="T13" fmla="*/ 16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5">
                        <a:moveTo>
                          <a:pt x="0" y="16"/>
                        </a:moveTo>
                        <a:cubicBezTo>
                          <a:pt x="72" y="75"/>
                          <a:pt x="72" y="75"/>
                          <a:pt x="72" y="75"/>
                        </a:cubicBezTo>
                        <a:cubicBezTo>
                          <a:pt x="73" y="74"/>
                          <a:pt x="78" y="68"/>
                          <a:pt x="78" y="67"/>
                        </a:cubicBezTo>
                        <a:cubicBezTo>
                          <a:pt x="79" y="66"/>
                          <a:pt x="84" y="60"/>
                          <a:pt x="85" y="59"/>
                        </a:cubicBezTo>
                        <a:cubicBezTo>
                          <a:pt x="12" y="0"/>
                          <a:pt x="12" y="0"/>
                          <a:pt x="12" y="0"/>
                        </a:cubicBezTo>
                        <a:cubicBezTo>
                          <a:pt x="11" y="1"/>
                          <a:pt x="7" y="7"/>
                          <a:pt x="6" y="8"/>
                        </a:cubicBezTo>
                        <a:cubicBezTo>
                          <a:pt x="5" y="9"/>
                          <a:pt x="0" y="14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4" name="Freeform 46">
                    <a:extLst>
                      <a:ext uri="{FF2B5EF4-FFF2-40B4-BE49-F238E27FC236}">
                        <a16:creationId xmlns:a16="http://schemas.microsoft.com/office/drawing/2014/main" id="{4E856F06-1B4D-9C40-A023-30B97686269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58800" y="4906963"/>
                    <a:ext cx="177800" cy="69850"/>
                  </a:xfrm>
                  <a:custGeom>
                    <a:avLst/>
                    <a:gdLst>
                      <a:gd name="T0" fmla="*/ 4 w 96"/>
                      <a:gd name="T1" fmla="*/ 37 h 37"/>
                      <a:gd name="T2" fmla="*/ 96 w 96"/>
                      <a:gd name="T3" fmla="*/ 20 h 37"/>
                      <a:gd name="T4" fmla="*/ 94 w 96"/>
                      <a:gd name="T5" fmla="*/ 10 h 37"/>
                      <a:gd name="T6" fmla="*/ 92 w 96"/>
                      <a:gd name="T7" fmla="*/ 0 h 37"/>
                      <a:gd name="T8" fmla="*/ 0 w 96"/>
                      <a:gd name="T9" fmla="*/ 17 h 37"/>
                      <a:gd name="T10" fmla="*/ 2 w 96"/>
                      <a:gd name="T11" fmla="*/ 27 h 37"/>
                      <a:gd name="T12" fmla="*/ 4 w 96"/>
                      <a:gd name="T13" fmla="*/ 37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6" h="37">
                        <a:moveTo>
                          <a:pt x="4" y="37"/>
                        </a:moveTo>
                        <a:cubicBezTo>
                          <a:pt x="96" y="20"/>
                          <a:pt x="96" y="20"/>
                          <a:pt x="96" y="20"/>
                        </a:cubicBezTo>
                        <a:cubicBezTo>
                          <a:pt x="96" y="19"/>
                          <a:pt x="94" y="12"/>
                          <a:pt x="94" y="10"/>
                        </a:cubicBezTo>
                        <a:cubicBezTo>
                          <a:pt x="94" y="9"/>
                          <a:pt x="93" y="2"/>
                          <a:pt x="92" y="0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1" y="18"/>
                          <a:pt x="2" y="25"/>
                          <a:pt x="2" y="27"/>
                        </a:cubicBezTo>
                        <a:cubicBezTo>
                          <a:pt x="2" y="28"/>
                          <a:pt x="4" y="35"/>
                          <a:pt x="4" y="3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98" name="Group 1019">
                <a:extLst>
                  <a:ext uri="{FF2B5EF4-FFF2-40B4-BE49-F238E27FC236}">
                    <a16:creationId xmlns:a16="http://schemas.microsoft.com/office/drawing/2014/main" id="{8B6B918B-BBB8-D96B-CA9A-61443A4A823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486427" y="2263024"/>
                <a:ext cx="1699667" cy="2477857"/>
                <a:chOff x="1866900" y="3224213"/>
                <a:chExt cx="2184400" cy="3184525"/>
              </a:xfrm>
            </p:grpSpPr>
            <p:sp>
              <p:nvSpPr>
                <p:cNvPr id="223" name="Freeform 47">
                  <a:extLst>
                    <a:ext uri="{FF2B5EF4-FFF2-40B4-BE49-F238E27FC236}">
                      <a16:creationId xmlns:a16="http://schemas.microsoft.com/office/drawing/2014/main" id="{5DA680FC-B65B-9DF4-1B4B-88792A90964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933575" y="3373438"/>
                  <a:ext cx="2117725" cy="3035300"/>
                </a:xfrm>
                <a:custGeom>
                  <a:avLst/>
                  <a:gdLst>
                    <a:gd name="T0" fmla="*/ 1142 w 1142"/>
                    <a:gd name="T1" fmla="*/ 0 h 1640"/>
                    <a:gd name="T2" fmla="*/ 883 w 1142"/>
                    <a:gd name="T3" fmla="*/ 142 h 1640"/>
                    <a:gd name="T4" fmla="*/ 947 w 1142"/>
                    <a:gd name="T5" fmla="*/ 186 h 1640"/>
                    <a:gd name="T6" fmla="*/ 619 w 1142"/>
                    <a:gd name="T7" fmla="*/ 667 h 1640"/>
                    <a:gd name="T8" fmla="*/ 588 w 1142"/>
                    <a:gd name="T9" fmla="*/ 663 h 1640"/>
                    <a:gd name="T10" fmla="*/ 465 w 1142"/>
                    <a:gd name="T11" fmla="*/ 729 h 1640"/>
                    <a:gd name="T12" fmla="*/ 463 w 1142"/>
                    <a:gd name="T13" fmla="*/ 895 h 1640"/>
                    <a:gd name="T14" fmla="*/ 0 w 1142"/>
                    <a:gd name="T15" fmla="*/ 1576 h 1640"/>
                    <a:gd name="T16" fmla="*/ 93 w 1142"/>
                    <a:gd name="T17" fmla="*/ 1640 h 1640"/>
                    <a:gd name="T18" fmla="*/ 558 w 1142"/>
                    <a:gd name="T19" fmla="*/ 959 h 1640"/>
                    <a:gd name="T20" fmla="*/ 588 w 1142"/>
                    <a:gd name="T21" fmla="*/ 963 h 1640"/>
                    <a:gd name="T22" fmla="*/ 712 w 1142"/>
                    <a:gd name="T23" fmla="*/ 897 h 1640"/>
                    <a:gd name="T24" fmla="*/ 713 w 1142"/>
                    <a:gd name="T25" fmla="*/ 731 h 1640"/>
                    <a:gd name="T26" fmla="*/ 1041 w 1142"/>
                    <a:gd name="T27" fmla="*/ 250 h 1640"/>
                    <a:gd name="T28" fmla="*/ 1105 w 1142"/>
                    <a:gd name="T29" fmla="*/ 293 h 1640"/>
                    <a:gd name="T30" fmla="*/ 1142 w 1142"/>
                    <a:gd name="T31" fmla="*/ 0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142" h="1640">
                      <a:moveTo>
                        <a:pt x="1142" y="0"/>
                      </a:move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619" y="667"/>
                        <a:pt x="619" y="667"/>
                        <a:pt x="619" y="667"/>
                      </a:cubicBezTo>
                      <a:cubicBezTo>
                        <a:pt x="609" y="665"/>
                        <a:pt x="599" y="663"/>
                        <a:pt x="588" y="663"/>
                      </a:cubicBezTo>
                      <a:cubicBezTo>
                        <a:pt x="541" y="663"/>
                        <a:pt x="494" y="686"/>
                        <a:pt x="465" y="729"/>
                      </a:cubicBezTo>
                      <a:cubicBezTo>
                        <a:pt x="430" y="780"/>
                        <a:pt x="431" y="846"/>
                        <a:pt x="463" y="895"/>
                      </a:cubicBezTo>
                      <a:cubicBezTo>
                        <a:pt x="463" y="895"/>
                        <a:pt x="56" y="1493"/>
                        <a:pt x="0" y="1576"/>
                      </a:cubicBezTo>
                      <a:cubicBezTo>
                        <a:pt x="93" y="1640"/>
                        <a:pt x="93" y="1640"/>
                        <a:pt x="93" y="1640"/>
                      </a:cubicBezTo>
                      <a:cubicBezTo>
                        <a:pt x="153" y="1551"/>
                        <a:pt x="558" y="959"/>
                        <a:pt x="558" y="959"/>
                      </a:cubicBezTo>
                      <a:cubicBezTo>
                        <a:pt x="568" y="961"/>
                        <a:pt x="578" y="963"/>
                        <a:pt x="588" y="963"/>
                      </a:cubicBezTo>
                      <a:cubicBezTo>
                        <a:pt x="636" y="963"/>
                        <a:pt x="683" y="940"/>
                        <a:pt x="712" y="897"/>
                      </a:cubicBezTo>
                      <a:cubicBezTo>
                        <a:pt x="747" y="846"/>
                        <a:pt x="745" y="780"/>
                        <a:pt x="713" y="731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142" y="0"/>
                        <a:pt x="1142" y="0"/>
                        <a:pt x="1142" y="0"/>
                      </a:cubicBezTo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 48">
                  <a:extLst>
                    <a:ext uri="{FF2B5EF4-FFF2-40B4-BE49-F238E27FC236}">
                      <a16:creationId xmlns:a16="http://schemas.microsoft.com/office/drawing/2014/main" id="{AEA8AF0E-7DE5-F6CD-8CCB-5FE12397ADB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866900" y="3224213"/>
                  <a:ext cx="2117725" cy="3036888"/>
                </a:xfrm>
                <a:custGeom>
                  <a:avLst/>
                  <a:gdLst>
                    <a:gd name="T0" fmla="*/ 0 w 1142"/>
                    <a:gd name="T1" fmla="*/ 1576 h 1640"/>
                    <a:gd name="T2" fmla="*/ 463 w 1142"/>
                    <a:gd name="T3" fmla="*/ 895 h 1640"/>
                    <a:gd name="T4" fmla="*/ 465 w 1142"/>
                    <a:gd name="T5" fmla="*/ 729 h 1640"/>
                    <a:gd name="T6" fmla="*/ 619 w 1142"/>
                    <a:gd name="T7" fmla="*/ 667 h 1640"/>
                    <a:gd name="T8" fmla="*/ 947 w 1142"/>
                    <a:gd name="T9" fmla="*/ 186 h 1640"/>
                    <a:gd name="T10" fmla="*/ 883 w 1142"/>
                    <a:gd name="T11" fmla="*/ 142 h 1640"/>
                    <a:gd name="T12" fmla="*/ 1142 w 1142"/>
                    <a:gd name="T13" fmla="*/ 0 h 1640"/>
                    <a:gd name="T14" fmla="*/ 1105 w 1142"/>
                    <a:gd name="T15" fmla="*/ 293 h 1640"/>
                    <a:gd name="T16" fmla="*/ 1041 w 1142"/>
                    <a:gd name="T17" fmla="*/ 250 h 1640"/>
                    <a:gd name="T18" fmla="*/ 713 w 1142"/>
                    <a:gd name="T19" fmla="*/ 731 h 1640"/>
                    <a:gd name="T20" fmla="*/ 712 w 1142"/>
                    <a:gd name="T21" fmla="*/ 897 h 1640"/>
                    <a:gd name="T22" fmla="*/ 558 w 1142"/>
                    <a:gd name="T23" fmla="*/ 959 h 1640"/>
                    <a:gd name="T24" fmla="*/ 93 w 1142"/>
                    <a:gd name="T25" fmla="*/ 1640 h 1640"/>
                    <a:gd name="T26" fmla="*/ 0 w 1142"/>
                    <a:gd name="T27" fmla="*/ 1576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42" h="1640">
                      <a:moveTo>
                        <a:pt x="0" y="1576"/>
                      </a:moveTo>
                      <a:cubicBezTo>
                        <a:pt x="56" y="1493"/>
                        <a:pt x="463" y="895"/>
                        <a:pt x="463" y="895"/>
                      </a:cubicBezTo>
                      <a:cubicBezTo>
                        <a:pt x="431" y="846"/>
                        <a:pt x="430" y="780"/>
                        <a:pt x="465" y="729"/>
                      </a:cubicBezTo>
                      <a:cubicBezTo>
                        <a:pt x="500" y="677"/>
                        <a:pt x="562" y="655"/>
                        <a:pt x="619" y="667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1142" y="0"/>
                        <a:pt x="1142" y="0"/>
                        <a:pt x="1142" y="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713" y="731"/>
                        <a:pt x="713" y="731"/>
                        <a:pt x="713" y="731"/>
                      </a:cubicBezTo>
                      <a:cubicBezTo>
                        <a:pt x="745" y="780"/>
                        <a:pt x="747" y="846"/>
                        <a:pt x="712" y="897"/>
                      </a:cubicBezTo>
                      <a:cubicBezTo>
                        <a:pt x="677" y="949"/>
                        <a:pt x="615" y="971"/>
                        <a:pt x="558" y="959"/>
                      </a:cubicBezTo>
                      <a:cubicBezTo>
                        <a:pt x="558" y="959"/>
                        <a:pt x="153" y="1551"/>
                        <a:pt x="93" y="1640"/>
                      </a:cubicBezTo>
                      <a:lnTo>
                        <a:pt x="0" y="157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 49">
                  <a:extLst>
                    <a:ext uri="{FF2B5EF4-FFF2-40B4-BE49-F238E27FC236}">
                      <a16:creationId xmlns:a16="http://schemas.microsoft.com/office/drawing/2014/main" id="{B49DC3E1-BDD6-C255-FC3B-A4B8F15624A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849563" y="4622801"/>
                  <a:ext cx="215900" cy="214313"/>
                </a:xfrm>
                <a:custGeom>
                  <a:avLst/>
                  <a:gdLst>
                    <a:gd name="T0" fmla="*/ 100 w 116"/>
                    <a:gd name="T1" fmla="*/ 87 h 116"/>
                    <a:gd name="T2" fmla="*/ 30 w 116"/>
                    <a:gd name="T3" fmla="*/ 100 h 116"/>
                    <a:gd name="T4" fmla="*/ 16 w 116"/>
                    <a:gd name="T5" fmla="*/ 29 h 116"/>
                    <a:gd name="T6" fmla="*/ 87 w 116"/>
                    <a:gd name="T7" fmla="*/ 16 h 116"/>
                    <a:gd name="T8" fmla="*/ 100 w 116"/>
                    <a:gd name="T9" fmla="*/ 87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" h="116">
                      <a:moveTo>
                        <a:pt x="100" y="87"/>
                      </a:moveTo>
                      <a:cubicBezTo>
                        <a:pt x="85" y="110"/>
                        <a:pt x="53" y="116"/>
                        <a:pt x="30" y="100"/>
                      </a:cubicBezTo>
                      <a:cubicBezTo>
                        <a:pt x="6" y="84"/>
                        <a:pt x="0" y="53"/>
                        <a:pt x="16" y="29"/>
                      </a:cubicBezTo>
                      <a:cubicBezTo>
                        <a:pt x="32" y="6"/>
                        <a:pt x="64" y="0"/>
                        <a:pt x="87" y="16"/>
                      </a:cubicBezTo>
                      <a:cubicBezTo>
                        <a:pt x="110" y="32"/>
                        <a:pt x="116" y="63"/>
                        <a:pt x="100" y="87"/>
                      </a:cubicBezTo>
                      <a:close/>
                    </a:path>
                  </a:pathLst>
                </a:custGeom>
                <a:solidFill>
                  <a:srgbClr val="002B6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Oval 50">
                  <a:extLst>
                    <a:ext uri="{FF2B5EF4-FFF2-40B4-BE49-F238E27FC236}">
                      <a16:creationId xmlns:a16="http://schemas.microsoft.com/office/drawing/2014/main" id="{B2AE9314-1C5A-FB66-86E8-0C9CEFF3C2B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2919413" y="4694238"/>
                  <a:ext cx="73025" cy="73025"/>
                </a:xfrm>
                <a:prstGeom prst="ellipse">
                  <a:avLst/>
                </a:prstGeom>
                <a:solidFill>
                  <a:srgbClr val="56B9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99" name="Group 1020">
                <a:extLst>
                  <a:ext uri="{FF2B5EF4-FFF2-40B4-BE49-F238E27FC236}">
                    <a16:creationId xmlns:a16="http://schemas.microsoft.com/office/drawing/2014/main" id="{0D327568-4853-3F8F-3BC8-F5026417115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163860" y="3516775"/>
                <a:ext cx="839952" cy="104994"/>
                <a:chOff x="4022725" y="4835526"/>
                <a:chExt cx="1079500" cy="134938"/>
              </a:xfrm>
            </p:grpSpPr>
            <p:sp>
              <p:nvSpPr>
                <p:cNvPr id="100" name="Rectangle 53">
                  <a:extLst>
                    <a:ext uri="{FF2B5EF4-FFF2-40B4-BE49-F238E27FC236}">
                      <a16:creationId xmlns:a16="http://schemas.microsoft.com/office/drawing/2014/main" id="{45B17EE8-A043-612D-DD60-0079F2C42FD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Rectangle 54">
                  <a:extLst>
                    <a:ext uri="{FF2B5EF4-FFF2-40B4-BE49-F238E27FC236}">
                      <a16:creationId xmlns:a16="http://schemas.microsoft.com/office/drawing/2014/main" id="{A81B3084-A80C-9547-C103-B7A680DB554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Rectangle 55">
                  <a:extLst>
                    <a:ext uri="{FF2B5EF4-FFF2-40B4-BE49-F238E27FC236}">
                      <a16:creationId xmlns:a16="http://schemas.microsoft.com/office/drawing/2014/main" id="{2F5F1FE0-9E61-48D9-02E0-B39BE7402C3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Rectangle 56">
                  <a:extLst>
                    <a:ext uri="{FF2B5EF4-FFF2-40B4-BE49-F238E27FC236}">
                      <a16:creationId xmlns:a16="http://schemas.microsoft.com/office/drawing/2014/main" id="{29288EB6-8DB2-E577-7FD7-6ADC33E31BF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Rectangle 57">
                  <a:extLst>
                    <a:ext uri="{FF2B5EF4-FFF2-40B4-BE49-F238E27FC236}">
                      <a16:creationId xmlns:a16="http://schemas.microsoft.com/office/drawing/2014/main" id="{D3D183C6-F4C6-1AC5-320F-931BE254D01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Rectangle 58">
                  <a:extLst>
                    <a:ext uri="{FF2B5EF4-FFF2-40B4-BE49-F238E27FC236}">
                      <a16:creationId xmlns:a16="http://schemas.microsoft.com/office/drawing/2014/main" id="{73B2ECCB-4EC9-15A0-88F3-E6497F25903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 59">
                  <a:extLst>
                    <a:ext uri="{FF2B5EF4-FFF2-40B4-BE49-F238E27FC236}">
                      <a16:creationId xmlns:a16="http://schemas.microsoft.com/office/drawing/2014/main" id="{B445B344-FEC1-9E97-D01D-A7D39F23A54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 60">
                  <a:extLst>
                    <a:ext uri="{FF2B5EF4-FFF2-40B4-BE49-F238E27FC236}">
                      <a16:creationId xmlns:a16="http://schemas.microsoft.com/office/drawing/2014/main" id="{BC06953D-6F50-6218-EFFC-C7FC3C98041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reeform 61">
                  <a:extLst>
                    <a:ext uri="{FF2B5EF4-FFF2-40B4-BE49-F238E27FC236}">
                      <a16:creationId xmlns:a16="http://schemas.microsoft.com/office/drawing/2014/main" id="{ECE0E4BA-4CE8-915B-5441-EF22CE13929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 62">
                  <a:extLst>
                    <a:ext uri="{FF2B5EF4-FFF2-40B4-BE49-F238E27FC236}">
                      <a16:creationId xmlns:a16="http://schemas.microsoft.com/office/drawing/2014/main" id="{C5B26606-6CAE-3ADA-A32E-E6996D42A49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Rectangle 63">
                  <a:extLst>
                    <a:ext uri="{FF2B5EF4-FFF2-40B4-BE49-F238E27FC236}">
                      <a16:creationId xmlns:a16="http://schemas.microsoft.com/office/drawing/2014/main" id="{B06281B3-77FD-BE10-60C3-59D73D06E93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Rectangle 64">
                  <a:extLst>
                    <a:ext uri="{FF2B5EF4-FFF2-40B4-BE49-F238E27FC236}">
                      <a16:creationId xmlns:a16="http://schemas.microsoft.com/office/drawing/2014/main" id="{27A75AF8-D825-AFEA-C2AA-D4EF69A12F5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Rectangle 65">
                  <a:extLst>
                    <a:ext uri="{FF2B5EF4-FFF2-40B4-BE49-F238E27FC236}">
                      <a16:creationId xmlns:a16="http://schemas.microsoft.com/office/drawing/2014/main" id="{D9FE938D-0AA6-A2B5-97BE-5F38E47CBB9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Rectangle 66">
                  <a:extLst>
                    <a:ext uri="{FF2B5EF4-FFF2-40B4-BE49-F238E27FC236}">
                      <a16:creationId xmlns:a16="http://schemas.microsoft.com/office/drawing/2014/main" id="{7143E2D3-DDE9-75F8-40AE-76783B4EC5A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4" name="Rectangle 67">
                  <a:extLst>
                    <a:ext uri="{FF2B5EF4-FFF2-40B4-BE49-F238E27FC236}">
                      <a16:creationId xmlns:a16="http://schemas.microsoft.com/office/drawing/2014/main" id="{D62B2B74-760B-1420-83B2-6D6AB5576BD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Rectangle 68">
                  <a:extLst>
                    <a:ext uri="{FF2B5EF4-FFF2-40B4-BE49-F238E27FC236}">
                      <a16:creationId xmlns:a16="http://schemas.microsoft.com/office/drawing/2014/main" id="{EEE76D09-CFCE-2512-A6E5-FA90FD1E791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Rectangle 69">
                  <a:extLst>
                    <a:ext uri="{FF2B5EF4-FFF2-40B4-BE49-F238E27FC236}">
                      <a16:creationId xmlns:a16="http://schemas.microsoft.com/office/drawing/2014/main" id="{5CC266C7-2BBF-9613-B062-56B49115271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Rectangle 70">
                  <a:extLst>
                    <a:ext uri="{FF2B5EF4-FFF2-40B4-BE49-F238E27FC236}">
                      <a16:creationId xmlns:a16="http://schemas.microsoft.com/office/drawing/2014/main" id="{7613FA02-6137-1518-2B37-B0058F78BA8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Rectangle 71">
                  <a:extLst>
                    <a:ext uri="{FF2B5EF4-FFF2-40B4-BE49-F238E27FC236}">
                      <a16:creationId xmlns:a16="http://schemas.microsoft.com/office/drawing/2014/main" id="{6648346B-A002-53E8-5062-8CEC2D85773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Rectangle 72">
                  <a:extLst>
                    <a:ext uri="{FF2B5EF4-FFF2-40B4-BE49-F238E27FC236}">
                      <a16:creationId xmlns:a16="http://schemas.microsoft.com/office/drawing/2014/main" id="{4189D8D1-7A11-E346-7C87-C7E61BBBB77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Rectangle 73">
                  <a:extLst>
                    <a:ext uri="{FF2B5EF4-FFF2-40B4-BE49-F238E27FC236}">
                      <a16:creationId xmlns:a16="http://schemas.microsoft.com/office/drawing/2014/main" id="{309B1BC7-F3A7-4603-F88A-85AA85A05EC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Rectangle 74">
                  <a:extLst>
                    <a:ext uri="{FF2B5EF4-FFF2-40B4-BE49-F238E27FC236}">
                      <a16:creationId xmlns:a16="http://schemas.microsoft.com/office/drawing/2014/main" id="{11BB04E7-587B-E4D3-65A3-5843D6FFA43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Rectangle 75">
                  <a:extLst>
                    <a:ext uri="{FF2B5EF4-FFF2-40B4-BE49-F238E27FC236}">
                      <a16:creationId xmlns:a16="http://schemas.microsoft.com/office/drawing/2014/main" id="{88D284CE-A6A5-DFB6-665D-BB67A725D1D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Rectangle 76">
                  <a:extLst>
                    <a:ext uri="{FF2B5EF4-FFF2-40B4-BE49-F238E27FC236}">
                      <a16:creationId xmlns:a16="http://schemas.microsoft.com/office/drawing/2014/main" id="{02FF0772-E467-D3E6-7933-FEF81188629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Rectangle 77">
                  <a:extLst>
                    <a:ext uri="{FF2B5EF4-FFF2-40B4-BE49-F238E27FC236}">
                      <a16:creationId xmlns:a16="http://schemas.microsoft.com/office/drawing/2014/main" id="{AA88F6CA-B4A6-8185-DA75-0AACEE96CB7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Rectangle 78">
                  <a:extLst>
                    <a:ext uri="{FF2B5EF4-FFF2-40B4-BE49-F238E27FC236}">
                      <a16:creationId xmlns:a16="http://schemas.microsoft.com/office/drawing/2014/main" id="{91DCDCF7-D639-8A6B-76F5-60E74003364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Rectangle 79">
                  <a:extLst>
                    <a:ext uri="{FF2B5EF4-FFF2-40B4-BE49-F238E27FC236}">
                      <a16:creationId xmlns:a16="http://schemas.microsoft.com/office/drawing/2014/main" id="{46C6A22F-FBFA-4F83-FCE3-F268CF3682E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Rectangle 80">
                  <a:extLst>
                    <a:ext uri="{FF2B5EF4-FFF2-40B4-BE49-F238E27FC236}">
                      <a16:creationId xmlns:a16="http://schemas.microsoft.com/office/drawing/2014/main" id="{16685526-D9B1-D985-CC58-CE104D4BB77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Rectangle 81">
                  <a:extLst>
                    <a:ext uri="{FF2B5EF4-FFF2-40B4-BE49-F238E27FC236}">
                      <a16:creationId xmlns:a16="http://schemas.microsoft.com/office/drawing/2014/main" id="{97F97AC7-D21D-5951-E7B5-21DC84866AC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Rectangle 82">
                  <a:extLst>
                    <a:ext uri="{FF2B5EF4-FFF2-40B4-BE49-F238E27FC236}">
                      <a16:creationId xmlns:a16="http://schemas.microsoft.com/office/drawing/2014/main" id="{D5A90602-1C0E-F71E-D389-585EFBF4B78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Rectangle 83">
                  <a:extLst>
                    <a:ext uri="{FF2B5EF4-FFF2-40B4-BE49-F238E27FC236}">
                      <a16:creationId xmlns:a16="http://schemas.microsoft.com/office/drawing/2014/main" id="{BB59F61B-7EA6-705F-70D2-9C8E8199D61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Rectangle 84">
                  <a:extLst>
                    <a:ext uri="{FF2B5EF4-FFF2-40B4-BE49-F238E27FC236}">
                      <a16:creationId xmlns:a16="http://schemas.microsoft.com/office/drawing/2014/main" id="{38F2917E-923B-F529-1D47-E6D710127A9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Rectangle 85">
                  <a:extLst>
                    <a:ext uri="{FF2B5EF4-FFF2-40B4-BE49-F238E27FC236}">
                      <a16:creationId xmlns:a16="http://schemas.microsoft.com/office/drawing/2014/main" id="{112506E2-4DC3-9DB2-8FFC-847888D3424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Rectangle 86">
                  <a:extLst>
                    <a:ext uri="{FF2B5EF4-FFF2-40B4-BE49-F238E27FC236}">
                      <a16:creationId xmlns:a16="http://schemas.microsoft.com/office/drawing/2014/main" id="{E8DB9034-AF5C-EB56-24B7-87DE5C7F1E4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Rectangle 87">
                  <a:extLst>
                    <a:ext uri="{FF2B5EF4-FFF2-40B4-BE49-F238E27FC236}">
                      <a16:creationId xmlns:a16="http://schemas.microsoft.com/office/drawing/2014/main" id="{CC782182-94D5-8A62-6750-7EDEC4BE613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Rectangle 88">
                  <a:extLst>
                    <a:ext uri="{FF2B5EF4-FFF2-40B4-BE49-F238E27FC236}">
                      <a16:creationId xmlns:a16="http://schemas.microsoft.com/office/drawing/2014/main" id="{34E3374E-260F-DE1A-CAAD-4BE4808334E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 89">
                  <a:extLst>
                    <a:ext uri="{FF2B5EF4-FFF2-40B4-BE49-F238E27FC236}">
                      <a16:creationId xmlns:a16="http://schemas.microsoft.com/office/drawing/2014/main" id="{848A3323-6839-99F8-D1A4-8DF67331A69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Freeform 90">
                  <a:extLst>
                    <a:ext uri="{FF2B5EF4-FFF2-40B4-BE49-F238E27FC236}">
                      <a16:creationId xmlns:a16="http://schemas.microsoft.com/office/drawing/2014/main" id="{03516B90-D79F-DF70-A156-D2543AE36AA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Freeform 91">
                  <a:extLst>
                    <a:ext uri="{FF2B5EF4-FFF2-40B4-BE49-F238E27FC236}">
                      <a16:creationId xmlns:a16="http://schemas.microsoft.com/office/drawing/2014/main" id="{EB582B2B-5412-017F-7207-6CA9454AE3D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951413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Rectangle 92">
                  <a:extLst>
                    <a:ext uri="{FF2B5EF4-FFF2-40B4-BE49-F238E27FC236}">
                      <a16:creationId xmlns:a16="http://schemas.microsoft.com/office/drawing/2014/main" id="{716EABD8-01FE-B4DE-D864-C0541236638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Rectangle 93">
                  <a:extLst>
                    <a:ext uri="{FF2B5EF4-FFF2-40B4-BE49-F238E27FC236}">
                      <a16:creationId xmlns:a16="http://schemas.microsoft.com/office/drawing/2014/main" id="{326AE975-80D3-6CA7-FD37-3225B05DF48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Rectangle 94">
                  <a:extLst>
                    <a:ext uri="{FF2B5EF4-FFF2-40B4-BE49-F238E27FC236}">
                      <a16:creationId xmlns:a16="http://schemas.microsoft.com/office/drawing/2014/main" id="{E1931869-0088-7ACA-EAD4-E23C67ACC08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Rectangle 95">
                  <a:extLst>
                    <a:ext uri="{FF2B5EF4-FFF2-40B4-BE49-F238E27FC236}">
                      <a16:creationId xmlns:a16="http://schemas.microsoft.com/office/drawing/2014/main" id="{D395F376-E415-1427-AE37-02984B72E37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3" name="Freeform 96">
                  <a:extLst>
                    <a:ext uri="{FF2B5EF4-FFF2-40B4-BE49-F238E27FC236}">
                      <a16:creationId xmlns:a16="http://schemas.microsoft.com/office/drawing/2014/main" id="{628A799A-CE9C-12DA-C23A-7DBAB8DDFA4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Freeform 97">
                  <a:extLst>
                    <a:ext uri="{FF2B5EF4-FFF2-40B4-BE49-F238E27FC236}">
                      <a16:creationId xmlns:a16="http://schemas.microsoft.com/office/drawing/2014/main" id="{8A10A1CE-7356-F677-0F95-DD3A8EC5BFC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Rectangle 98">
                  <a:extLst>
                    <a:ext uri="{FF2B5EF4-FFF2-40B4-BE49-F238E27FC236}">
                      <a16:creationId xmlns:a16="http://schemas.microsoft.com/office/drawing/2014/main" id="{E1C6492C-24A7-9077-FEEC-875CCDF4676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Rectangle 99">
                  <a:extLst>
                    <a:ext uri="{FF2B5EF4-FFF2-40B4-BE49-F238E27FC236}">
                      <a16:creationId xmlns:a16="http://schemas.microsoft.com/office/drawing/2014/main" id="{7F3B0C28-67B0-3A85-1839-3A5A90CA558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eform 100">
                  <a:extLst>
                    <a:ext uri="{FF2B5EF4-FFF2-40B4-BE49-F238E27FC236}">
                      <a16:creationId xmlns:a16="http://schemas.microsoft.com/office/drawing/2014/main" id="{8D880465-DD87-F8AE-ACF3-E20D0BFF4E8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 101">
                  <a:extLst>
                    <a:ext uri="{FF2B5EF4-FFF2-40B4-BE49-F238E27FC236}">
                      <a16:creationId xmlns:a16="http://schemas.microsoft.com/office/drawing/2014/main" id="{54A79361-4E1F-9D53-F415-2807633801F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 102">
                  <a:extLst>
                    <a:ext uri="{FF2B5EF4-FFF2-40B4-BE49-F238E27FC236}">
                      <a16:creationId xmlns:a16="http://schemas.microsoft.com/office/drawing/2014/main" id="{453D6760-E34F-C44C-E64F-84D4B6FC0B7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Freeform 103">
                  <a:extLst>
                    <a:ext uri="{FF2B5EF4-FFF2-40B4-BE49-F238E27FC236}">
                      <a16:creationId xmlns:a16="http://schemas.microsoft.com/office/drawing/2014/main" id="{34A4A9BF-DCAB-7822-405C-81AA3403556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Rectangle 104">
                  <a:extLst>
                    <a:ext uri="{FF2B5EF4-FFF2-40B4-BE49-F238E27FC236}">
                      <a16:creationId xmlns:a16="http://schemas.microsoft.com/office/drawing/2014/main" id="{D095E5B1-4306-B295-F8DC-CA5DAE63FB8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Rectangle 105">
                  <a:extLst>
                    <a:ext uri="{FF2B5EF4-FFF2-40B4-BE49-F238E27FC236}">
                      <a16:creationId xmlns:a16="http://schemas.microsoft.com/office/drawing/2014/main" id="{0E59B8B8-D17F-0C90-6596-83FC7D60191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Rectangle 106">
                  <a:extLst>
                    <a:ext uri="{FF2B5EF4-FFF2-40B4-BE49-F238E27FC236}">
                      <a16:creationId xmlns:a16="http://schemas.microsoft.com/office/drawing/2014/main" id="{CC71AD11-FB47-C698-4D19-2A0C7D6B473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Rectangle 107">
                  <a:extLst>
                    <a:ext uri="{FF2B5EF4-FFF2-40B4-BE49-F238E27FC236}">
                      <a16:creationId xmlns:a16="http://schemas.microsoft.com/office/drawing/2014/main" id="{41C72A35-64CB-8B2B-6DBC-CE9F28299E7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Rectangle 108">
                  <a:extLst>
                    <a:ext uri="{FF2B5EF4-FFF2-40B4-BE49-F238E27FC236}">
                      <a16:creationId xmlns:a16="http://schemas.microsoft.com/office/drawing/2014/main" id="{302F9A04-633E-6AAD-7F28-B562F832FF8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Rectangle 109">
                  <a:extLst>
                    <a:ext uri="{FF2B5EF4-FFF2-40B4-BE49-F238E27FC236}">
                      <a16:creationId xmlns:a16="http://schemas.microsoft.com/office/drawing/2014/main" id="{4471A105-ECB4-A5E2-4E50-0FF5F8596C8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reeform 110">
                  <a:extLst>
                    <a:ext uri="{FF2B5EF4-FFF2-40B4-BE49-F238E27FC236}">
                      <a16:creationId xmlns:a16="http://schemas.microsoft.com/office/drawing/2014/main" id="{B1E54BB6-F79C-A60E-86DA-3B003EF9D79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 111">
                  <a:extLst>
                    <a:ext uri="{FF2B5EF4-FFF2-40B4-BE49-F238E27FC236}">
                      <a16:creationId xmlns:a16="http://schemas.microsoft.com/office/drawing/2014/main" id="{EE32F7F9-51EF-1A5D-1E6C-FBA0D12F763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Rectangle 112">
                  <a:extLst>
                    <a:ext uri="{FF2B5EF4-FFF2-40B4-BE49-F238E27FC236}">
                      <a16:creationId xmlns:a16="http://schemas.microsoft.com/office/drawing/2014/main" id="{3BE864E2-2DC5-7C39-067D-98401DA4470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Rectangle 113">
                  <a:extLst>
                    <a:ext uri="{FF2B5EF4-FFF2-40B4-BE49-F238E27FC236}">
                      <a16:creationId xmlns:a16="http://schemas.microsoft.com/office/drawing/2014/main" id="{4D5A83AF-F97C-C53B-E97C-D478AD6E568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Rectangle 114">
                  <a:extLst>
                    <a:ext uri="{FF2B5EF4-FFF2-40B4-BE49-F238E27FC236}">
                      <a16:creationId xmlns:a16="http://schemas.microsoft.com/office/drawing/2014/main" id="{591F85C9-7352-277F-B378-12C5335DD50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Rectangle 115">
                  <a:extLst>
                    <a:ext uri="{FF2B5EF4-FFF2-40B4-BE49-F238E27FC236}">
                      <a16:creationId xmlns:a16="http://schemas.microsoft.com/office/drawing/2014/main" id="{35CF7A50-F887-D0C3-6A7F-944ECD7F6BB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 116">
                  <a:extLst>
                    <a:ext uri="{FF2B5EF4-FFF2-40B4-BE49-F238E27FC236}">
                      <a16:creationId xmlns:a16="http://schemas.microsoft.com/office/drawing/2014/main" id="{244DB73F-4847-5816-9FEF-18F0E21FCC4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 117">
                  <a:extLst>
                    <a:ext uri="{FF2B5EF4-FFF2-40B4-BE49-F238E27FC236}">
                      <a16:creationId xmlns:a16="http://schemas.microsoft.com/office/drawing/2014/main" id="{55A7AD32-08A1-6125-8A1B-46182855A57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Rectangle 118">
                  <a:extLst>
                    <a:ext uri="{FF2B5EF4-FFF2-40B4-BE49-F238E27FC236}">
                      <a16:creationId xmlns:a16="http://schemas.microsoft.com/office/drawing/2014/main" id="{9BC07FE2-C7D6-6DA2-25D3-6AC6F5E8E45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Rectangle 119">
                  <a:extLst>
                    <a:ext uri="{FF2B5EF4-FFF2-40B4-BE49-F238E27FC236}">
                      <a16:creationId xmlns:a16="http://schemas.microsoft.com/office/drawing/2014/main" id="{E8C80111-9C0C-6C21-A52A-3C1E9DCF842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Rectangle 120">
                  <a:extLst>
                    <a:ext uri="{FF2B5EF4-FFF2-40B4-BE49-F238E27FC236}">
                      <a16:creationId xmlns:a16="http://schemas.microsoft.com/office/drawing/2014/main" id="{6F8E4841-20CA-B7CD-6E0C-0130C73BC72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Rectangle 121">
                  <a:extLst>
                    <a:ext uri="{FF2B5EF4-FFF2-40B4-BE49-F238E27FC236}">
                      <a16:creationId xmlns:a16="http://schemas.microsoft.com/office/drawing/2014/main" id="{D21E4B61-913E-871F-A4B5-EA1A69872FB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Rectangle 122">
                  <a:extLst>
                    <a:ext uri="{FF2B5EF4-FFF2-40B4-BE49-F238E27FC236}">
                      <a16:creationId xmlns:a16="http://schemas.microsoft.com/office/drawing/2014/main" id="{2369D23E-2835-204F-15EA-7C48E1C60A5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Rectangle 123">
                  <a:extLst>
                    <a:ext uri="{FF2B5EF4-FFF2-40B4-BE49-F238E27FC236}">
                      <a16:creationId xmlns:a16="http://schemas.microsoft.com/office/drawing/2014/main" id="{CF9F1B13-0EEF-B69E-8177-BDECBF8F5A0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 124">
                  <a:extLst>
                    <a:ext uri="{FF2B5EF4-FFF2-40B4-BE49-F238E27FC236}">
                      <a16:creationId xmlns:a16="http://schemas.microsoft.com/office/drawing/2014/main" id="{07287A6E-7051-0F36-5306-53D92E43F6C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Freeform 125">
                  <a:extLst>
                    <a:ext uri="{FF2B5EF4-FFF2-40B4-BE49-F238E27FC236}">
                      <a16:creationId xmlns:a16="http://schemas.microsoft.com/office/drawing/2014/main" id="{FFC1F1BA-C2D1-E1EA-E706-063EF7E790F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Rectangle 126">
                  <a:extLst>
                    <a:ext uri="{FF2B5EF4-FFF2-40B4-BE49-F238E27FC236}">
                      <a16:creationId xmlns:a16="http://schemas.microsoft.com/office/drawing/2014/main" id="{C2556AC7-7E8B-8E32-6E92-4D781CE0282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Rectangle 127">
                  <a:extLst>
                    <a:ext uri="{FF2B5EF4-FFF2-40B4-BE49-F238E27FC236}">
                      <a16:creationId xmlns:a16="http://schemas.microsoft.com/office/drawing/2014/main" id="{9D657907-1DBB-DA44-A0D4-01EA2D1F2ED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Rectangle 128">
                  <a:extLst>
                    <a:ext uri="{FF2B5EF4-FFF2-40B4-BE49-F238E27FC236}">
                      <a16:creationId xmlns:a16="http://schemas.microsoft.com/office/drawing/2014/main" id="{ED8997F3-CAC2-F982-D872-4D5F63EF008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Rectangle 129">
                  <a:extLst>
                    <a:ext uri="{FF2B5EF4-FFF2-40B4-BE49-F238E27FC236}">
                      <a16:creationId xmlns:a16="http://schemas.microsoft.com/office/drawing/2014/main" id="{BAAE73AF-5A1C-A89C-DB45-FA66EA700DC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 130">
                  <a:extLst>
                    <a:ext uri="{FF2B5EF4-FFF2-40B4-BE49-F238E27FC236}">
                      <a16:creationId xmlns:a16="http://schemas.microsoft.com/office/drawing/2014/main" id="{05774835-4C85-4BE8-7277-84606A2C543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Freeform 131">
                  <a:extLst>
                    <a:ext uri="{FF2B5EF4-FFF2-40B4-BE49-F238E27FC236}">
                      <a16:creationId xmlns:a16="http://schemas.microsoft.com/office/drawing/2014/main" id="{FDA6FC34-B897-12A1-19F8-06252666043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 132">
                  <a:extLst>
                    <a:ext uri="{FF2B5EF4-FFF2-40B4-BE49-F238E27FC236}">
                      <a16:creationId xmlns:a16="http://schemas.microsoft.com/office/drawing/2014/main" id="{BF590A1F-0DCD-C9A1-1C97-1C06CA35A1A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40288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Rectangle 133">
                  <a:extLst>
                    <a:ext uri="{FF2B5EF4-FFF2-40B4-BE49-F238E27FC236}">
                      <a16:creationId xmlns:a16="http://schemas.microsoft.com/office/drawing/2014/main" id="{EF94371E-479A-92D8-0B7D-F99FA1F851C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Rectangle 134">
                  <a:extLst>
                    <a:ext uri="{FF2B5EF4-FFF2-40B4-BE49-F238E27FC236}">
                      <a16:creationId xmlns:a16="http://schemas.microsoft.com/office/drawing/2014/main" id="{5D3E18D3-5DA2-9155-5891-547CA82E659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Rectangle 135">
                  <a:extLst>
                    <a:ext uri="{FF2B5EF4-FFF2-40B4-BE49-F238E27FC236}">
                      <a16:creationId xmlns:a16="http://schemas.microsoft.com/office/drawing/2014/main" id="{5DFF5D0B-CF02-12A9-F748-7F66E0D2DDC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Rectangle 136">
                  <a:extLst>
                    <a:ext uri="{FF2B5EF4-FFF2-40B4-BE49-F238E27FC236}">
                      <a16:creationId xmlns:a16="http://schemas.microsoft.com/office/drawing/2014/main" id="{5747CD57-7570-755F-9154-A75B52873E2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Rectangle 137">
                  <a:extLst>
                    <a:ext uri="{FF2B5EF4-FFF2-40B4-BE49-F238E27FC236}">
                      <a16:creationId xmlns:a16="http://schemas.microsoft.com/office/drawing/2014/main" id="{ACA55E8E-A96A-2320-709B-32041E2ACAB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Rectangle 138">
                  <a:extLst>
                    <a:ext uri="{FF2B5EF4-FFF2-40B4-BE49-F238E27FC236}">
                      <a16:creationId xmlns:a16="http://schemas.microsoft.com/office/drawing/2014/main" id="{54590A94-7D03-4BD1-C0F1-805AA3B8C25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Rectangle 139">
                  <a:extLst>
                    <a:ext uri="{FF2B5EF4-FFF2-40B4-BE49-F238E27FC236}">
                      <a16:creationId xmlns:a16="http://schemas.microsoft.com/office/drawing/2014/main" id="{4C44B3E9-A541-E8C4-32B8-1A3A2A1D5CC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Rectangle 140">
                  <a:extLst>
                    <a:ext uri="{FF2B5EF4-FFF2-40B4-BE49-F238E27FC236}">
                      <a16:creationId xmlns:a16="http://schemas.microsoft.com/office/drawing/2014/main" id="{738CC043-9F13-5D6B-2D20-798D2DCCDC8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Rectangle 141">
                  <a:extLst>
                    <a:ext uri="{FF2B5EF4-FFF2-40B4-BE49-F238E27FC236}">
                      <a16:creationId xmlns:a16="http://schemas.microsoft.com/office/drawing/2014/main" id="{3CB05A3F-AFED-8920-BAFF-742283FAE3B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Rectangle 142">
                  <a:extLst>
                    <a:ext uri="{FF2B5EF4-FFF2-40B4-BE49-F238E27FC236}">
                      <a16:creationId xmlns:a16="http://schemas.microsoft.com/office/drawing/2014/main" id="{DB98F83D-97FB-050D-B91B-497BCEC98CA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Freeform 143">
                  <a:extLst>
                    <a:ext uri="{FF2B5EF4-FFF2-40B4-BE49-F238E27FC236}">
                      <a16:creationId xmlns:a16="http://schemas.microsoft.com/office/drawing/2014/main" id="{462C78AB-C043-84CD-6E26-8EACC8DB573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Freeform 144">
                  <a:extLst>
                    <a:ext uri="{FF2B5EF4-FFF2-40B4-BE49-F238E27FC236}">
                      <a16:creationId xmlns:a16="http://schemas.microsoft.com/office/drawing/2014/main" id="{5C3EA7DB-0358-ABCC-8610-11FEED0C76A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Rectangle 145">
                  <a:extLst>
                    <a:ext uri="{FF2B5EF4-FFF2-40B4-BE49-F238E27FC236}">
                      <a16:creationId xmlns:a16="http://schemas.microsoft.com/office/drawing/2014/main" id="{CFA24682-9205-5BF9-80DD-6C3CF77CA77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Rectangle 146">
                  <a:extLst>
                    <a:ext uri="{FF2B5EF4-FFF2-40B4-BE49-F238E27FC236}">
                      <a16:creationId xmlns:a16="http://schemas.microsoft.com/office/drawing/2014/main" id="{B41ACB7D-5694-D238-3E50-A0DFFBE56A1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4" name="Freeform 147">
                  <a:extLst>
                    <a:ext uri="{FF2B5EF4-FFF2-40B4-BE49-F238E27FC236}">
                      <a16:creationId xmlns:a16="http://schemas.microsoft.com/office/drawing/2014/main" id="{E0F86876-73AF-1DC0-C3B0-C0F787C123C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Freeform 148">
                  <a:extLst>
                    <a:ext uri="{FF2B5EF4-FFF2-40B4-BE49-F238E27FC236}">
                      <a16:creationId xmlns:a16="http://schemas.microsoft.com/office/drawing/2014/main" id="{DAE85824-50A0-4017-E208-F2AD16D5259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Freeform 149">
                  <a:extLst>
                    <a:ext uri="{FF2B5EF4-FFF2-40B4-BE49-F238E27FC236}">
                      <a16:creationId xmlns:a16="http://schemas.microsoft.com/office/drawing/2014/main" id="{BB3A4A2C-766B-61CD-EA57-055065F39D0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Freeform 150">
                  <a:extLst>
                    <a:ext uri="{FF2B5EF4-FFF2-40B4-BE49-F238E27FC236}">
                      <a16:creationId xmlns:a16="http://schemas.microsoft.com/office/drawing/2014/main" id="{D309B9BB-360A-9B93-A70D-F20FD714B4C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Rectangle 151">
                  <a:extLst>
                    <a:ext uri="{FF2B5EF4-FFF2-40B4-BE49-F238E27FC236}">
                      <a16:creationId xmlns:a16="http://schemas.microsoft.com/office/drawing/2014/main" id="{CA89253F-E24B-882D-F661-7B05533A6CE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Rectangle 152">
                  <a:extLst>
                    <a:ext uri="{FF2B5EF4-FFF2-40B4-BE49-F238E27FC236}">
                      <a16:creationId xmlns:a16="http://schemas.microsoft.com/office/drawing/2014/main" id="{7A752FE7-390B-4691-756E-1017FDECD2B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Rectangle 153">
                  <a:extLst>
                    <a:ext uri="{FF2B5EF4-FFF2-40B4-BE49-F238E27FC236}">
                      <a16:creationId xmlns:a16="http://schemas.microsoft.com/office/drawing/2014/main" id="{A00BE773-D536-EF33-386E-1EA35059811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Rectangle 154">
                  <a:extLst>
                    <a:ext uri="{FF2B5EF4-FFF2-40B4-BE49-F238E27FC236}">
                      <a16:creationId xmlns:a16="http://schemas.microsoft.com/office/drawing/2014/main" id="{654AB378-E808-8195-782A-A5F83842199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Rectangle 155">
                  <a:extLst>
                    <a:ext uri="{FF2B5EF4-FFF2-40B4-BE49-F238E27FC236}">
                      <a16:creationId xmlns:a16="http://schemas.microsoft.com/office/drawing/2014/main" id="{25C18F8D-60AC-5909-BE93-2168C91CB68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Rectangle 156">
                  <a:extLst>
                    <a:ext uri="{FF2B5EF4-FFF2-40B4-BE49-F238E27FC236}">
                      <a16:creationId xmlns:a16="http://schemas.microsoft.com/office/drawing/2014/main" id="{1EFDD050-C6F3-C7BF-1848-EBE87E263B7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Freeform 157">
                  <a:extLst>
                    <a:ext uri="{FF2B5EF4-FFF2-40B4-BE49-F238E27FC236}">
                      <a16:creationId xmlns:a16="http://schemas.microsoft.com/office/drawing/2014/main" id="{9234CEEA-70A4-E064-EE77-E3A9294368B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Freeform 158">
                  <a:extLst>
                    <a:ext uri="{FF2B5EF4-FFF2-40B4-BE49-F238E27FC236}">
                      <a16:creationId xmlns:a16="http://schemas.microsoft.com/office/drawing/2014/main" id="{78F5C4D7-C36E-A302-C1E1-9EF6EA35377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6" name="Rectangle 159">
                  <a:extLst>
                    <a:ext uri="{FF2B5EF4-FFF2-40B4-BE49-F238E27FC236}">
                      <a16:creationId xmlns:a16="http://schemas.microsoft.com/office/drawing/2014/main" id="{FB66BB25-9504-3CAC-B5BF-AA39FA76900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7" name="Rectangle 160">
                  <a:extLst>
                    <a:ext uri="{FF2B5EF4-FFF2-40B4-BE49-F238E27FC236}">
                      <a16:creationId xmlns:a16="http://schemas.microsoft.com/office/drawing/2014/main" id="{4083EF25-CCF7-C9AA-BFF2-462DDD0818F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Rectangle 161">
                  <a:extLst>
                    <a:ext uri="{FF2B5EF4-FFF2-40B4-BE49-F238E27FC236}">
                      <a16:creationId xmlns:a16="http://schemas.microsoft.com/office/drawing/2014/main" id="{19ACAF4E-CF01-FDC2-2B22-54087FF9C68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Rectangle 162">
                  <a:extLst>
                    <a:ext uri="{FF2B5EF4-FFF2-40B4-BE49-F238E27FC236}">
                      <a16:creationId xmlns:a16="http://schemas.microsoft.com/office/drawing/2014/main" id="{E2883FA2-10C3-1F80-3C41-4958BFCE078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Rectangle 163">
                  <a:extLst>
                    <a:ext uri="{FF2B5EF4-FFF2-40B4-BE49-F238E27FC236}">
                      <a16:creationId xmlns:a16="http://schemas.microsoft.com/office/drawing/2014/main" id="{44888F49-A67E-964E-7121-8328748F3C1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Rectangle 164">
                  <a:extLst>
                    <a:ext uri="{FF2B5EF4-FFF2-40B4-BE49-F238E27FC236}">
                      <a16:creationId xmlns:a16="http://schemas.microsoft.com/office/drawing/2014/main" id="{BC5895BC-9DC7-A847-C5FE-C9D4D812950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Rectangle 165">
                  <a:extLst>
                    <a:ext uri="{FF2B5EF4-FFF2-40B4-BE49-F238E27FC236}">
                      <a16:creationId xmlns:a16="http://schemas.microsoft.com/office/drawing/2014/main" id="{8CB6DF0E-CEAF-EDD9-4824-B93F0693642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Rectangle 166">
                  <a:extLst>
                    <a:ext uri="{FF2B5EF4-FFF2-40B4-BE49-F238E27FC236}">
                      <a16:creationId xmlns:a16="http://schemas.microsoft.com/office/drawing/2014/main" id="{9016C359-D1D3-241B-C3A6-B4D1F9DE8FC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Rectangle 167">
                  <a:extLst>
                    <a:ext uri="{FF2B5EF4-FFF2-40B4-BE49-F238E27FC236}">
                      <a16:creationId xmlns:a16="http://schemas.microsoft.com/office/drawing/2014/main" id="{55266A6B-82CD-CF16-CBA1-FD03A97D93C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Rectangle 168">
                  <a:extLst>
                    <a:ext uri="{FF2B5EF4-FFF2-40B4-BE49-F238E27FC236}">
                      <a16:creationId xmlns:a16="http://schemas.microsoft.com/office/drawing/2014/main" id="{D8D9BE9A-0917-159E-0DE4-2ABAC97CBB8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Rectangle 169">
                  <a:extLst>
                    <a:ext uri="{FF2B5EF4-FFF2-40B4-BE49-F238E27FC236}">
                      <a16:creationId xmlns:a16="http://schemas.microsoft.com/office/drawing/2014/main" id="{9D5A98D6-5F89-42B2-986E-2F09E46C8A6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7" name="Rectangle 170">
                  <a:extLst>
                    <a:ext uri="{FF2B5EF4-FFF2-40B4-BE49-F238E27FC236}">
                      <a16:creationId xmlns:a16="http://schemas.microsoft.com/office/drawing/2014/main" id="{F8F1F9EC-7D39-90E4-C4CD-C746B4189E0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8" name="Freeform 171">
                  <a:extLst>
                    <a:ext uri="{FF2B5EF4-FFF2-40B4-BE49-F238E27FC236}">
                      <a16:creationId xmlns:a16="http://schemas.microsoft.com/office/drawing/2014/main" id="{A083A487-173C-E0AF-2399-C1579FD444A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9" name="Freeform 172">
                  <a:extLst>
                    <a:ext uri="{FF2B5EF4-FFF2-40B4-BE49-F238E27FC236}">
                      <a16:creationId xmlns:a16="http://schemas.microsoft.com/office/drawing/2014/main" id="{A2CB3D06-D8BF-3D44-4B7F-2A7700C347F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Rectangle 173">
                  <a:extLst>
                    <a:ext uri="{FF2B5EF4-FFF2-40B4-BE49-F238E27FC236}">
                      <a16:creationId xmlns:a16="http://schemas.microsoft.com/office/drawing/2014/main" id="{ED54A02F-3BF5-21E7-05E4-4ED36043AE0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19563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Rectangle 174">
                  <a:extLst>
                    <a:ext uri="{FF2B5EF4-FFF2-40B4-BE49-F238E27FC236}">
                      <a16:creationId xmlns:a16="http://schemas.microsoft.com/office/drawing/2014/main" id="{BECC87B7-2EDC-CD77-244A-621E5719D49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1938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 175">
                  <a:extLst>
                    <a:ext uri="{FF2B5EF4-FFF2-40B4-BE49-F238E27FC236}">
                      <a16:creationId xmlns:a16="http://schemas.microsoft.com/office/drawing/2014/main" id="{7C4C9CE8-D4A3-A1FA-C77C-7B9617FBE1B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022725" y="4899026"/>
                  <a:ext cx="20638" cy="17463"/>
                </a:xfrm>
                <a:custGeom>
                  <a:avLst/>
                  <a:gdLst>
                    <a:gd name="T0" fmla="*/ 1 w 13"/>
                    <a:gd name="T1" fmla="*/ 11 h 11"/>
                    <a:gd name="T2" fmla="*/ 13 w 13"/>
                    <a:gd name="T3" fmla="*/ 11 h 11"/>
                    <a:gd name="T4" fmla="*/ 13 w 13"/>
                    <a:gd name="T5" fmla="*/ 0 h 11"/>
                    <a:gd name="T6" fmla="*/ 0 w 13"/>
                    <a:gd name="T7" fmla="*/ 0 h 11"/>
                    <a:gd name="T8" fmla="*/ 1 w 13"/>
                    <a:gd name="T9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1">
                      <a:moveTo>
                        <a:pt x="1" y="11"/>
                      </a:moveTo>
                      <a:lnTo>
                        <a:pt x="13" y="11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1" y="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8" name="Group 6">
              <a:extLst>
                <a:ext uri="{FF2B5EF4-FFF2-40B4-BE49-F238E27FC236}">
                  <a16:creationId xmlns:a16="http://schemas.microsoft.com/office/drawing/2014/main" id="{9EB69AB3-5C37-80DC-F64F-CCD99D8FE9B9}"/>
                </a:ext>
              </a:extLst>
            </p:cNvPr>
            <p:cNvGrpSpPr/>
            <p:nvPr/>
          </p:nvGrpSpPr>
          <p:grpSpPr>
            <a:xfrm>
              <a:off x="1868421" y="3874372"/>
              <a:ext cx="2908640" cy="1223224"/>
              <a:chOff x="1868421" y="3874372"/>
              <a:chExt cx="2908640" cy="1223224"/>
            </a:xfrm>
          </p:grpSpPr>
          <p:grpSp>
            <p:nvGrpSpPr>
              <p:cNvPr id="9" name="Group 2">
                <a:extLst>
                  <a:ext uri="{FF2B5EF4-FFF2-40B4-BE49-F238E27FC236}">
                    <a16:creationId xmlns:a16="http://schemas.microsoft.com/office/drawing/2014/main" id="{7EAFF9E7-A1A2-922D-8D2B-034CC17C8424}"/>
                  </a:ext>
                </a:extLst>
              </p:cNvPr>
              <p:cNvGrpSpPr/>
              <p:nvPr/>
            </p:nvGrpSpPr>
            <p:grpSpPr>
              <a:xfrm>
                <a:off x="1868421" y="3874372"/>
                <a:ext cx="1112318" cy="1215895"/>
                <a:chOff x="1868421" y="3874372"/>
                <a:chExt cx="1112318" cy="1215895"/>
              </a:xfrm>
            </p:grpSpPr>
            <p:sp>
              <p:nvSpPr>
                <p:cNvPr id="72" name="Freeform 177">
                  <a:extLst>
                    <a:ext uri="{FF2B5EF4-FFF2-40B4-BE49-F238E27FC236}">
                      <a16:creationId xmlns:a16="http://schemas.microsoft.com/office/drawing/2014/main" id="{79BB168E-4425-35F1-0084-513E89CCE36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163948" y="4817283"/>
                  <a:ext cx="124002" cy="272984"/>
                </a:xfrm>
                <a:custGeom>
                  <a:avLst/>
                  <a:gdLst>
                    <a:gd name="T0" fmla="*/ 20 w 119"/>
                    <a:gd name="T1" fmla="*/ 0 h 262"/>
                    <a:gd name="T2" fmla="*/ 3 w 119"/>
                    <a:gd name="T3" fmla="*/ 0 h 262"/>
                    <a:gd name="T4" fmla="*/ 4 w 119"/>
                    <a:gd name="T5" fmla="*/ 6 h 262"/>
                    <a:gd name="T6" fmla="*/ 22 w 119"/>
                    <a:gd name="T7" fmla="*/ 13 h 262"/>
                    <a:gd name="T8" fmla="*/ 42 w 119"/>
                    <a:gd name="T9" fmla="*/ 23 h 262"/>
                    <a:gd name="T10" fmla="*/ 46 w 119"/>
                    <a:gd name="T11" fmla="*/ 26 h 262"/>
                    <a:gd name="T12" fmla="*/ 35 w 119"/>
                    <a:gd name="T13" fmla="*/ 28 h 262"/>
                    <a:gd name="T14" fmla="*/ 37 w 119"/>
                    <a:gd name="T15" fmla="*/ 262 h 262"/>
                    <a:gd name="T16" fmla="*/ 119 w 119"/>
                    <a:gd name="T17" fmla="*/ 262 h 262"/>
                    <a:gd name="T18" fmla="*/ 69 w 119"/>
                    <a:gd name="T19" fmla="*/ 23 h 262"/>
                    <a:gd name="T20" fmla="*/ 68 w 119"/>
                    <a:gd name="T21" fmla="*/ 23 h 262"/>
                    <a:gd name="T22" fmla="*/ 69 w 119"/>
                    <a:gd name="T23" fmla="*/ 1 h 262"/>
                    <a:gd name="T24" fmla="*/ 49 w 119"/>
                    <a:gd name="T25" fmla="*/ 1 h 262"/>
                    <a:gd name="T26" fmla="*/ 48 w 119"/>
                    <a:gd name="T27" fmla="*/ 9 h 262"/>
                    <a:gd name="T28" fmla="*/ 20 w 119"/>
                    <a:gd name="T29" fmla="*/ 0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9" h="262">
                      <a:moveTo>
                        <a:pt x="20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0" y="5"/>
                        <a:pt x="4" y="6"/>
                      </a:cubicBezTo>
                      <a:cubicBezTo>
                        <a:pt x="6" y="7"/>
                        <a:pt x="22" y="13"/>
                        <a:pt x="22" y="13"/>
                      </a:cubicBezTo>
                      <a:cubicBezTo>
                        <a:pt x="42" y="23"/>
                        <a:pt x="42" y="23"/>
                        <a:pt x="42" y="23"/>
                      </a:cubicBezTo>
                      <a:cubicBezTo>
                        <a:pt x="46" y="26"/>
                        <a:pt x="46" y="26"/>
                        <a:pt x="46" y="26"/>
                      </a:cubicBezTo>
                      <a:cubicBezTo>
                        <a:pt x="35" y="28"/>
                        <a:pt x="35" y="28"/>
                        <a:pt x="35" y="28"/>
                      </a:cubicBezTo>
                      <a:cubicBezTo>
                        <a:pt x="37" y="262"/>
                        <a:pt x="37" y="262"/>
                        <a:pt x="37" y="262"/>
                      </a:cubicBezTo>
                      <a:cubicBezTo>
                        <a:pt x="119" y="262"/>
                        <a:pt x="119" y="262"/>
                        <a:pt x="119" y="262"/>
                      </a:cubicBezTo>
                      <a:cubicBezTo>
                        <a:pt x="105" y="159"/>
                        <a:pt x="69" y="23"/>
                        <a:pt x="69" y="23"/>
                      </a:cubicBezTo>
                      <a:cubicBezTo>
                        <a:pt x="68" y="23"/>
                        <a:pt x="68" y="23"/>
                        <a:pt x="68" y="23"/>
                      </a:cubicBezTo>
                      <a:cubicBezTo>
                        <a:pt x="69" y="1"/>
                        <a:pt x="69" y="1"/>
                        <a:pt x="69" y="1"/>
                      </a:cubicBezTo>
                      <a:cubicBezTo>
                        <a:pt x="49" y="1"/>
                        <a:pt x="49" y="1"/>
                        <a:pt x="49" y="1"/>
                      </a:cubicBezTo>
                      <a:cubicBezTo>
                        <a:pt x="48" y="9"/>
                        <a:pt x="48" y="9"/>
                        <a:pt x="48" y="9"/>
                      </a:cubicBezTo>
                      <a:cubicBezTo>
                        <a:pt x="20" y="0"/>
                        <a:pt x="20" y="0"/>
                        <a:pt x="20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grpSp>
              <p:nvGrpSpPr>
                <p:cNvPr id="73" name="Group 1087">
                  <a:extLst>
                    <a:ext uri="{FF2B5EF4-FFF2-40B4-BE49-F238E27FC236}">
                      <a16:creationId xmlns:a16="http://schemas.microsoft.com/office/drawing/2014/main" id="{23E6276B-BE99-9821-174E-D6F0472A9E7E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1868421" y="3874372"/>
                  <a:ext cx="1112318" cy="907889"/>
                  <a:chOff x="10205244" y="514350"/>
                  <a:chExt cx="1429544" cy="1166813"/>
                </a:xfrm>
              </p:grpSpPr>
              <p:sp>
                <p:nvSpPr>
                  <p:cNvPr id="74" name="Freeform 254">
                    <a:extLst>
                      <a:ext uri="{FF2B5EF4-FFF2-40B4-BE49-F238E27FC236}">
                        <a16:creationId xmlns:a16="http://schemas.microsoft.com/office/drawing/2014/main" id="{D184FC8A-1F6F-FAC9-054E-1691F7BC919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05244" y="950913"/>
                    <a:ext cx="88900" cy="63500"/>
                  </a:xfrm>
                  <a:custGeom>
                    <a:avLst/>
                    <a:gdLst>
                      <a:gd name="T0" fmla="*/ 47 w 48"/>
                      <a:gd name="T1" fmla="*/ 8 h 35"/>
                      <a:gd name="T2" fmla="*/ 47 w 48"/>
                      <a:gd name="T3" fmla="*/ 0 h 35"/>
                      <a:gd name="T4" fmla="*/ 16 w 48"/>
                      <a:gd name="T5" fmla="*/ 3 h 35"/>
                      <a:gd name="T6" fmla="*/ 21 w 48"/>
                      <a:gd name="T7" fmla="*/ 6 h 35"/>
                      <a:gd name="T8" fmla="*/ 29 w 48"/>
                      <a:gd name="T9" fmla="*/ 7 h 35"/>
                      <a:gd name="T10" fmla="*/ 14 w 48"/>
                      <a:gd name="T11" fmla="*/ 24 h 35"/>
                      <a:gd name="T12" fmla="*/ 2 w 48"/>
                      <a:gd name="T13" fmla="*/ 24 h 35"/>
                      <a:gd name="T14" fmla="*/ 0 w 48"/>
                      <a:gd name="T15" fmla="*/ 28 h 35"/>
                      <a:gd name="T16" fmla="*/ 15 w 48"/>
                      <a:gd name="T17" fmla="*/ 29 h 35"/>
                      <a:gd name="T18" fmla="*/ 5 w 48"/>
                      <a:gd name="T19" fmla="*/ 33 h 35"/>
                      <a:gd name="T20" fmla="*/ 6 w 48"/>
                      <a:gd name="T21" fmla="*/ 35 h 35"/>
                      <a:gd name="T22" fmla="*/ 27 w 48"/>
                      <a:gd name="T23" fmla="*/ 31 h 35"/>
                      <a:gd name="T24" fmla="*/ 31 w 48"/>
                      <a:gd name="T25" fmla="*/ 27 h 35"/>
                      <a:gd name="T26" fmla="*/ 39 w 48"/>
                      <a:gd name="T27" fmla="*/ 19 h 35"/>
                      <a:gd name="T28" fmla="*/ 44 w 48"/>
                      <a:gd name="T29" fmla="*/ 14 h 35"/>
                      <a:gd name="T30" fmla="*/ 48 w 48"/>
                      <a:gd name="T31" fmla="*/ 14 h 35"/>
                      <a:gd name="T32" fmla="*/ 47 w 48"/>
                      <a:gd name="T33" fmla="*/ 8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48" h="35">
                        <a:moveTo>
                          <a:pt x="47" y="8"/>
                        </a:moveTo>
                        <a:cubicBezTo>
                          <a:pt x="47" y="4"/>
                          <a:pt x="47" y="2"/>
                          <a:pt x="47" y="0"/>
                        </a:cubicBezTo>
                        <a:cubicBezTo>
                          <a:pt x="36" y="0"/>
                          <a:pt x="16" y="3"/>
                          <a:pt x="16" y="3"/>
                        </a:cubicBezTo>
                        <a:cubicBezTo>
                          <a:pt x="16" y="3"/>
                          <a:pt x="16" y="6"/>
                          <a:pt x="21" y="6"/>
                        </a:cubicBezTo>
                        <a:cubicBezTo>
                          <a:pt x="26" y="6"/>
                          <a:pt x="29" y="7"/>
                          <a:pt x="29" y="7"/>
                        </a:cubicBezTo>
                        <a:cubicBezTo>
                          <a:pt x="14" y="24"/>
                          <a:pt x="14" y="24"/>
                          <a:pt x="14" y="24"/>
                        </a:cubicBezTo>
                        <a:cubicBezTo>
                          <a:pt x="14" y="24"/>
                          <a:pt x="4" y="24"/>
                          <a:pt x="2" y="24"/>
                        </a:cubicBezTo>
                        <a:cubicBezTo>
                          <a:pt x="1" y="25"/>
                          <a:pt x="0" y="27"/>
                          <a:pt x="0" y="28"/>
                        </a:cubicBezTo>
                        <a:cubicBezTo>
                          <a:pt x="4" y="28"/>
                          <a:pt x="15" y="29"/>
                          <a:pt x="15" y="29"/>
                        </a:cubicBezTo>
                        <a:cubicBezTo>
                          <a:pt x="15" y="29"/>
                          <a:pt x="7" y="31"/>
                          <a:pt x="5" y="33"/>
                        </a:cubicBezTo>
                        <a:cubicBezTo>
                          <a:pt x="5" y="33"/>
                          <a:pt x="4" y="35"/>
                          <a:pt x="6" y="35"/>
                        </a:cubicBezTo>
                        <a:cubicBezTo>
                          <a:pt x="15" y="34"/>
                          <a:pt x="26" y="32"/>
                          <a:pt x="27" y="31"/>
                        </a:cubicBezTo>
                        <a:cubicBezTo>
                          <a:pt x="29" y="29"/>
                          <a:pt x="31" y="27"/>
                          <a:pt x="31" y="27"/>
                        </a:cubicBezTo>
                        <a:cubicBezTo>
                          <a:pt x="31" y="27"/>
                          <a:pt x="35" y="23"/>
                          <a:pt x="39" y="19"/>
                        </a:cubicBezTo>
                        <a:cubicBezTo>
                          <a:pt x="43" y="16"/>
                          <a:pt x="44" y="14"/>
                          <a:pt x="44" y="14"/>
                        </a:cubicBezTo>
                        <a:cubicBezTo>
                          <a:pt x="48" y="14"/>
                          <a:pt x="48" y="14"/>
                          <a:pt x="48" y="14"/>
                        </a:cubicBezTo>
                        <a:cubicBezTo>
                          <a:pt x="48" y="14"/>
                          <a:pt x="47" y="11"/>
                          <a:pt x="47" y="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" name="Freeform 235">
                    <a:extLst>
                      <a:ext uri="{FF2B5EF4-FFF2-40B4-BE49-F238E27FC236}">
                        <a16:creationId xmlns:a16="http://schemas.microsoft.com/office/drawing/2014/main" id="{1928339C-C260-C1FA-3453-A1EE796AC0F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20438" y="976313"/>
                    <a:ext cx="206375" cy="155575"/>
                  </a:xfrm>
                  <a:custGeom>
                    <a:avLst/>
                    <a:gdLst>
                      <a:gd name="T0" fmla="*/ 112 w 112"/>
                      <a:gd name="T1" fmla="*/ 84 h 84"/>
                      <a:gd name="T2" fmla="*/ 30 w 112"/>
                      <a:gd name="T3" fmla="*/ 73 h 84"/>
                      <a:gd name="T4" fmla="*/ 0 w 112"/>
                      <a:gd name="T5" fmla="*/ 0 h 84"/>
                      <a:gd name="T6" fmla="*/ 68 w 112"/>
                      <a:gd name="T7" fmla="*/ 23 h 84"/>
                      <a:gd name="T8" fmla="*/ 112 w 112"/>
                      <a:gd name="T9" fmla="*/ 84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2" h="84">
                        <a:moveTo>
                          <a:pt x="112" y="84"/>
                        </a:moveTo>
                        <a:cubicBezTo>
                          <a:pt x="112" y="84"/>
                          <a:pt x="80" y="48"/>
                          <a:pt x="30" y="73"/>
                        </a:cubicBezTo>
                        <a:cubicBezTo>
                          <a:pt x="9" y="83"/>
                          <a:pt x="0" y="0"/>
                          <a:pt x="0" y="0"/>
                        </a:cubicBezTo>
                        <a:cubicBezTo>
                          <a:pt x="0" y="0"/>
                          <a:pt x="11" y="5"/>
                          <a:pt x="68" y="23"/>
                        </a:cubicBezTo>
                        <a:cubicBezTo>
                          <a:pt x="83" y="28"/>
                          <a:pt x="112" y="84"/>
                          <a:pt x="112" y="84"/>
                        </a:cubicBezTo>
                        <a:close/>
                      </a:path>
                    </a:pathLst>
                  </a:custGeom>
                  <a:solidFill>
                    <a:srgbClr val="5D819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Freeform 236">
                    <a:extLst>
                      <a:ext uri="{FF2B5EF4-FFF2-40B4-BE49-F238E27FC236}">
                        <a16:creationId xmlns:a16="http://schemas.microsoft.com/office/drawing/2014/main" id="{4255BB31-27E8-0B44-DEB7-B551B4413F5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555413" y="1190625"/>
                    <a:ext cx="79375" cy="52388"/>
                  </a:xfrm>
                  <a:custGeom>
                    <a:avLst/>
                    <a:gdLst>
                      <a:gd name="T0" fmla="*/ 0 w 43"/>
                      <a:gd name="T1" fmla="*/ 12 h 28"/>
                      <a:gd name="T2" fmla="*/ 7 w 43"/>
                      <a:gd name="T3" fmla="*/ 0 h 28"/>
                      <a:gd name="T4" fmla="*/ 19 w 43"/>
                      <a:gd name="T5" fmla="*/ 7 h 28"/>
                      <a:gd name="T6" fmla="*/ 16 w 43"/>
                      <a:gd name="T7" fmla="*/ 12 h 28"/>
                      <a:gd name="T8" fmla="*/ 35 w 43"/>
                      <a:gd name="T9" fmla="*/ 18 h 28"/>
                      <a:gd name="T10" fmla="*/ 43 w 43"/>
                      <a:gd name="T11" fmla="*/ 24 h 28"/>
                      <a:gd name="T12" fmla="*/ 40 w 43"/>
                      <a:gd name="T13" fmla="*/ 27 h 28"/>
                      <a:gd name="T14" fmla="*/ 29 w 43"/>
                      <a:gd name="T15" fmla="*/ 25 h 28"/>
                      <a:gd name="T16" fmla="*/ 12 w 43"/>
                      <a:gd name="T17" fmla="*/ 24 h 28"/>
                      <a:gd name="T18" fmla="*/ 0 w 43"/>
                      <a:gd name="T19" fmla="*/ 12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3" h="28">
                        <a:moveTo>
                          <a:pt x="0" y="12"/>
                        </a:move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19" y="7"/>
                          <a:pt x="19" y="7"/>
                          <a:pt x="19" y="7"/>
                        </a:cubicBezTo>
                        <a:cubicBezTo>
                          <a:pt x="16" y="12"/>
                          <a:pt x="16" y="12"/>
                          <a:pt x="16" y="12"/>
                        </a:cubicBezTo>
                        <a:cubicBezTo>
                          <a:pt x="35" y="18"/>
                          <a:pt x="35" y="18"/>
                          <a:pt x="35" y="18"/>
                        </a:cubicBezTo>
                        <a:cubicBezTo>
                          <a:pt x="43" y="24"/>
                          <a:pt x="43" y="24"/>
                          <a:pt x="43" y="24"/>
                        </a:cubicBezTo>
                        <a:cubicBezTo>
                          <a:pt x="43" y="24"/>
                          <a:pt x="43" y="28"/>
                          <a:pt x="40" y="27"/>
                        </a:cubicBezTo>
                        <a:cubicBezTo>
                          <a:pt x="39" y="27"/>
                          <a:pt x="29" y="25"/>
                          <a:pt x="29" y="25"/>
                        </a:cubicBezTo>
                        <a:cubicBezTo>
                          <a:pt x="12" y="24"/>
                          <a:pt x="12" y="24"/>
                          <a:pt x="12" y="24"/>
                        </a:cubicBez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" name="Freeform 237">
                    <a:extLst>
                      <a:ext uri="{FF2B5EF4-FFF2-40B4-BE49-F238E27FC236}">
                        <a16:creationId xmlns:a16="http://schemas.microsoft.com/office/drawing/2014/main" id="{B7BF6C50-D43C-5A5F-D98A-912030F7A49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049000" y="1157288"/>
                    <a:ext cx="534988" cy="444500"/>
                  </a:xfrm>
                  <a:custGeom>
                    <a:avLst/>
                    <a:gdLst>
                      <a:gd name="T0" fmla="*/ 13 w 288"/>
                      <a:gd name="T1" fmla="*/ 30 h 240"/>
                      <a:gd name="T2" fmla="*/ 97 w 288"/>
                      <a:gd name="T3" fmla="*/ 29 h 240"/>
                      <a:gd name="T4" fmla="*/ 121 w 288"/>
                      <a:gd name="T5" fmla="*/ 154 h 240"/>
                      <a:gd name="T6" fmla="*/ 269 w 288"/>
                      <a:gd name="T7" fmla="*/ 26 h 240"/>
                      <a:gd name="T8" fmla="*/ 288 w 288"/>
                      <a:gd name="T9" fmla="*/ 44 h 240"/>
                      <a:gd name="T10" fmla="*/ 145 w 288"/>
                      <a:gd name="T11" fmla="*/ 206 h 240"/>
                      <a:gd name="T12" fmla="*/ 78 w 288"/>
                      <a:gd name="T13" fmla="*/ 202 h 240"/>
                      <a:gd name="T14" fmla="*/ 0 w 288"/>
                      <a:gd name="T15" fmla="*/ 68 h 240"/>
                      <a:gd name="T16" fmla="*/ 13 w 288"/>
                      <a:gd name="T17" fmla="*/ 30 h 2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88" h="240">
                        <a:moveTo>
                          <a:pt x="13" y="30"/>
                        </a:moveTo>
                        <a:cubicBezTo>
                          <a:pt x="13" y="30"/>
                          <a:pt x="86" y="0"/>
                          <a:pt x="97" y="29"/>
                        </a:cubicBezTo>
                        <a:cubicBezTo>
                          <a:pt x="114" y="69"/>
                          <a:pt x="119" y="127"/>
                          <a:pt x="121" y="154"/>
                        </a:cubicBezTo>
                        <a:cubicBezTo>
                          <a:pt x="269" y="26"/>
                          <a:pt x="269" y="26"/>
                          <a:pt x="269" y="26"/>
                        </a:cubicBezTo>
                        <a:cubicBezTo>
                          <a:pt x="288" y="44"/>
                          <a:pt x="288" y="44"/>
                          <a:pt x="288" y="44"/>
                        </a:cubicBezTo>
                        <a:cubicBezTo>
                          <a:pt x="288" y="44"/>
                          <a:pt x="154" y="192"/>
                          <a:pt x="145" y="206"/>
                        </a:cubicBezTo>
                        <a:cubicBezTo>
                          <a:pt x="135" y="220"/>
                          <a:pt x="102" y="240"/>
                          <a:pt x="78" y="202"/>
                        </a:cubicBezTo>
                        <a:cubicBezTo>
                          <a:pt x="55" y="163"/>
                          <a:pt x="14" y="93"/>
                          <a:pt x="0" y="68"/>
                        </a:cubicBezTo>
                        <a:cubicBezTo>
                          <a:pt x="107" y="63"/>
                          <a:pt x="13" y="30"/>
                          <a:pt x="13" y="3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" name="Freeform 238">
                    <a:extLst>
                      <a:ext uri="{FF2B5EF4-FFF2-40B4-BE49-F238E27FC236}">
                        <a16:creationId xmlns:a16="http://schemas.microsoft.com/office/drawing/2014/main" id="{E390BB70-B957-FFC8-88E2-7D63ECD962F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50513" y="677863"/>
                    <a:ext cx="373063" cy="328613"/>
                  </a:xfrm>
                  <a:custGeom>
                    <a:avLst/>
                    <a:gdLst>
                      <a:gd name="T0" fmla="*/ 179 w 201"/>
                      <a:gd name="T1" fmla="*/ 0 h 177"/>
                      <a:gd name="T2" fmla="*/ 134 w 201"/>
                      <a:gd name="T3" fmla="*/ 67 h 177"/>
                      <a:gd name="T4" fmla="*/ 99 w 201"/>
                      <a:gd name="T5" fmla="*/ 122 h 177"/>
                      <a:gd name="T6" fmla="*/ 9 w 201"/>
                      <a:gd name="T7" fmla="*/ 39 h 177"/>
                      <a:gd name="T8" fmla="*/ 0 w 201"/>
                      <a:gd name="T9" fmla="*/ 48 h 177"/>
                      <a:gd name="T10" fmla="*/ 65 w 201"/>
                      <a:gd name="T11" fmla="*/ 141 h 177"/>
                      <a:gd name="T12" fmla="*/ 116 w 201"/>
                      <a:gd name="T13" fmla="*/ 177 h 177"/>
                      <a:gd name="T14" fmla="*/ 201 w 201"/>
                      <a:gd name="T15" fmla="*/ 87 h 177"/>
                      <a:gd name="T16" fmla="*/ 179 w 201"/>
                      <a:gd name="T17" fmla="*/ 0 h 1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1" h="177">
                        <a:moveTo>
                          <a:pt x="179" y="0"/>
                        </a:moveTo>
                        <a:cubicBezTo>
                          <a:pt x="179" y="0"/>
                          <a:pt x="155" y="11"/>
                          <a:pt x="134" y="67"/>
                        </a:cubicBezTo>
                        <a:cubicBezTo>
                          <a:pt x="121" y="98"/>
                          <a:pt x="99" y="122"/>
                          <a:pt x="99" y="122"/>
                        </a:cubicBezTo>
                        <a:cubicBezTo>
                          <a:pt x="9" y="39"/>
                          <a:pt x="9" y="39"/>
                          <a:pt x="9" y="39"/>
                        </a:cubicBezTo>
                        <a:cubicBezTo>
                          <a:pt x="0" y="48"/>
                          <a:pt x="0" y="48"/>
                          <a:pt x="0" y="48"/>
                        </a:cubicBezTo>
                        <a:cubicBezTo>
                          <a:pt x="0" y="48"/>
                          <a:pt x="41" y="108"/>
                          <a:pt x="65" y="141"/>
                        </a:cubicBezTo>
                        <a:cubicBezTo>
                          <a:pt x="86" y="172"/>
                          <a:pt x="116" y="177"/>
                          <a:pt x="116" y="177"/>
                        </a:cubicBezTo>
                        <a:cubicBezTo>
                          <a:pt x="201" y="87"/>
                          <a:pt x="201" y="87"/>
                          <a:pt x="201" y="87"/>
                        </a:cubicBezTo>
                        <a:lnTo>
                          <a:pt x="179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" name="Freeform 239">
                    <a:extLst>
                      <a:ext uri="{FF2B5EF4-FFF2-40B4-BE49-F238E27FC236}">
                        <a16:creationId xmlns:a16="http://schemas.microsoft.com/office/drawing/2014/main" id="{6D9179B8-5CC3-7B2F-6AC8-67DE4469568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7525" y="700088"/>
                    <a:ext cx="284163" cy="404813"/>
                  </a:xfrm>
                  <a:custGeom>
                    <a:avLst/>
                    <a:gdLst>
                      <a:gd name="T0" fmla="*/ 154 w 154"/>
                      <a:gd name="T1" fmla="*/ 219 h 219"/>
                      <a:gd name="T2" fmla="*/ 32 w 154"/>
                      <a:gd name="T3" fmla="*/ 117 h 219"/>
                      <a:gd name="T4" fmla="*/ 43 w 154"/>
                      <a:gd name="T5" fmla="*/ 0 h 219"/>
                      <a:gd name="T6" fmla="*/ 154 w 154"/>
                      <a:gd name="T7" fmla="*/ 219 h 2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54" h="219">
                        <a:moveTo>
                          <a:pt x="154" y="219"/>
                        </a:moveTo>
                        <a:cubicBezTo>
                          <a:pt x="154" y="219"/>
                          <a:pt x="59" y="173"/>
                          <a:pt x="32" y="117"/>
                        </a:cubicBezTo>
                        <a:cubicBezTo>
                          <a:pt x="0" y="47"/>
                          <a:pt x="43" y="0"/>
                          <a:pt x="43" y="0"/>
                        </a:cubicBezTo>
                        <a:cubicBezTo>
                          <a:pt x="154" y="219"/>
                          <a:pt x="154" y="219"/>
                          <a:pt x="154" y="219"/>
                        </a:cubicBezTo>
                      </a:path>
                    </a:pathLst>
                  </a:custGeom>
                  <a:solidFill>
                    <a:srgbClr val="9FCDD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" name="Freeform 240">
                    <a:extLst>
                      <a:ext uri="{FF2B5EF4-FFF2-40B4-BE49-F238E27FC236}">
                        <a16:creationId xmlns:a16="http://schemas.microsoft.com/office/drawing/2014/main" id="{E443BA75-BB13-ECA1-D5F0-92A32A3131E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18800" y="666750"/>
                    <a:ext cx="525463" cy="481013"/>
                  </a:xfrm>
                  <a:custGeom>
                    <a:avLst/>
                    <a:gdLst>
                      <a:gd name="T0" fmla="*/ 135 w 283"/>
                      <a:gd name="T1" fmla="*/ 260 h 260"/>
                      <a:gd name="T2" fmla="*/ 32 w 283"/>
                      <a:gd name="T3" fmla="*/ 116 h 260"/>
                      <a:gd name="T4" fmla="*/ 13 w 283"/>
                      <a:gd name="T5" fmla="*/ 25 h 260"/>
                      <a:gd name="T6" fmla="*/ 45 w 283"/>
                      <a:gd name="T7" fmla="*/ 0 h 260"/>
                      <a:gd name="T8" fmla="*/ 174 w 283"/>
                      <a:gd name="T9" fmla="*/ 74 h 260"/>
                      <a:gd name="T10" fmla="*/ 283 w 283"/>
                      <a:gd name="T11" fmla="*/ 245 h 260"/>
                      <a:gd name="T12" fmla="*/ 135 w 283"/>
                      <a:gd name="T13" fmla="*/ 26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3" h="260">
                        <a:moveTo>
                          <a:pt x="135" y="260"/>
                        </a:moveTo>
                        <a:cubicBezTo>
                          <a:pt x="135" y="260"/>
                          <a:pt x="85" y="180"/>
                          <a:pt x="32" y="116"/>
                        </a:cubicBezTo>
                        <a:cubicBezTo>
                          <a:pt x="0" y="76"/>
                          <a:pt x="13" y="25"/>
                          <a:pt x="13" y="25"/>
                        </a:cubicBezTo>
                        <a:cubicBezTo>
                          <a:pt x="13" y="25"/>
                          <a:pt x="30" y="1"/>
                          <a:pt x="45" y="0"/>
                        </a:cubicBezTo>
                        <a:cubicBezTo>
                          <a:pt x="71" y="7"/>
                          <a:pt x="133" y="22"/>
                          <a:pt x="174" y="74"/>
                        </a:cubicBezTo>
                        <a:cubicBezTo>
                          <a:pt x="232" y="148"/>
                          <a:pt x="283" y="245"/>
                          <a:pt x="283" y="245"/>
                        </a:cubicBezTo>
                        <a:cubicBezTo>
                          <a:pt x="135" y="260"/>
                          <a:pt x="135" y="260"/>
                          <a:pt x="135" y="260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" name="Freeform 241">
                    <a:extLst>
                      <a:ext uri="{FF2B5EF4-FFF2-40B4-BE49-F238E27FC236}">
                        <a16:creationId xmlns:a16="http://schemas.microsoft.com/office/drawing/2014/main" id="{8CEE267A-B913-2FB0-722F-A7DC7DD77D4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01350" y="911225"/>
                    <a:ext cx="23813" cy="30163"/>
                  </a:xfrm>
                  <a:custGeom>
                    <a:avLst/>
                    <a:gdLst>
                      <a:gd name="T0" fmla="*/ 0 w 13"/>
                      <a:gd name="T1" fmla="*/ 0 h 16"/>
                      <a:gd name="T2" fmla="*/ 13 w 13"/>
                      <a:gd name="T3" fmla="*/ 16 h 16"/>
                      <a:gd name="T4" fmla="*/ 6 w 13"/>
                      <a:gd name="T5" fmla="*/ 5 h 16"/>
                      <a:gd name="T6" fmla="*/ 0 w 13"/>
                      <a:gd name="T7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3" h="16">
                        <a:moveTo>
                          <a:pt x="0" y="0"/>
                        </a:moveTo>
                        <a:cubicBezTo>
                          <a:pt x="0" y="0"/>
                          <a:pt x="5" y="7"/>
                          <a:pt x="13" y="16"/>
                        </a:cubicBezTo>
                        <a:cubicBezTo>
                          <a:pt x="11" y="12"/>
                          <a:pt x="8" y="9"/>
                          <a:pt x="6" y="5"/>
                        </a:cubicBezTo>
                        <a:cubicBezTo>
                          <a:pt x="2" y="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" name="Freeform 242">
                    <a:extLst>
                      <a:ext uri="{FF2B5EF4-FFF2-40B4-BE49-F238E27FC236}">
                        <a16:creationId xmlns:a16="http://schemas.microsoft.com/office/drawing/2014/main" id="{4FD24397-CC01-939E-53FA-D467BC0B01E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2463" y="920750"/>
                    <a:ext cx="252413" cy="200025"/>
                  </a:xfrm>
                  <a:custGeom>
                    <a:avLst/>
                    <a:gdLst>
                      <a:gd name="T0" fmla="*/ 0 w 136"/>
                      <a:gd name="T1" fmla="*/ 0 h 108"/>
                      <a:gd name="T2" fmla="*/ 7 w 136"/>
                      <a:gd name="T3" fmla="*/ 11 h 108"/>
                      <a:gd name="T4" fmla="*/ 63 w 136"/>
                      <a:gd name="T5" fmla="*/ 48 h 108"/>
                      <a:gd name="T6" fmla="*/ 124 w 136"/>
                      <a:gd name="T7" fmla="*/ 107 h 108"/>
                      <a:gd name="T8" fmla="*/ 136 w 136"/>
                      <a:gd name="T9" fmla="*/ 108 h 108"/>
                      <a:gd name="T10" fmla="*/ 62 w 136"/>
                      <a:gd name="T11" fmla="*/ 43 h 108"/>
                      <a:gd name="T12" fmla="*/ 0 w 136"/>
                      <a:gd name="T13" fmla="*/ 0 h 1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36" h="108">
                        <a:moveTo>
                          <a:pt x="0" y="0"/>
                        </a:moveTo>
                        <a:cubicBezTo>
                          <a:pt x="2" y="4"/>
                          <a:pt x="5" y="7"/>
                          <a:pt x="7" y="11"/>
                        </a:cubicBezTo>
                        <a:cubicBezTo>
                          <a:pt x="20" y="24"/>
                          <a:pt x="40" y="41"/>
                          <a:pt x="63" y="48"/>
                        </a:cubicBezTo>
                        <a:cubicBezTo>
                          <a:pt x="97" y="58"/>
                          <a:pt x="124" y="107"/>
                          <a:pt x="124" y="107"/>
                        </a:cubicBezTo>
                        <a:cubicBezTo>
                          <a:pt x="136" y="108"/>
                          <a:pt x="136" y="108"/>
                          <a:pt x="136" y="108"/>
                        </a:cubicBezTo>
                        <a:cubicBezTo>
                          <a:pt x="136" y="108"/>
                          <a:pt x="100" y="63"/>
                          <a:pt x="62" y="43"/>
                        </a:cubicBezTo>
                        <a:cubicBezTo>
                          <a:pt x="33" y="29"/>
                          <a:pt x="10" y="1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" name="Freeform 243">
                    <a:extLst>
                      <a:ext uri="{FF2B5EF4-FFF2-40B4-BE49-F238E27FC236}">
                        <a16:creationId xmlns:a16="http://schemas.microsoft.com/office/drawing/2014/main" id="{2A02931E-35A3-58DA-8A7B-A7C7A5BBB69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9438" y="730250"/>
                    <a:ext cx="211138" cy="368300"/>
                  </a:xfrm>
                  <a:custGeom>
                    <a:avLst/>
                    <a:gdLst>
                      <a:gd name="T0" fmla="*/ 5 w 114"/>
                      <a:gd name="T1" fmla="*/ 0 h 199"/>
                      <a:gd name="T2" fmla="*/ 2 w 114"/>
                      <a:gd name="T3" fmla="*/ 9 h 199"/>
                      <a:gd name="T4" fmla="*/ 8 w 114"/>
                      <a:gd name="T5" fmla="*/ 18 h 199"/>
                      <a:gd name="T6" fmla="*/ 17 w 114"/>
                      <a:gd name="T7" fmla="*/ 94 h 199"/>
                      <a:gd name="T8" fmla="*/ 83 w 114"/>
                      <a:gd name="T9" fmla="*/ 194 h 199"/>
                      <a:gd name="T10" fmla="*/ 114 w 114"/>
                      <a:gd name="T11" fmla="*/ 199 h 199"/>
                      <a:gd name="T12" fmla="*/ 111 w 114"/>
                      <a:gd name="T13" fmla="*/ 166 h 199"/>
                      <a:gd name="T14" fmla="*/ 33 w 114"/>
                      <a:gd name="T15" fmla="*/ 84 h 199"/>
                      <a:gd name="T16" fmla="*/ 14 w 114"/>
                      <a:gd name="T17" fmla="*/ 17 h 199"/>
                      <a:gd name="T18" fmla="*/ 17 w 114"/>
                      <a:gd name="T19" fmla="*/ 7 h 199"/>
                      <a:gd name="T20" fmla="*/ 5 w 114"/>
                      <a:gd name="T21" fmla="*/ 0 h 1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14" h="199">
                        <a:moveTo>
                          <a:pt x="5" y="0"/>
                        </a:moveTo>
                        <a:cubicBezTo>
                          <a:pt x="5" y="0"/>
                          <a:pt x="2" y="4"/>
                          <a:pt x="2" y="9"/>
                        </a:cubicBezTo>
                        <a:cubicBezTo>
                          <a:pt x="3" y="14"/>
                          <a:pt x="8" y="18"/>
                          <a:pt x="8" y="18"/>
                        </a:cubicBezTo>
                        <a:cubicBezTo>
                          <a:pt x="8" y="18"/>
                          <a:pt x="0" y="55"/>
                          <a:pt x="17" y="94"/>
                        </a:cubicBezTo>
                        <a:cubicBezTo>
                          <a:pt x="43" y="154"/>
                          <a:pt x="83" y="194"/>
                          <a:pt x="83" y="194"/>
                        </a:cubicBezTo>
                        <a:cubicBezTo>
                          <a:pt x="114" y="199"/>
                          <a:pt x="114" y="199"/>
                          <a:pt x="114" y="199"/>
                        </a:cubicBezTo>
                        <a:cubicBezTo>
                          <a:pt x="111" y="166"/>
                          <a:pt x="111" y="166"/>
                          <a:pt x="111" y="166"/>
                        </a:cubicBezTo>
                        <a:cubicBezTo>
                          <a:pt x="111" y="166"/>
                          <a:pt x="65" y="139"/>
                          <a:pt x="33" y="84"/>
                        </a:cubicBezTo>
                        <a:cubicBezTo>
                          <a:pt x="11" y="46"/>
                          <a:pt x="14" y="17"/>
                          <a:pt x="14" y="17"/>
                        </a:cubicBezTo>
                        <a:cubicBezTo>
                          <a:pt x="14" y="17"/>
                          <a:pt x="15" y="12"/>
                          <a:pt x="17" y="7"/>
                        </a:cubicBezTo>
                        <a:cubicBezTo>
                          <a:pt x="9" y="4"/>
                          <a:pt x="5" y="0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" name="Freeform 244">
                    <a:extLst>
                      <a:ext uri="{FF2B5EF4-FFF2-40B4-BE49-F238E27FC236}">
                        <a16:creationId xmlns:a16="http://schemas.microsoft.com/office/drawing/2014/main" id="{5B439DBA-81F7-81F1-5634-E902B4EF0EF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80700" y="617538"/>
                    <a:ext cx="131763" cy="107950"/>
                  </a:xfrm>
                  <a:custGeom>
                    <a:avLst/>
                    <a:gdLst>
                      <a:gd name="T0" fmla="*/ 70 w 71"/>
                      <a:gd name="T1" fmla="*/ 28 h 59"/>
                      <a:gd name="T2" fmla="*/ 71 w 71"/>
                      <a:gd name="T3" fmla="*/ 24 h 59"/>
                      <a:gd name="T4" fmla="*/ 62 w 71"/>
                      <a:gd name="T5" fmla="*/ 0 h 59"/>
                      <a:gd name="T6" fmla="*/ 42 w 71"/>
                      <a:gd name="T7" fmla="*/ 17 h 59"/>
                      <a:gd name="T8" fmla="*/ 21 w 71"/>
                      <a:gd name="T9" fmla="*/ 23 h 59"/>
                      <a:gd name="T10" fmla="*/ 0 w 71"/>
                      <a:gd name="T11" fmla="*/ 11 h 59"/>
                      <a:gd name="T12" fmla="*/ 36 w 71"/>
                      <a:gd name="T13" fmla="*/ 59 h 59"/>
                      <a:gd name="T14" fmla="*/ 70 w 71"/>
                      <a:gd name="T15" fmla="*/ 28 h 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1" h="59">
                        <a:moveTo>
                          <a:pt x="70" y="28"/>
                        </a:moveTo>
                        <a:cubicBezTo>
                          <a:pt x="69" y="26"/>
                          <a:pt x="71" y="24"/>
                          <a:pt x="71" y="24"/>
                        </a:cubicBezTo>
                        <a:cubicBezTo>
                          <a:pt x="62" y="0"/>
                          <a:pt x="62" y="0"/>
                          <a:pt x="62" y="0"/>
                        </a:cubicBezTo>
                        <a:cubicBezTo>
                          <a:pt x="62" y="0"/>
                          <a:pt x="48" y="10"/>
                          <a:pt x="42" y="17"/>
                        </a:cubicBezTo>
                        <a:cubicBezTo>
                          <a:pt x="36" y="24"/>
                          <a:pt x="25" y="24"/>
                          <a:pt x="21" y="23"/>
                        </a:cubicBezTo>
                        <a:cubicBezTo>
                          <a:pt x="13" y="19"/>
                          <a:pt x="0" y="11"/>
                          <a:pt x="0" y="11"/>
                        </a:cubicBezTo>
                        <a:cubicBezTo>
                          <a:pt x="0" y="11"/>
                          <a:pt x="24" y="28"/>
                          <a:pt x="36" y="59"/>
                        </a:cubicBezTo>
                        <a:cubicBezTo>
                          <a:pt x="60" y="44"/>
                          <a:pt x="67" y="33"/>
                          <a:pt x="70" y="2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5" name="Freeform 245">
                    <a:extLst>
                      <a:ext uri="{FF2B5EF4-FFF2-40B4-BE49-F238E27FC236}">
                        <a16:creationId xmlns:a16="http://schemas.microsoft.com/office/drawing/2014/main" id="{5FF73F59-B609-D8B4-2428-1F659D6D537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9113" y="541338"/>
                    <a:ext cx="138113" cy="127000"/>
                  </a:xfrm>
                  <a:custGeom>
                    <a:avLst/>
                    <a:gdLst>
                      <a:gd name="T0" fmla="*/ 1 w 75"/>
                      <a:gd name="T1" fmla="*/ 52 h 69"/>
                      <a:gd name="T2" fmla="*/ 25 w 75"/>
                      <a:gd name="T3" fmla="*/ 65 h 69"/>
                      <a:gd name="T4" fmla="*/ 39 w 75"/>
                      <a:gd name="T5" fmla="*/ 62 h 69"/>
                      <a:gd name="T6" fmla="*/ 52 w 75"/>
                      <a:gd name="T7" fmla="*/ 51 h 69"/>
                      <a:gd name="T8" fmla="*/ 60 w 75"/>
                      <a:gd name="T9" fmla="*/ 50 h 69"/>
                      <a:gd name="T10" fmla="*/ 62 w 75"/>
                      <a:gd name="T11" fmla="*/ 39 h 69"/>
                      <a:gd name="T12" fmla="*/ 75 w 75"/>
                      <a:gd name="T13" fmla="*/ 12 h 69"/>
                      <a:gd name="T14" fmla="*/ 65 w 75"/>
                      <a:gd name="T15" fmla="*/ 1 h 69"/>
                      <a:gd name="T16" fmla="*/ 50 w 75"/>
                      <a:gd name="T17" fmla="*/ 0 h 69"/>
                      <a:gd name="T18" fmla="*/ 12 w 75"/>
                      <a:gd name="T19" fmla="*/ 20 h 69"/>
                      <a:gd name="T20" fmla="*/ 13 w 75"/>
                      <a:gd name="T21" fmla="*/ 23 h 69"/>
                      <a:gd name="T22" fmla="*/ 18 w 75"/>
                      <a:gd name="T23" fmla="*/ 27 h 69"/>
                      <a:gd name="T24" fmla="*/ 1 w 75"/>
                      <a:gd name="T25" fmla="*/ 51 h 69"/>
                      <a:gd name="T26" fmla="*/ 1 w 75"/>
                      <a:gd name="T27" fmla="*/ 52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75" h="69">
                        <a:moveTo>
                          <a:pt x="1" y="52"/>
                        </a:moveTo>
                        <a:cubicBezTo>
                          <a:pt x="7" y="56"/>
                          <a:pt x="19" y="63"/>
                          <a:pt x="25" y="65"/>
                        </a:cubicBezTo>
                        <a:cubicBezTo>
                          <a:pt x="33" y="69"/>
                          <a:pt x="39" y="62"/>
                          <a:pt x="39" y="62"/>
                        </a:cubicBezTo>
                        <a:cubicBezTo>
                          <a:pt x="52" y="51"/>
                          <a:pt x="52" y="51"/>
                          <a:pt x="52" y="51"/>
                        </a:cubicBezTo>
                        <a:cubicBezTo>
                          <a:pt x="52" y="51"/>
                          <a:pt x="56" y="51"/>
                          <a:pt x="60" y="50"/>
                        </a:cubicBezTo>
                        <a:cubicBezTo>
                          <a:pt x="62" y="49"/>
                          <a:pt x="66" y="45"/>
                          <a:pt x="62" y="39"/>
                        </a:cubicBezTo>
                        <a:cubicBezTo>
                          <a:pt x="54" y="30"/>
                          <a:pt x="75" y="12"/>
                          <a:pt x="75" y="12"/>
                        </a:cubicBezTo>
                        <a:cubicBezTo>
                          <a:pt x="65" y="1"/>
                          <a:pt x="65" y="1"/>
                          <a:pt x="65" y="1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12" y="20"/>
                          <a:pt x="12" y="20"/>
                          <a:pt x="12" y="20"/>
                        </a:cubicBezTo>
                        <a:cubicBezTo>
                          <a:pt x="12" y="20"/>
                          <a:pt x="11" y="22"/>
                          <a:pt x="13" y="23"/>
                        </a:cubicBezTo>
                        <a:cubicBezTo>
                          <a:pt x="15" y="25"/>
                          <a:pt x="18" y="27"/>
                          <a:pt x="18" y="27"/>
                        </a:cubicBezTo>
                        <a:cubicBezTo>
                          <a:pt x="18" y="27"/>
                          <a:pt x="2" y="50"/>
                          <a:pt x="1" y="51"/>
                        </a:cubicBezTo>
                        <a:cubicBezTo>
                          <a:pt x="0" y="52"/>
                          <a:pt x="1" y="52"/>
                          <a:pt x="1" y="52"/>
                        </a:cubicBezTo>
                        <a:close/>
                      </a:path>
                    </a:pathLst>
                  </a:custGeom>
                  <a:solidFill>
                    <a:srgbClr val="E9F6F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" name="Freeform 246">
                    <a:extLst>
                      <a:ext uri="{FF2B5EF4-FFF2-40B4-BE49-F238E27FC236}">
                        <a16:creationId xmlns:a16="http://schemas.microsoft.com/office/drawing/2014/main" id="{B36F2F0C-8938-BB95-A50D-910CF9B3035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6263" y="563563"/>
                    <a:ext cx="19050" cy="22225"/>
                  </a:xfrm>
                  <a:custGeom>
                    <a:avLst/>
                    <a:gdLst>
                      <a:gd name="T0" fmla="*/ 1 w 10"/>
                      <a:gd name="T1" fmla="*/ 4 h 12"/>
                      <a:gd name="T2" fmla="*/ 2 w 10"/>
                      <a:gd name="T3" fmla="*/ 7 h 12"/>
                      <a:gd name="T4" fmla="*/ 9 w 10"/>
                      <a:gd name="T5" fmla="*/ 11 h 12"/>
                      <a:gd name="T6" fmla="*/ 4 w 10"/>
                      <a:gd name="T7" fmla="*/ 2 h 12"/>
                      <a:gd name="T8" fmla="*/ 1 w 10"/>
                      <a:gd name="T9" fmla="*/ 4 h 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" h="12">
                        <a:moveTo>
                          <a:pt x="1" y="4"/>
                        </a:moveTo>
                        <a:cubicBezTo>
                          <a:pt x="0" y="6"/>
                          <a:pt x="1" y="6"/>
                          <a:pt x="2" y="7"/>
                        </a:cubicBezTo>
                        <a:cubicBezTo>
                          <a:pt x="4" y="8"/>
                          <a:pt x="10" y="12"/>
                          <a:pt x="9" y="11"/>
                        </a:cubicBezTo>
                        <a:cubicBezTo>
                          <a:pt x="9" y="10"/>
                          <a:pt x="7" y="7"/>
                          <a:pt x="4" y="2"/>
                        </a:cubicBezTo>
                        <a:cubicBezTo>
                          <a:pt x="3" y="0"/>
                          <a:pt x="2" y="2"/>
                          <a:pt x="1" y="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7" name="Freeform 247">
                    <a:extLst>
                      <a:ext uri="{FF2B5EF4-FFF2-40B4-BE49-F238E27FC236}">
                        <a16:creationId xmlns:a16="http://schemas.microsoft.com/office/drawing/2014/main" id="{96B31063-1291-E003-48D0-FE4F043BE1C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514350"/>
                    <a:ext cx="103188" cy="147638"/>
                  </a:xfrm>
                  <a:custGeom>
                    <a:avLst/>
                    <a:gdLst>
                      <a:gd name="T0" fmla="*/ 56 w 56"/>
                      <a:gd name="T1" fmla="*/ 44 h 79"/>
                      <a:gd name="T2" fmla="*/ 15 w 56"/>
                      <a:gd name="T3" fmla="*/ 6 h 79"/>
                      <a:gd name="T4" fmla="*/ 12 w 56"/>
                      <a:gd name="T5" fmla="*/ 14 h 79"/>
                      <a:gd name="T6" fmla="*/ 26 w 56"/>
                      <a:gd name="T7" fmla="*/ 30 h 79"/>
                      <a:gd name="T8" fmla="*/ 8 w 56"/>
                      <a:gd name="T9" fmla="*/ 55 h 79"/>
                      <a:gd name="T10" fmla="*/ 25 w 56"/>
                      <a:gd name="T11" fmla="*/ 55 h 79"/>
                      <a:gd name="T12" fmla="*/ 34 w 56"/>
                      <a:gd name="T13" fmla="*/ 79 h 79"/>
                      <a:gd name="T14" fmla="*/ 56 w 56"/>
                      <a:gd name="T15" fmla="*/ 44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6" h="79">
                        <a:moveTo>
                          <a:pt x="56" y="44"/>
                        </a:moveTo>
                        <a:cubicBezTo>
                          <a:pt x="35" y="8"/>
                          <a:pt x="23" y="0"/>
                          <a:pt x="15" y="6"/>
                        </a:cubicBezTo>
                        <a:cubicBezTo>
                          <a:pt x="13" y="7"/>
                          <a:pt x="11" y="11"/>
                          <a:pt x="12" y="14"/>
                        </a:cubicBezTo>
                        <a:cubicBezTo>
                          <a:pt x="23" y="19"/>
                          <a:pt x="33" y="25"/>
                          <a:pt x="26" y="30"/>
                        </a:cubicBezTo>
                        <a:cubicBezTo>
                          <a:pt x="24" y="32"/>
                          <a:pt x="0" y="50"/>
                          <a:pt x="8" y="55"/>
                        </a:cubicBezTo>
                        <a:cubicBezTo>
                          <a:pt x="12" y="53"/>
                          <a:pt x="21" y="48"/>
                          <a:pt x="25" y="55"/>
                        </a:cubicBezTo>
                        <a:cubicBezTo>
                          <a:pt x="28" y="60"/>
                          <a:pt x="19" y="66"/>
                          <a:pt x="34" y="79"/>
                        </a:cubicBezTo>
                        <a:cubicBezTo>
                          <a:pt x="43" y="66"/>
                          <a:pt x="55" y="51"/>
                          <a:pt x="56" y="4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8" name="Freeform 248">
                    <a:extLst>
                      <a:ext uri="{FF2B5EF4-FFF2-40B4-BE49-F238E27FC236}">
                        <a16:creationId xmlns:a16="http://schemas.microsoft.com/office/drawing/2014/main" id="{613EC3B2-BA7D-E247-1956-2D3965EDCF5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87038" y="1652588"/>
                    <a:ext cx="85725" cy="28575"/>
                  </a:xfrm>
                  <a:custGeom>
                    <a:avLst/>
                    <a:gdLst>
                      <a:gd name="T0" fmla="*/ 46 w 46"/>
                      <a:gd name="T1" fmla="*/ 0 h 16"/>
                      <a:gd name="T2" fmla="*/ 46 w 46"/>
                      <a:gd name="T3" fmla="*/ 15 h 16"/>
                      <a:gd name="T4" fmla="*/ 33 w 46"/>
                      <a:gd name="T5" fmla="*/ 15 h 16"/>
                      <a:gd name="T6" fmla="*/ 32 w 46"/>
                      <a:gd name="T7" fmla="*/ 10 h 16"/>
                      <a:gd name="T8" fmla="*/ 14 w 46"/>
                      <a:gd name="T9" fmla="*/ 16 h 16"/>
                      <a:gd name="T10" fmla="*/ 2 w 46"/>
                      <a:gd name="T11" fmla="*/ 15 h 16"/>
                      <a:gd name="T12" fmla="*/ 3 w 46"/>
                      <a:gd name="T13" fmla="*/ 11 h 16"/>
                      <a:gd name="T14" fmla="*/ 15 w 46"/>
                      <a:gd name="T15" fmla="*/ 7 h 16"/>
                      <a:gd name="T16" fmla="*/ 28 w 46"/>
                      <a:gd name="T17" fmla="*/ 0 h 16"/>
                      <a:gd name="T18" fmla="*/ 46 w 46"/>
                      <a:gd name="T19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6" h="16">
                        <a:moveTo>
                          <a:pt x="46" y="0"/>
                        </a:moveTo>
                        <a:cubicBezTo>
                          <a:pt x="46" y="15"/>
                          <a:pt x="46" y="15"/>
                          <a:pt x="46" y="15"/>
                        </a:cubicBezTo>
                        <a:cubicBezTo>
                          <a:pt x="33" y="15"/>
                          <a:pt x="33" y="15"/>
                          <a:pt x="33" y="15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14" y="16"/>
                          <a:pt x="14" y="16"/>
                          <a:pt x="14" y="16"/>
                        </a:cubicBezTo>
                        <a:cubicBezTo>
                          <a:pt x="2" y="15"/>
                          <a:pt x="2" y="15"/>
                          <a:pt x="2" y="15"/>
                        </a:cubicBezTo>
                        <a:cubicBezTo>
                          <a:pt x="2" y="15"/>
                          <a:pt x="0" y="12"/>
                          <a:pt x="3" y="11"/>
                        </a:cubicBezTo>
                        <a:cubicBezTo>
                          <a:pt x="4" y="11"/>
                          <a:pt x="15" y="7"/>
                          <a:pt x="15" y="7"/>
                        </a:cubicBezTo>
                        <a:cubicBezTo>
                          <a:pt x="28" y="0"/>
                          <a:pt x="28" y="0"/>
                          <a:pt x="28" y="0"/>
                        </a:cubicBez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9" name="Freeform 249">
                    <a:extLst>
                      <a:ext uri="{FF2B5EF4-FFF2-40B4-BE49-F238E27FC236}">
                        <a16:creationId xmlns:a16="http://schemas.microsoft.com/office/drawing/2014/main" id="{463042FE-7F91-9208-1FA8-A41223E907E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31488" y="1119188"/>
                    <a:ext cx="693738" cy="533400"/>
                  </a:xfrm>
                  <a:custGeom>
                    <a:avLst/>
                    <a:gdLst>
                      <a:gd name="T0" fmla="*/ 0 w 374"/>
                      <a:gd name="T1" fmla="*/ 285 h 288"/>
                      <a:gd name="T2" fmla="*/ 1 w 374"/>
                      <a:gd name="T3" fmla="*/ 52 h 288"/>
                      <a:gd name="T4" fmla="*/ 50 w 374"/>
                      <a:gd name="T5" fmla="*/ 0 h 288"/>
                      <a:gd name="T6" fmla="*/ 330 w 374"/>
                      <a:gd name="T7" fmla="*/ 1 h 288"/>
                      <a:gd name="T8" fmla="*/ 207 w 374"/>
                      <a:gd name="T9" fmla="*/ 81 h 288"/>
                      <a:gd name="T10" fmla="*/ 56 w 374"/>
                      <a:gd name="T11" fmla="*/ 59 h 288"/>
                      <a:gd name="T12" fmla="*/ 22 w 374"/>
                      <a:gd name="T13" fmla="*/ 288 h 288"/>
                      <a:gd name="T14" fmla="*/ 0 w 374"/>
                      <a:gd name="T15" fmla="*/ 285 h 2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74" h="288">
                        <a:moveTo>
                          <a:pt x="0" y="285"/>
                        </a:moveTo>
                        <a:cubicBezTo>
                          <a:pt x="1" y="52"/>
                          <a:pt x="1" y="52"/>
                          <a:pt x="1" y="52"/>
                        </a:cubicBezTo>
                        <a:cubicBezTo>
                          <a:pt x="0" y="11"/>
                          <a:pt x="39" y="0"/>
                          <a:pt x="50" y="0"/>
                        </a:cubicBezTo>
                        <a:cubicBezTo>
                          <a:pt x="61" y="0"/>
                          <a:pt x="330" y="1"/>
                          <a:pt x="330" y="1"/>
                        </a:cubicBezTo>
                        <a:cubicBezTo>
                          <a:pt x="330" y="1"/>
                          <a:pt x="374" y="98"/>
                          <a:pt x="207" y="81"/>
                        </a:cubicBezTo>
                        <a:cubicBezTo>
                          <a:pt x="166" y="77"/>
                          <a:pt x="165" y="71"/>
                          <a:pt x="56" y="59"/>
                        </a:cubicBezTo>
                        <a:cubicBezTo>
                          <a:pt x="72" y="103"/>
                          <a:pt x="22" y="288"/>
                          <a:pt x="22" y="288"/>
                        </a:cubicBezTo>
                        <a:lnTo>
                          <a:pt x="0" y="28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0" name="Freeform 250">
                    <a:extLst>
                      <a:ext uri="{FF2B5EF4-FFF2-40B4-BE49-F238E27FC236}">
                        <a16:creationId xmlns:a16="http://schemas.microsoft.com/office/drawing/2014/main" id="{F9A6022D-B8C8-2EF4-4678-41170E88541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668338"/>
                    <a:ext cx="65088" cy="76200"/>
                  </a:xfrm>
                  <a:custGeom>
                    <a:avLst/>
                    <a:gdLst>
                      <a:gd name="T0" fmla="*/ 33 w 35"/>
                      <a:gd name="T1" fmla="*/ 0 h 41"/>
                      <a:gd name="T2" fmla="*/ 35 w 35"/>
                      <a:gd name="T3" fmla="*/ 1 h 41"/>
                      <a:gd name="T4" fmla="*/ 21 w 35"/>
                      <a:gd name="T5" fmla="*/ 41 h 41"/>
                      <a:gd name="T6" fmla="*/ 0 w 35"/>
                      <a:gd name="T7" fmla="*/ 31 h 41"/>
                      <a:gd name="T8" fmla="*/ 33 w 35"/>
                      <a:gd name="T9" fmla="*/ 0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5" h="41">
                        <a:moveTo>
                          <a:pt x="33" y="0"/>
                        </a:moveTo>
                        <a:cubicBezTo>
                          <a:pt x="35" y="1"/>
                          <a:pt x="35" y="1"/>
                          <a:pt x="35" y="1"/>
                        </a:cubicBezTo>
                        <a:cubicBezTo>
                          <a:pt x="21" y="41"/>
                          <a:pt x="21" y="41"/>
                          <a:pt x="21" y="41"/>
                        </a:cubicBezTo>
                        <a:cubicBezTo>
                          <a:pt x="21" y="41"/>
                          <a:pt x="11" y="41"/>
                          <a:pt x="0" y="31"/>
                        </a:cubicBezTo>
                        <a:cubicBezTo>
                          <a:pt x="28" y="12"/>
                          <a:pt x="33" y="0"/>
                          <a:pt x="33" y="0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1" name="Freeform 251">
                    <a:extLst>
                      <a:ext uri="{FF2B5EF4-FFF2-40B4-BE49-F238E27FC236}">
                        <a16:creationId xmlns:a16="http://schemas.microsoft.com/office/drawing/2014/main" id="{A21F6C69-C265-8F2C-F741-AD6F323E074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8813" y="673100"/>
                    <a:ext cx="574675" cy="481013"/>
                  </a:xfrm>
                  <a:custGeom>
                    <a:avLst/>
                    <a:gdLst>
                      <a:gd name="T0" fmla="*/ 0 w 310"/>
                      <a:gd name="T1" fmla="*/ 0 h 260"/>
                      <a:gd name="T2" fmla="*/ 134 w 310"/>
                      <a:gd name="T3" fmla="*/ 182 h 260"/>
                      <a:gd name="T4" fmla="*/ 274 w 310"/>
                      <a:gd name="T5" fmla="*/ 260 h 260"/>
                      <a:gd name="T6" fmla="*/ 194 w 310"/>
                      <a:gd name="T7" fmla="*/ 161 h 260"/>
                      <a:gd name="T8" fmla="*/ 0 w 310"/>
                      <a:gd name="T9" fmla="*/ 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10" h="260">
                        <a:moveTo>
                          <a:pt x="0" y="0"/>
                        </a:moveTo>
                        <a:cubicBezTo>
                          <a:pt x="0" y="0"/>
                          <a:pt x="14" y="153"/>
                          <a:pt x="134" y="182"/>
                        </a:cubicBezTo>
                        <a:cubicBezTo>
                          <a:pt x="250" y="210"/>
                          <a:pt x="274" y="260"/>
                          <a:pt x="274" y="260"/>
                        </a:cubicBezTo>
                        <a:cubicBezTo>
                          <a:pt x="274" y="260"/>
                          <a:pt x="310" y="203"/>
                          <a:pt x="194" y="161"/>
                        </a:cubicBezTo>
                        <a:cubicBezTo>
                          <a:pt x="77" y="118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2" name="Freeform 252">
                    <a:extLst>
                      <a:ext uri="{FF2B5EF4-FFF2-40B4-BE49-F238E27FC236}">
                        <a16:creationId xmlns:a16="http://schemas.microsoft.com/office/drawing/2014/main" id="{092A2D09-A661-F395-07D4-414D57D1424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93413" y="666750"/>
                    <a:ext cx="369888" cy="306388"/>
                  </a:xfrm>
                  <a:custGeom>
                    <a:avLst/>
                    <a:gdLst>
                      <a:gd name="T0" fmla="*/ 199 w 199"/>
                      <a:gd name="T1" fmla="*/ 165 h 165"/>
                      <a:gd name="T2" fmla="*/ 108 w 199"/>
                      <a:gd name="T3" fmla="*/ 43 h 165"/>
                      <a:gd name="T4" fmla="*/ 9 w 199"/>
                      <a:gd name="T5" fmla="*/ 0 h 165"/>
                      <a:gd name="T6" fmla="*/ 75 w 199"/>
                      <a:gd name="T7" fmla="*/ 119 h 165"/>
                      <a:gd name="T8" fmla="*/ 199 w 199"/>
                      <a:gd name="T9" fmla="*/ 165 h 1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99" h="165">
                        <a:moveTo>
                          <a:pt x="199" y="165"/>
                        </a:moveTo>
                        <a:cubicBezTo>
                          <a:pt x="199" y="165"/>
                          <a:pt x="134" y="65"/>
                          <a:pt x="108" y="43"/>
                        </a:cubicBezTo>
                        <a:cubicBezTo>
                          <a:pt x="82" y="21"/>
                          <a:pt x="9" y="0"/>
                          <a:pt x="9" y="0"/>
                        </a:cubicBezTo>
                        <a:cubicBezTo>
                          <a:pt x="9" y="0"/>
                          <a:pt x="0" y="87"/>
                          <a:pt x="75" y="119"/>
                        </a:cubicBezTo>
                        <a:cubicBezTo>
                          <a:pt x="150" y="151"/>
                          <a:pt x="199" y="165"/>
                          <a:pt x="199" y="165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3" name="Freeform 253">
                    <a:extLst>
                      <a:ext uri="{FF2B5EF4-FFF2-40B4-BE49-F238E27FC236}">
                        <a16:creationId xmlns:a16="http://schemas.microsoft.com/office/drawing/2014/main" id="{DBF650C4-D20B-5E1D-4CD2-E3AB285CC39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91763" y="669925"/>
                    <a:ext cx="630238" cy="344488"/>
                  </a:xfrm>
                  <a:custGeom>
                    <a:avLst/>
                    <a:gdLst>
                      <a:gd name="T0" fmla="*/ 337 w 340"/>
                      <a:gd name="T1" fmla="*/ 78 h 186"/>
                      <a:gd name="T2" fmla="*/ 196 w 340"/>
                      <a:gd name="T3" fmla="*/ 184 h 186"/>
                      <a:gd name="T4" fmla="*/ 2 w 340"/>
                      <a:gd name="T5" fmla="*/ 166 h 186"/>
                      <a:gd name="T6" fmla="*/ 0 w 340"/>
                      <a:gd name="T7" fmla="*/ 151 h 186"/>
                      <a:gd name="T8" fmla="*/ 189 w 340"/>
                      <a:gd name="T9" fmla="*/ 144 h 186"/>
                      <a:gd name="T10" fmla="*/ 266 w 340"/>
                      <a:gd name="T11" fmla="*/ 49 h 186"/>
                      <a:gd name="T12" fmla="*/ 337 w 340"/>
                      <a:gd name="T13" fmla="*/ 78 h 1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0" h="186">
                        <a:moveTo>
                          <a:pt x="337" y="78"/>
                        </a:moveTo>
                        <a:cubicBezTo>
                          <a:pt x="301" y="123"/>
                          <a:pt x="230" y="173"/>
                          <a:pt x="196" y="184"/>
                        </a:cubicBezTo>
                        <a:cubicBezTo>
                          <a:pt x="125" y="186"/>
                          <a:pt x="2" y="166"/>
                          <a:pt x="2" y="166"/>
                        </a:cubicBezTo>
                        <a:cubicBezTo>
                          <a:pt x="2" y="166"/>
                          <a:pt x="0" y="159"/>
                          <a:pt x="0" y="151"/>
                        </a:cubicBezTo>
                        <a:cubicBezTo>
                          <a:pt x="52" y="147"/>
                          <a:pt x="159" y="142"/>
                          <a:pt x="189" y="144"/>
                        </a:cubicBezTo>
                        <a:cubicBezTo>
                          <a:pt x="223" y="116"/>
                          <a:pt x="255" y="98"/>
                          <a:pt x="266" y="49"/>
                        </a:cubicBezTo>
                        <a:cubicBezTo>
                          <a:pt x="278" y="0"/>
                          <a:pt x="340" y="16"/>
                          <a:pt x="337" y="78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4" name="Freeform 255">
                    <a:extLst>
                      <a:ext uri="{FF2B5EF4-FFF2-40B4-BE49-F238E27FC236}">
                        <a16:creationId xmlns:a16="http://schemas.microsoft.com/office/drawing/2014/main" id="{B9510100-101E-3DCA-21C5-10BFC6B2505B}"/>
                      </a:ext>
                    </a:extLst>
                  </p:cNvPr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10396538" y="666750"/>
                    <a:ext cx="66675" cy="95250"/>
                  </a:xfrm>
                  <a:custGeom>
                    <a:avLst/>
                    <a:gdLst>
                      <a:gd name="T0" fmla="*/ 34 w 36"/>
                      <a:gd name="T1" fmla="*/ 42 h 51"/>
                      <a:gd name="T2" fmla="*/ 30 w 36"/>
                      <a:gd name="T3" fmla="*/ 30 h 51"/>
                      <a:gd name="T4" fmla="*/ 29 w 36"/>
                      <a:gd name="T5" fmla="*/ 20 h 51"/>
                      <a:gd name="T6" fmla="*/ 34 w 36"/>
                      <a:gd name="T7" fmla="*/ 11 h 51"/>
                      <a:gd name="T8" fmla="*/ 30 w 36"/>
                      <a:gd name="T9" fmla="*/ 6 h 51"/>
                      <a:gd name="T10" fmla="*/ 32 w 36"/>
                      <a:gd name="T11" fmla="*/ 1 h 51"/>
                      <a:gd name="T12" fmla="*/ 27 w 36"/>
                      <a:gd name="T13" fmla="*/ 3 h 51"/>
                      <a:gd name="T14" fmla="*/ 19 w 36"/>
                      <a:gd name="T15" fmla="*/ 16 h 51"/>
                      <a:gd name="T16" fmla="*/ 16 w 36"/>
                      <a:gd name="T17" fmla="*/ 31 h 51"/>
                      <a:gd name="T18" fmla="*/ 8 w 36"/>
                      <a:gd name="T19" fmla="*/ 30 h 51"/>
                      <a:gd name="T20" fmla="*/ 0 w 36"/>
                      <a:gd name="T21" fmla="*/ 31 h 51"/>
                      <a:gd name="T22" fmla="*/ 21 w 36"/>
                      <a:gd name="T23" fmla="*/ 46 h 51"/>
                      <a:gd name="T24" fmla="*/ 28 w 36"/>
                      <a:gd name="T25" fmla="*/ 51 h 51"/>
                      <a:gd name="T26" fmla="*/ 36 w 36"/>
                      <a:gd name="T27" fmla="*/ 44 h 51"/>
                      <a:gd name="T28" fmla="*/ 34 w 36"/>
                      <a:gd name="T29" fmla="*/ 42 h 51"/>
                      <a:gd name="T30" fmla="*/ 29 w 36"/>
                      <a:gd name="T31" fmla="*/ 9 h 51"/>
                      <a:gd name="T32" fmla="*/ 31 w 36"/>
                      <a:gd name="T33" fmla="*/ 12 h 51"/>
                      <a:gd name="T34" fmla="*/ 29 w 36"/>
                      <a:gd name="T35" fmla="*/ 14 h 51"/>
                      <a:gd name="T36" fmla="*/ 29 w 36"/>
                      <a:gd name="T37" fmla="*/ 9 h 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36" h="51">
                        <a:moveTo>
                          <a:pt x="34" y="42"/>
                        </a:moveTo>
                        <a:cubicBezTo>
                          <a:pt x="34" y="42"/>
                          <a:pt x="31" y="36"/>
                          <a:pt x="30" y="30"/>
                        </a:cubicBezTo>
                        <a:cubicBezTo>
                          <a:pt x="29" y="25"/>
                          <a:pt x="29" y="20"/>
                          <a:pt x="29" y="20"/>
                        </a:cubicBezTo>
                        <a:cubicBezTo>
                          <a:pt x="29" y="20"/>
                          <a:pt x="36" y="13"/>
                          <a:pt x="34" y="11"/>
                        </a:cubicBezTo>
                        <a:cubicBezTo>
                          <a:pt x="33" y="9"/>
                          <a:pt x="30" y="6"/>
                          <a:pt x="30" y="6"/>
                        </a:cubicBezTo>
                        <a:cubicBezTo>
                          <a:pt x="30" y="6"/>
                          <a:pt x="33" y="1"/>
                          <a:pt x="32" y="1"/>
                        </a:cubicBezTo>
                        <a:cubicBezTo>
                          <a:pt x="32" y="1"/>
                          <a:pt x="29" y="0"/>
                          <a:pt x="27" y="3"/>
                        </a:cubicBezTo>
                        <a:cubicBezTo>
                          <a:pt x="26" y="4"/>
                          <a:pt x="21" y="12"/>
                          <a:pt x="19" y="16"/>
                        </a:cubicBezTo>
                        <a:cubicBezTo>
                          <a:pt x="17" y="20"/>
                          <a:pt x="16" y="31"/>
                          <a:pt x="16" y="31"/>
                        </a:cubicBezTo>
                        <a:cubicBezTo>
                          <a:pt x="16" y="31"/>
                          <a:pt x="11" y="32"/>
                          <a:pt x="8" y="30"/>
                        </a:cubicBezTo>
                        <a:cubicBezTo>
                          <a:pt x="5" y="28"/>
                          <a:pt x="0" y="31"/>
                          <a:pt x="0" y="31"/>
                        </a:cubicBezTo>
                        <a:cubicBezTo>
                          <a:pt x="0" y="31"/>
                          <a:pt x="8" y="35"/>
                          <a:pt x="21" y="46"/>
                        </a:cubicBezTo>
                        <a:cubicBezTo>
                          <a:pt x="23" y="48"/>
                          <a:pt x="28" y="51"/>
                          <a:pt x="28" y="51"/>
                        </a:cubicBezTo>
                        <a:cubicBezTo>
                          <a:pt x="36" y="44"/>
                          <a:pt x="36" y="44"/>
                          <a:pt x="36" y="44"/>
                        </a:cubicBezTo>
                        <a:lnTo>
                          <a:pt x="34" y="42"/>
                        </a:lnTo>
                        <a:close/>
                        <a:moveTo>
                          <a:pt x="29" y="9"/>
                        </a:moveTo>
                        <a:cubicBezTo>
                          <a:pt x="31" y="12"/>
                          <a:pt x="31" y="12"/>
                          <a:pt x="31" y="12"/>
                        </a:cubicBezTo>
                        <a:cubicBezTo>
                          <a:pt x="29" y="14"/>
                          <a:pt x="29" y="14"/>
                          <a:pt x="29" y="14"/>
                        </a:cubicBezTo>
                        <a:lnTo>
                          <a:pt x="29" y="9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0" name="Group 4">
                <a:extLst>
                  <a:ext uri="{FF2B5EF4-FFF2-40B4-BE49-F238E27FC236}">
                    <a16:creationId xmlns:a16="http://schemas.microsoft.com/office/drawing/2014/main" id="{84D0B68D-C098-EC3D-A485-2A071ADC2A31}"/>
                  </a:ext>
                </a:extLst>
              </p:cNvPr>
              <p:cNvGrpSpPr/>
              <p:nvPr/>
            </p:nvGrpSpPr>
            <p:grpSpPr>
              <a:xfrm>
                <a:off x="2494061" y="3997897"/>
                <a:ext cx="1127759" cy="1089959"/>
                <a:chOff x="2494061" y="3997897"/>
                <a:chExt cx="1127759" cy="1089959"/>
              </a:xfrm>
            </p:grpSpPr>
            <p:grpSp>
              <p:nvGrpSpPr>
                <p:cNvPr id="53" name="Group 1068">
                  <a:extLst>
                    <a:ext uri="{FF2B5EF4-FFF2-40B4-BE49-F238E27FC236}">
                      <a16:creationId xmlns:a16="http://schemas.microsoft.com/office/drawing/2014/main" id="{0E47C030-4B91-BD3D-8351-FFE92FFA496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2494061" y="3997897"/>
                  <a:ext cx="1127759" cy="815248"/>
                  <a:chOff x="10001250" y="2782888"/>
                  <a:chExt cx="1449388" cy="1047750"/>
                </a:xfrm>
              </p:grpSpPr>
              <p:sp>
                <p:nvSpPr>
                  <p:cNvPr id="55" name="Freeform 217">
                    <a:extLst>
                      <a:ext uri="{FF2B5EF4-FFF2-40B4-BE49-F238E27FC236}">
                        <a16:creationId xmlns:a16="http://schemas.microsoft.com/office/drawing/2014/main" id="{037E1940-35DE-CD5A-CD56-B934C114C87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5425" y="3303588"/>
                    <a:ext cx="728663" cy="525463"/>
                  </a:xfrm>
                  <a:custGeom>
                    <a:avLst/>
                    <a:gdLst>
                      <a:gd name="T0" fmla="*/ 3 w 393"/>
                      <a:gd name="T1" fmla="*/ 279 h 283"/>
                      <a:gd name="T2" fmla="*/ 12 w 393"/>
                      <a:gd name="T3" fmla="*/ 275 h 283"/>
                      <a:gd name="T4" fmla="*/ 25 w 393"/>
                      <a:gd name="T5" fmla="*/ 258 h 283"/>
                      <a:gd name="T6" fmla="*/ 22 w 393"/>
                      <a:gd name="T7" fmla="*/ 42 h 283"/>
                      <a:gd name="T8" fmla="*/ 22 w 393"/>
                      <a:gd name="T9" fmla="*/ 42 h 283"/>
                      <a:gd name="T10" fmla="*/ 61 w 393"/>
                      <a:gd name="T11" fmla="*/ 0 h 283"/>
                      <a:gd name="T12" fmla="*/ 319 w 393"/>
                      <a:gd name="T13" fmla="*/ 3 h 283"/>
                      <a:gd name="T14" fmla="*/ 236 w 393"/>
                      <a:gd name="T15" fmla="*/ 79 h 283"/>
                      <a:gd name="T16" fmla="*/ 65 w 393"/>
                      <a:gd name="T17" fmla="*/ 46 h 283"/>
                      <a:gd name="T18" fmla="*/ 37 w 393"/>
                      <a:gd name="T19" fmla="*/ 259 h 283"/>
                      <a:gd name="T20" fmla="*/ 37 w 393"/>
                      <a:gd name="T21" fmla="*/ 267 h 283"/>
                      <a:gd name="T22" fmla="*/ 34 w 393"/>
                      <a:gd name="T23" fmla="*/ 283 h 283"/>
                      <a:gd name="T24" fmla="*/ 29 w 393"/>
                      <a:gd name="T25" fmla="*/ 283 h 283"/>
                      <a:gd name="T26" fmla="*/ 28 w 393"/>
                      <a:gd name="T27" fmla="*/ 274 h 283"/>
                      <a:gd name="T28" fmla="*/ 15 w 393"/>
                      <a:gd name="T29" fmla="*/ 283 h 283"/>
                      <a:gd name="T30" fmla="*/ 2 w 393"/>
                      <a:gd name="T31" fmla="*/ 283 h 283"/>
                      <a:gd name="T32" fmla="*/ 3 w 393"/>
                      <a:gd name="T33" fmla="*/ 279 h 2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93" h="283">
                        <a:moveTo>
                          <a:pt x="3" y="279"/>
                        </a:moveTo>
                        <a:cubicBezTo>
                          <a:pt x="4" y="279"/>
                          <a:pt x="12" y="275"/>
                          <a:pt x="12" y="275"/>
                        </a:cubicBezTo>
                        <a:cubicBezTo>
                          <a:pt x="25" y="258"/>
                          <a:pt x="25" y="258"/>
                          <a:pt x="25" y="258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0" y="5"/>
                          <a:pt x="61" y="0"/>
                          <a:pt x="61" y="0"/>
                        </a:cubicBezTo>
                        <a:cubicBezTo>
                          <a:pt x="319" y="3"/>
                          <a:pt x="319" y="3"/>
                          <a:pt x="319" y="3"/>
                        </a:cubicBezTo>
                        <a:cubicBezTo>
                          <a:pt x="319" y="3"/>
                          <a:pt x="393" y="97"/>
                          <a:pt x="236" y="79"/>
                        </a:cubicBezTo>
                        <a:cubicBezTo>
                          <a:pt x="197" y="74"/>
                          <a:pt x="167" y="59"/>
                          <a:pt x="65" y="46"/>
                        </a:cubicBezTo>
                        <a:cubicBezTo>
                          <a:pt x="79" y="87"/>
                          <a:pt x="37" y="259"/>
                          <a:pt x="37" y="259"/>
                        </a:cubicBezTo>
                        <a:cubicBezTo>
                          <a:pt x="37" y="267"/>
                          <a:pt x="37" y="267"/>
                          <a:pt x="37" y="267"/>
                        </a:cubicBezTo>
                        <a:cubicBezTo>
                          <a:pt x="34" y="283"/>
                          <a:pt x="34" y="283"/>
                          <a:pt x="34" y="283"/>
                        </a:cubicBezTo>
                        <a:cubicBezTo>
                          <a:pt x="29" y="283"/>
                          <a:pt x="29" y="283"/>
                          <a:pt x="29" y="283"/>
                        </a:cubicBezTo>
                        <a:cubicBezTo>
                          <a:pt x="28" y="274"/>
                          <a:pt x="28" y="274"/>
                          <a:pt x="28" y="274"/>
                        </a:cubicBezTo>
                        <a:cubicBezTo>
                          <a:pt x="15" y="283"/>
                          <a:pt x="15" y="283"/>
                          <a:pt x="15" y="283"/>
                        </a:cubicBezTo>
                        <a:cubicBezTo>
                          <a:pt x="2" y="283"/>
                          <a:pt x="2" y="283"/>
                          <a:pt x="2" y="283"/>
                        </a:cubicBezTo>
                        <a:cubicBezTo>
                          <a:pt x="2" y="283"/>
                          <a:pt x="0" y="280"/>
                          <a:pt x="3" y="27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" name="Freeform 218">
                    <a:extLst>
                      <a:ext uri="{FF2B5EF4-FFF2-40B4-BE49-F238E27FC236}">
                        <a16:creationId xmlns:a16="http://schemas.microsoft.com/office/drawing/2014/main" id="{7D70272C-00E2-6CF0-D235-6989D0B6996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3838" y="3784600"/>
                    <a:ext cx="71438" cy="46038"/>
                  </a:xfrm>
                  <a:custGeom>
                    <a:avLst/>
                    <a:gdLst>
                      <a:gd name="T0" fmla="*/ 13 w 38"/>
                      <a:gd name="T1" fmla="*/ 16 h 25"/>
                      <a:gd name="T2" fmla="*/ 3 w 38"/>
                      <a:gd name="T3" fmla="*/ 20 h 25"/>
                      <a:gd name="T4" fmla="*/ 2 w 38"/>
                      <a:gd name="T5" fmla="*/ 24 h 25"/>
                      <a:gd name="T6" fmla="*/ 18 w 38"/>
                      <a:gd name="T7" fmla="*/ 24 h 25"/>
                      <a:gd name="T8" fmla="*/ 29 w 38"/>
                      <a:gd name="T9" fmla="*/ 15 h 25"/>
                      <a:gd name="T10" fmla="*/ 30 w 38"/>
                      <a:gd name="T11" fmla="*/ 25 h 25"/>
                      <a:gd name="T12" fmla="*/ 35 w 38"/>
                      <a:gd name="T13" fmla="*/ 25 h 25"/>
                      <a:gd name="T14" fmla="*/ 38 w 38"/>
                      <a:gd name="T15" fmla="*/ 8 h 25"/>
                      <a:gd name="T16" fmla="*/ 38 w 38"/>
                      <a:gd name="T17" fmla="*/ 0 h 25"/>
                      <a:gd name="T18" fmla="*/ 28 w 38"/>
                      <a:gd name="T19" fmla="*/ 8 h 25"/>
                      <a:gd name="T20" fmla="*/ 13 w 38"/>
                      <a:gd name="T21" fmla="*/ 16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8" h="25">
                        <a:moveTo>
                          <a:pt x="13" y="16"/>
                        </a:moveTo>
                        <a:cubicBezTo>
                          <a:pt x="11" y="17"/>
                          <a:pt x="4" y="20"/>
                          <a:pt x="3" y="20"/>
                        </a:cubicBezTo>
                        <a:cubicBezTo>
                          <a:pt x="0" y="21"/>
                          <a:pt x="2" y="24"/>
                          <a:pt x="2" y="24"/>
                        </a:cubicBezTo>
                        <a:cubicBezTo>
                          <a:pt x="2" y="24"/>
                          <a:pt x="15" y="24"/>
                          <a:pt x="18" y="24"/>
                        </a:cubicBezTo>
                        <a:cubicBezTo>
                          <a:pt x="21" y="24"/>
                          <a:pt x="29" y="15"/>
                          <a:pt x="29" y="15"/>
                        </a:cubicBezTo>
                        <a:cubicBezTo>
                          <a:pt x="30" y="25"/>
                          <a:pt x="30" y="25"/>
                          <a:pt x="30" y="25"/>
                        </a:cubicBezTo>
                        <a:cubicBezTo>
                          <a:pt x="35" y="25"/>
                          <a:pt x="35" y="25"/>
                          <a:pt x="35" y="25"/>
                        </a:cubicBezTo>
                        <a:cubicBezTo>
                          <a:pt x="35" y="25"/>
                          <a:pt x="36" y="15"/>
                          <a:pt x="38" y="8"/>
                        </a:cubicBezTo>
                        <a:cubicBezTo>
                          <a:pt x="38" y="4"/>
                          <a:pt x="38" y="0"/>
                          <a:pt x="38" y="0"/>
                        </a:cubicBezTo>
                        <a:cubicBezTo>
                          <a:pt x="38" y="0"/>
                          <a:pt x="35" y="0"/>
                          <a:pt x="28" y="8"/>
                        </a:cubicBezTo>
                        <a:cubicBezTo>
                          <a:pt x="22" y="17"/>
                          <a:pt x="16" y="16"/>
                          <a:pt x="13" y="16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" name="Freeform 219">
                    <a:extLst>
                      <a:ext uri="{FF2B5EF4-FFF2-40B4-BE49-F238E27FC236}">
                        <a16:creationId xmlns:a16="http://schemas.microsoft.com/office/drawing/2014/main" id="{9AD74AA9-8D95-921F-94D3-1EAD141E397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58488" y="3311525"/>
                    <a:ext cx="692150" cy="390525"/>
                  </a:xfrm>
                  <a:custGeom>
                    <a:avLst/>
                    <a:gdLst>
                      <a:gd name="T0" fmla="*/ 371 w 373"/>
                      <a:gd name="T1" fmla="*/ 182 h 211"/>
                      <a:gd name="T2" fmla="*/ 360 w 373"/>
                      <a:gd name="T3" fmla="*/ 170 h 211"/>
                      <a:gd name="T4" fmla="*/ 370 w 373"/>
                      <a:gd name="T5" fmla="*/ 168 h 211"/>
                      <a:gd name="T6" fmla="*/ 369 w 373"/>
                      <a:gd name="T7" fmla="*/ 164 h 211"/>
                      <a:gd name="T8" fmla="*/ 353 w 373"/>
                      <a:gd name="T9" fmla="*/ 163 h 211"/>
                      <a:gd name="T10" fmla="*/ 345 w 373"/>
                      <a:gd name="T11" fmla="*/ 164 h 211"/>
                      <a:gd name="T12" fmla="*/ 142 w 373"/>
                      <a:gd name="T13" fmla="*/ 172 h 211"/>
                      <a:gd name="T14" fmla="*/ 115 w 373"/>
                      <a:gd name="T15" fmla="*/ 25 h 211"/>
                      <a:gd name="T16" fmla="*/ 0 w 373"/>
                      <a:gd name="T17" fmla="*/ 15 h 211"/>
                      <a:gd name="T18" fmla="*/ 107 w 373"/>
                      <a:gd name="T19" fmla="*/ 191 h 211"/>
                      <a:gd name="T20" fmla="*/ 142 w 373"/>
                      <a:gd name="T21" fmla="*/ 211 h 211"/>
                      <a:gd name="T22" fmla="*/ 211 w 373"/>
                      <a:gd name="T23" fmla="*/ 198 h 211"/>
                      <a:gd name="T24" fmla="*/ 346 w 373"/>
                      <a:gd name="T25" fmla="*/ 176 h 211"/>
                      <a:gd name="T26" fmla="*/ 363 w 373"/>
                      <a:gd name="T27" fmla="*/ 186 h 211"/>
                      <a:gd name="T28" fmla="*/ 369 w 373"/>
                      <a:gd name="T29" fmla="*/ 195 h 211"/>
                      <a:gd name="T30" fmla="*/ 373 w 373"/>
                      <a:gd name="T31" fmla="*/ 196 h 211"/>
                      <a:gd name="T32" fmla="*/ 371 w 373"/>
                      <a:gd name="T33" fmla="*/ 182 h 2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73" h="211">
                        <a:moveTo>
                          <a:pt x="371" y="182"/>
                        </a:moveTo>
                        <a:cubicBezTo>
                          <a:pt x="360" y="170"/>
                          <a:pt x="360" y="170"/>
                          <a:pt x="360" y="170"/>
                        </a:cubicBezTo>
                        <a:cubicBezTo>
                          <a:pt x="370" y="168"/>
                          <a:pt x="370" y="168"/>
                          <a:pt x="370" y="168"/>
                        </a:cubicBezTo>
                        <a:cubicBezTo>
                          <a:pt x="369" y="164"/>
                          <a:pt x="369" y="164"/>
                          <a:pt x="369" y="164"/>
                        </a:cubicBezTo>
                        <a:cubicBezTo>
                          <a:pt x="353" y="163"/>
                          <a:pt x="353" y="163"/>
                          <a:pt x="353" y="163"/>
                        </a:cubicBezTo>
                        <a:cubicBezTo>
                          <a:pt x="353" y="163"/>
                          <a:pt x="348" y="164"/>
                          <a:pt x="345" y="164"/>
                        </a:cubicBezTo>
                        <a:cubicBezTo>
                          <a:pt x="274" y="167"/>
                          <a:pt x="157" y="159"/>
                          <a:pt x="142" y="172"/>
                        </a:cubicBezTo>
                        <a:cubicBezTo>
                          <a:pt x="140" y="136"/>
                          <a:pt x="136" y="58"/>
                          <a:pt x="115" y="25"/>
                        </a:cubicBezTo>
                        <a:cubicBezTo>
                          <a:pt x="100" y="0"/>
                          <a:pt x="0" y="15"/>
                          <a:pt x="0" y="15"/>
                        </a:cubicBezTo>
                        <a:cubicBezTo>
                          <a:pt x="0" y="15"/>
                          <a:pt x="102" y="185"/>
                          <a:pt x="107" y="191"/>
                        </a:cubicBezTo>
                        <a:cubicBezTo>
                          <a:pt x="121" y="210"/>
                          <a:pt x="142" y="211"/>
                          <a:pt x="142" y="211"/>
                        </a:cubicBezTo>
                        <a:cubicBezTo>
                          <a:pt x="211" y="198"/>
                          <a:pt x="211" y="198"/>
                          <a:pt x="211" y="198"/>
                        </a:cubicBezTo>
                        <a:cubicBezTo>
                          <a:pt x="346" y="176"/>
                          <a:pt x="346" y="176"/>
                          <a:pt x="346" y="176"/>
                        </a:cubicBezTo>
                        <a:cubicBezTo>
                          <a:pt x="363" y="186"/>
                          <a:pt x="363" y="186"/>
                          <a:pt x="363" y="186"/>
                        </a:cubicBezTo>
                        <a:cubicBezTo>
                          <a:pt x="363" y="186"/>
                          <a:pt x="369" y="194"/>
                          <a:pt x="369" y="195"/>
                        </a:cubicBezTo>
                        <a:cubicBezTo>
                          <a:pt x="370" y="198"/>
                          <a:pt x="373" y="196"/>
                          <a:pt x="373" y="196"/>
                        </a:cubicBezTo>
                        <a:lnTo>
                          <a:pt x="371" y="182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" name="Freeform 221">
                    <a:extLst>
                      <a:ext uri="{FF2B5EF4-FFF2-40B4-BE49-F238E27FC236}">
                        <a16:creationId xmlns:a16="http://schemas.microsoft.com/office/drawing/2014/main" id="{B211F5CD-AFC0-54BA-319B-349E4D1009F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61600" y="2940050"/>
                    <a:ext cx="304800" cy="269875"/>
                  </a:xfrm>
                  <a:custGeom>
                    <a:avLst/>
                    <a:gdLst>
                      <a:gd name="T0" fmla="*/ 0 w 164"/>
                      <a:gd name="T1" fmla="*/ 113 h 146"/>
                      <a:gd name="T2" fmla="*/ 37 w 164"/>
                      <a:gd name="T3" fmla="*/ 114 h 146"/>
                      <a:gd name="T4" fmla="*/ 66 w 164"/>
                      <a:gd name="T5" fmla="*/ 77 h 146"/>
                      <a:gd name="T6" fmla="*/ 97 w 164"/>
                      <a:gd name="T7" fmla="*/ 41 h 146"/>
                      <a:gd name="T8" fmla="*/ 164 w 164"/>
                      <a:gd name="T9" fmla="*/ 11 h 146"/>
                      <a:gd name="T10" fmla="*/ 133 w 164"/>
                      <a:gd name="T11" fmla="*/ 72 h 146"/>
                      <a:gd name="T12" fmla="*/ 67 w 164"/>
                      <a:gd name="T13" fmla="*/ 130 h 146"/>
                      <a:gd name="T14" fmla="*/ 23 w 164"/>
                      <a:gd name="T15" fmla="*/ 141 h 146"/>
                      <a:gd name="T16" fmla="*/ 0 w 164"/>
                      <a:gd name="T17" fmla="*/ 113 h 1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64" h="146">
                        <a:moveTo>
                          <a:pt x="0" y="113"/>
                        </a:moveTo>
                        <a:cubicBezTo>
                          <a:pt x="37" y="114"/>
                          <a:pt x="37" y="114"/>
                          <a:pt x="37" y="114"/>
                        </a:cubicBezTo>
                        <a:cubicBezTo>
                          <a:pt x="37" y="114"/>
                          <a:pt x="47" y="99"/>
                          <a:pt x="66" y="77"/>
                        </a:cubicBezTo>
                        <a:cubicBezTo>
                          <a:pt x="127" y="79"/>
                          <a:pt x="85" y="55"/>
                          <a:pt x="97" y="41"/>
                        </a:cubicBezTo>
                        <a:cubicBezTo>
                          <a:pt x="135" y="0"/>
                          <a:pt x="164" y="11"/>
                          <a:pt x="164" y="11"/>
                        </a:cubicBezTo>
                        <a:cubicBezTo>
                          <a:pt x="133" y="72"/>
                          <a:pt x="133" y="72"/>
                          <a:pt x="133" y="72"/>
                        </a:cubicBezTo>
                        <a:cubicBezTo>
                          <a:pt x="133" y="72"/>
                          <a:pt x="76" y="122"/>
                          <a:pt x="67" y="130"/>
                        </a:cubicBezTo>
                        <a:cubicBezTo>
                          <a:pt x="58" y="137"/>
                          <a:pt x="46" y="146"/>
                          <a:pt x="23" y="141"/>
                        </a:cubicBezTo>
                        <a:cubicBezTo>
                          <a:pt x="19" y="126"/>
                          <a:pt x="0" y="113"/>
                          <a:pt x="0" y="11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" name="Freeform 222">
                    <a:extLst>
                      <a:ext uri="{FF2B5EF4-FFF2-40B4-BE49-F238E27FC236}">
                        <a16:creationId xmlns:a16="http://schemas.microsoft.com/office/drawing/2014/main" id="{CE37EECC-FEC2-D370-1553-A13B972C63C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4638" y="2954338"/>
                    <a:ext cx="317500" cy="319088"/>
                  </a:xfrm>
                  <a:custGeom>
                    <a:avLst/>
                    <a:gdLst>
                      <a:gd name="T0" fmla="*/ 171 w 171"/>
                      <a:gd name="T1" fmla="*/ 172 h 172"/>
                      <a:gd name="T2" fmla="*/ 29 w 171"/>
                      <a:gd name="T3" fmla="*/ 97 h 172"/>
                      <a:gd name="T4" fmla="*/ 33 w 171"/>
                      <a:gd name="T5" fmla="*/ 0 h 172"/>
                      <a:gd name="T6" fmla="*/ 171 w 171"/>
                      <a:gd name="T7" fmla="*/ 172 h 1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71" h="172">
                        <a:moveTo>
                          <a:pt x="171" y="172"/>
                        </a:moveTo>
                        <a:cubicBezTo>
                          <a:pt x="171" y="172"/>
                          <a:pt x="57" y="148"/>
                          <a:pt x="29" y="97"/>
                        </a:cubicBezTo>
                        <a:cubicBezTo>
                          <a:pt x="0" y="43"/>
                          <a:pt x="33" y="0"/>
                          <a:pt x="33" y="0"/>
                        </a:cubicBezTo>
                        <a:lnTo>
                          <a:pt x="171" y="17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" name="Freeform 223">
                    <a:extLst>
                      <a:ext uri="{FF2B5EF4-FFF2-40B4-BE49-F238E27FC236}">
                        <a16:creationId xmlns:a16="http://schemas.microsoft.com/office/drawing/2014/main" id="{56325B52-0F9F-5230-17AE-FAA4CDF7D0B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67975" y="2906713"/>
                    <a:ext cx="520700" cy="411163"/>
                  </a:xfrm>
                  <a:custGeom>
                    <a:avLst/>
                    <a:gdLst>
                      <a:gd name="T0" fmla="*/ 153 w 281"/>
                      <a:gd name="T1" fmla="*/ 222 h 222"/>
                      <a:gd name="T2" fmla="*/ 62 w 281"/>
                      <a:gd name="T3" fmla="*/ 147 h 222"/>
                      <a:gd name="T4" fmla="*/ 0 w 281"/>
                      <a:gd name="T5" fmla="*/ 23 h 222"/>
                      <a:gd name="T6" fmla="*/ 31 w 281"/>
                      <a:gd name="T7" fmla="*/ 8 h 222"/>
                      <a:gd name="T8" fmla="*/ 158 w 281"/>
                      <a:gd name="T9" fmla="*/ 64 h 222"/>
                      <a:gd name="T10" fmla="*/ 281 w 281"/>
                      <a:gd name="T11" fmla="*/ 219 h 222"/>
                      <a:gd name="T12" fmla="*/ 153 w 281"/>
                      <a:gd name="T13" fmla="*/ 222 h 2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1" h="222">
                        <a:moveTo>
                          <a:pt x="153" y="222"/>
                        </a:moveTo>
                        <a:cubicBezTo>
                          <a:pt x="153" y="222"/>
                          <a:pt x="136" y="170"/>
                          <a:pt x="62" y="147"/>
                        </a:cubicBezTo>
                        <a:cubicBezTo>
                          <a:pt x="16" y="134"/>
                          <a:pt x="0" y="23"/>
                          <a:pt x="0" y="23"/>
                        </a:cubicBezTo>
                        <a:cubicBezTo>
                          <a:pt x="0" y="23"/>
                          <a:pt x="17" y="10"/>
                          <a:pt x="31" y="8"/>
                        </a:cubicBezTo>
                        <a:cubicBezTo>
                          <a:pt x="64" y="0"/>
                          <a:pt x="115" y="18"/>
                          <a:pt x="158" y="64"/>
                        </a:cubicBezTo>
                        <a:cubicBezTo>
                          <a:pt x="219" y="128"/>
                          <a:pt x="281" y="219"/>
                          <a:pt x="281" y="219"/>
                        </a:cubicBezTo>
                        <a:lnTo>
                          <a:pt x="153" y="222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" name="Freeform 224">
                    <a:extLst>
                      <a:ext uri="{FF2B5EF4-FFF2-40B4-BE49-F238E27FC236}">
                        <a16:creationId xmlns:a16="http://schemas.microsoft.com/office/drawing/2014/main" id="{9BCBAC03-41BA-233D-AA87-9D76FF3826F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9413" y="3076575"/>
                    <a:ext cx="247650" cy="242888"/>
                  </a:xfrm>
                  <a:custGeom>
                    <a:avLst/>
                    <a:gdLst>
                      <a:gd name="T0" fmla="*/ 121 w 133"/>
                      <a:gd name="T1" fmla="*/ 129 h 131"/>
                      <a:gd name="T2" fmla="*/ 64 w 133"/>
                      <a:gd name="T3" fmla="*/ 62 h 131"/>
                      <a:gd name="T4" fmla="*/ 0 w 133"/>
                      <a:gd name="T5" fmla="*/ 0 h 131"/>
                      <a:gd name="T6" fmla="*/ 64 w 133"/>
                      <a:gd name="T7" fmla="*/ 57 h 131"/>
                      <a:gd name="T8" fmla="*/ 133 w 133"/>
                      <a:gd name="T9" fmla="*/ 131 h 131"/>
                      <a:gd name="T10" fmla="*/ 121 w 133"/>
                      <a:gd name="T11" fmla="*/ 129 h 1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33" h="131">
                        <a:moveTo>
                          <a:pt x="121" y="129"/>
                        </a:moveTo>
                        <a:cubicBezTo>
                          <a:pt x="121" y="129"/>
                          <a:pt x="99" y="76"/>
                          <a:pt x="64" y="62"/>
                        </a:cubicBezTo>
                        <a:cubicBezTo>
                          <a:pt x="27" y="47"/>
                          <a:pt x="0" y="0"/>
                          <a:pt x="0" y="0"/>
                        </a:cubicBezTo>
                        <a:cubicBezTo>
                          <a:pt x="0" y="0"/>
                          <a:pt x="27" y="33"/>
                          <a:pt x="64" y="57"/>
                        </a:cubicBezTo>
                        <a:cubicBezTo>
                          <a:pt x="101" y="81"/>
                          <a:pt x="133" y="131"/>
                          <a:pt x="133" y="131"/>
                        </a:cubicBezTo>
                        <a:lnTo>
                          <a:pt x="121" y="129"/>
                        </a:ln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Freeform 225">
                    <a:extLst>
                      <a:ext uri="{FF2B5EF4-FFF2-40B4-BE49-F238E27FC236}">
                        <a16:creationId xmlns:a16="http://schemas.microsoft.com/office/drawing/2014/main" id="{9580F600-D553-86D4-D0CE-492F6E7CA1E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3063" y="2906713"/>
                    <a:ext cx="430213" cy="357188"/>
                  </a:xfrm>
                  <a:custGeom>
                    <a:avLst/>
                    <a:gdLst>
                      <a:gd name="T0" fmla="*/ 232 w 232"/>
                      <a:gd name="T1" fmla="*/ 182 h 193"/>
                      <a:gd name="T2" fmla="*/ 59 w 232"/>
                      <a:gd name="T3" fmla="*/ 13 h 193"/>
                      <a:gd name="T4" fmla="*/ 3 w 232"/>
                      <a:gd name="T5" fmla="*/ 6 h 193"/>
                      <a:gd name="T6" fmla="*/ 129 w 232"/>
                      <a:gd name="T7" fmla="*/ 156 h 193"/>
                      <a:gd name="T8" fmla="*/ 232 w 232"/>
                      <a:gd name="T9" fmla="*/ 182 h 1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2" h="193">
                        <a:moveTo>
                          <a:pt x="232" y="182"/>
                        </a:moveTo>
                        <a:cubicBezTo>
                          <a:pt x="232" y="182"/>
                          <a:pt x="112" y="25"/>
                          <a:pt x="59" y="13"/>
                        </a:cubicBezTo>
                        <a:cubicBezTo>
                          <a:pt x="7" y="0"/>
                          <a:pt x="3" y="6"/>
                          <a:pt x="3" y="6"/>
                        </a:cubicBezTo>
                        <a:cubicBezTo>
                          <a:pt x="3" y="6"/>
                          <a:pt x="0" y="89"/>
                          <a:pt x="129" y="156"/>
                        </a:cubicBezTo>
                        <a:cubicBezTo>
                          <a:pt x="203" y="193"/>
                          <a:pt x="232" y="182"/>
                          <a:pt x="232" y="182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" name="Freeform 226">
                    <a:extLst>
                      <a:ext uri="{FF2B5EF4-FFF2-40B4-BE49-F238E27FC236}">
                        <a16:creationId xmlns:a16="http://schemas.microsoft.com/office/drawing/2014/main" id="{D6DFDDEC-4076-7CBC-DC97-980DB99B592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2413" y="2862263"/>
                    <a:ext cx="125413" cy="106363"/>
                  </a:xfrm>
                  <a:custGeom>
                    <a:avLst/>
                    <a:gdLst>
                      <a:gd name="T0" fmla="*/ 68 w 68"/>
                      <a:gd name="T1" fmla="*/ 30 h 58"/>
                      <a:gd name="T2" fmla="*/ 58 w 68"/>
                      <a:gd name="T3" fmla="*/ 14 h 58"/>
                      <a:gd name="T4" fmla="*/ 39 w 68"/>
                      <a:gd name="T5" fmla="*/ 0 h 58"/>
                      <a:gd name="T6" fmla="*/ 31 w 68"/>
                      <a:gd name="T7" fmla="*/ 24 h 58"/>
                      <a:gd name="T8" fmla="*/ 18 w 68"/>
                      <a:gd name="T9" fmla="*/ 37 h 58"/>
                      <a:gd name="T10" fmla="*/ 0 w 68"/>
                      <a:gd name="T11" fmla="*/ 38 h 58"/>
                      <a:gd name="T12" fmla="*/ 36 w 68"/>
                      <a:gd name="T13" fmla="*/ 55 h 58"/>
                      <a:gd name="T14" fmla="*/ 68 w 68"/>
                      <a:gd name="T15" fmla="*/ 30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8" h="58">
                        <a:moveTo>
                          <a:pt x="68" y="30"/>
                        </a:moveTo>
                        <a:cubicBezTo>
                          <a:pt x="58" y="14"/>
                          <a:pt x="58" y="14"/>
                          <a:pt x="58" y="14"/>
                        </a:cubicBezTo>
                        <a:cubicBezTo>
                          <a:pt x="39" y="0"/>
                          <a:pt x="39" y="0"/>
                          <a:pt x="39" y="0"/>
                        </a:cubicBezTo>
                        <a:cubicBezTo>
                          <a:pt x="39" y="0"/>
                          <a:pt x="33" y="15"/>
                          <a:pt x="31" y="24"/>
                        </a:cubicBezTo>
                        <a:cubicBezTo>
                          <a:pt x="30" y="32"/>
                          <a:pt x="21" y="37"/>
                          <a:pt x="18" y="37"/>
                        </a:cubicBezTo>
                        <a:cubicBezTo>
                          <a:pt x="10" y="39"/>
                          <a:pt x="0" y="38"/>
                          <a:pt x="0" y="38"/>
                        </a:cubicBezTo>
                        <a:cubicBezTo>
                          <a:pt x="0" y="38"/>
                          <a:pt x="32" y="50"/>
                          <a:pt x="36" y="55"/>
                        </a:cubicBezTo>
                        <a:cubicBezTo>
                          <a:pt x="41" y="58"/>
                          <a:pt x="68" y="30"/>
                          <a:pt x="68" y="30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4" name="Freeform 227">
                    <a:extLst>
                      <a:ext uri="{FF2B5EF4-FFF2-40B4-BE49-F238E27FC236}">
                        <a16:creationId xmlns:a16="http://schemas.microsoft.com/office/drawing/2014/main" id="{307FAC3F-35F6-0BE0-CE98-7A4180A84B5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3363" y="2800350"/>
                    <a:ext cx="100013" cy="131763"/>
                  </a:xfrm>
                  <a:custGeom>
                    <a:avLst/>
                    <a:gdLst>
                      <a:gd name="T0" fmla="*/ 13 w 54"/>
                      <a:gd name="T1" fmla="*/ 71 h 71"/>
                      <a:gd name="T2" fmla="*/ 31 w 54"/>
                      <a:gd name="T3" fmla="*/ 70 h 71"/>
                      <a:gd name="T4" fmla="*/ 41 w 54"/>
                      <a:gd name="T5" fmla="*/ 61 h 71"/>
                      <a:gd name="T6" fmla="*/ 45 w 54"/>
                      <a:gd name="T7" fmla="*/ 46 h 71"/>
                      <a:gd name="T8" fmla="*/ 51 w 54"/>
                      <a:gd name="T9" fmla="*/ 41 h 71"/>
                      <a:gd name="T10" fmla="*/ 47 w 54"/>
                      <a:gd name="T11" fmla="*/ 32 h 71"/>
                      <a:gd name="T12" fmla="*/ 44 w 54"/>
                      <a:gd name="T13" fmla="*/ 3 h 71"/>
                      <a:gd name="T14" fmla="*/ 30 w 54"/>
                      <a:gd name="T15" fmla="*/ 0 h 71"/>
                      <a:gd name="T16" fmla="*/ 18 w 54"/>
                      <a:gd name="T17" fmla="*/ 7 h 71"/>
                      <a:gd name="T18" fmla="*/ 0 w 54"/>
                      <a:gd name="T19" fmla="*/ 40 h 71"/>
                      <a:gd name="T20" fmla="*/ 3 w 54"/>
                      <a:gd name="T21" fmla="*/ 42 h 71"/>
                      <a:gd name="T22" fmla="*/ 7 w 54"/>
                      <a:gd name="T23" fmla="*/ 43 h 71"/>
                      <a:gd name="T24" fmla="*/ 8 w 54"/>
                      <a:gd name="T25" fmla="*/ 70 h 71"/>
                      <a:gd name="T26" fmla="*/ 13 w 54"/>
                      <a:gd name="T27" fmla="*/ 71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54" h="71">
                        <a:moveTo>
                          <a:pt x="13" y="71"/>
                        </a:moveTo>
                        <a:cubicBezTo>
                          <a:pt x="17" y="71"/>
                          <a:pt x="25" y="71"/>
                          <a:pt x="31" y="70"/>
                        </a:cubicBezTo>
                        <a:cubicBezTo>
                          <a:pt x="40" y="69"/>
                          <a:pt x="41" y="61"/>
                          <a:pt x="41" y="61"/>
                        </a:cubicBezTo>
                        <a:cubicBezTo>
                          <a:pt x="45" y="46"/>
                          <a:pt x="45" y="46"/>
                          <a:pt x="45" y="46"/>
                        </a:cubicBezTo>
                        <a:cubicBezTo>
                          <a:pt x="45" y="46"/>
                          <a:pt x="48" y="44"/>
                          <a:pt x="51" y="41"/>
                        </a:cubicBezTo>
                        <a:cubicBezTo>
                          <a:pt x="52" y="40"/>
                          <a:pt x="54" y="34"/>
                          <a:pt x="47" y="32"/>
                        </a:cubicBezTo>
                        <a:cubicBezTo>
                          <a:pt x="37" y="28"/>
                          <a:pt x="44" y="3"/>
                          <a:pt x="44" y="3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18" y="7"/>
                          <a:pt x="18" y="7"/>
                          <a:pt x="18" y="7"/>
                        </a:cubicBezTo>
                        <a:cubicBezTo>
                          <a:pt x="0" y="40"/>
                          <a:pt x="0" y="40"/>
                          <a:pt x="0" y="40"/>
                        </a:cubicBezTo>
                        <a:cubicBezTo>
                          <a:pt x="0" y="40"/>
                          <a:pt x="1" y="42"/>
                          <a:pt x="3" y="42"/>
                        </a:cubicBezTo>
                        <a:cubicBezTo>
                          <a:pt x="6" y="42"/>
                          <a:pt x="7" y="43"/>
                          <a:pt x="7" y="43"/>
                        </a:cubicBezTo>
                        <a:cubicBezTo>
                          <a:pt x="7" y="43"/>
                          <a:pt x="8" y="69"/>
                          <a:pt x="8" y="70"/>
                        </a:cubicBezTo>
                        <a:cubicBezTo>
                          <a:pt x="9" y="71"/>
                          <a:pt x="10" y="71"/>
                          <a:pt x="13" y="71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" name="Freeform 228">
                    <a:extLst>
                      <a:ext uri="{FF2B5EF4-FFF2-40B4-BE49-F238E27FC236}">
                        <a16:creationId xmlns:a16="http://schemas.microsoft.com/office/drawing/2014/main" id="{B0ACF546-A0CB-28DB-84FD-36279E8F497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5588" y="2849563"/>
                    <a:ext cx="20638" cy="7938"/>
                  </a:xfrm>
                  <a:custGeom>
                    <a:avLst/>
                    <a:gdLst>
                      <a:gd name="T0" fmla="*/ 1 w 11"/>
                      <a:gd name="T1" fmla="*/ 3 h 5"/>
                      <a:gd name="T2" fmla="*/ 3 w 11"/>
                      <a:gd name="T3" fmla="*/ 5 h 5"/>
                      <a:gd name="T4" fmla="*/ 10 w 11"/>
                      <a:gd name="T5" fmla="*/ 5 h 5"/>
                      <a:gd name="T6" fmla="*/ 2 w 11"/>
                      <a:gd name="T7" fmla="*/ 1 h 5"/>
                      <a:gd name="T8" fmla="*/ 1 w 11"/>
                      <a:gd name="T9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" h="5">
                        <a:moveTo>
                          <a:pt x="1" y="3"/>
                        </a:moveTo>
                        <a:cubicBezTo>
                          <a:pt x="1" y="5"/>
                          <a:pt x="1" y="5"/>
                          <a:pt x="3" y="5"/>
                        </a:cubicBezTo>
                        <a:cubicBezTo>
                          <a:pt x="5" y="5"/>
                          <a:pt x="8" y="5"/>
                          <a:pt x="10" y="5"/>
                        </a:cubicBezTo>
                        <a:cubicBezTo>
                          <a:pt x="11" y="5"/>
                          <a:pt x="7" y="3"/>
                          <a:pt x="2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" name="Freeform 229">
                    <a:extLst>
                      <a:ext uri="{FF2B5EF4-FFF2-40B4-BE49-F238E27FC236}">
                        <a16:creationId xmlns:a16="http://schemas.microsoft.com/office/drawing/2014/main" id="{9AE40227-65D2-EA5C-CB14-AC86EBF7C4D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2263" y="2951163"/>
                    <a:ext cx="44450" cy="104775"/>
                  </a:xfrm>
                  <a:custGeom>
                    <a:avLst/>
                    <a:gdLst>
                      <a:gd name="T0" fmla="*/ 24 w 24"/>
                      <a:gd name="T1" fmla="*/ 57 h 57"/>
                      <a:gd name="T2" fmla="*/ 22 w 24"/>
                      <a:gd name="T3" fmla="*/ 0 h 57"/>
                      <a:gd name="T4" fmla="*/ 0 w 24"/>
                      <a:gd name="T5" fmla="*/ 8 h 57"/>
                      <a:gd name="T6" fmla="*/ 24 w 24"/>
                      <a:gd name="T7" fmla="*/ 57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4" h="57">
                        <a:moveTo>
                          <a:pt x="24" y="57"/>
                        </a:moveTo>
                        <a:cubicBezTo>
                          <a:pt x="24" y="57"/>
                          <a:pt x="8" y="28"/>
                          <a:pt x="22" y="0"/>
                        </a:cubicBezTo>
                        <a:cubicBezTo>
                          <a:pt x="17" y="5"/>
                          <a:pt x="6" y="6"/>
                          <a:pt x="0" y="8"/>
                        </a:cubicBezTo>
                        <a:cubicBezTo>
                          <a:pt x="0" y="32"/>
                          <a:pt x="24" y="57"/>
                          <a:pt x="24" y="57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Freeform 230">
                    <a:extLst>
                      <a:ext uri="{FF2B5EF4-FFF2-40B4-BE49-F238E27FC236}">
                        <a16:creationId xmlns:a16="http://schemas.microsoft.com/office/drawing/2014/main" id="{417E7A18-A11F-D212-3E7E-A2F8BBD119B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72688" y="2957513"/>
                    <a:ext cx="188913" cy="74613"/>
                  </a:xfrm>
                  <a:custGeom>
                    <a:avLst/>
                    <a:gdLst>
                      <a:gd name="T0" fmla="*/ 94 w 119"/>
                      <a:gd name="T1" fmla="*/ 47 h 47"/>
                      <a:gd name="T2" fmla="*/ 0 w 119"/>
                      <a:gd name="T3" fmla="*/ 12 h 47"/>
                      <a:gd name="T4" fmla="*/ 2 w 119"/>
                      <a:gd name="T5" fmla="*/ 0 h 47"/>
                      <a:gd name="T6" fmla="*/ 119 w 119"/>
                      <a:gd name="T7" fmla="*/ 23 h 47"/>
                      <a:gd name="T8" fmla="*/ 94 w 119"/>
                      <a:gd name="T9" fmla="*/ 47 h 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9" h="47">
                        <a:moveTo>
                          <a:pt x="94" y="47"/>
                        </a:moveTo>
                        <a:lnTo>
                          <a:pt x="0" y="12"/>
                        </a:lnTo>
                        <a:lnTo>
                          <a:pt x="2" y="0"/>
                        </a:lnTo>
                        <a:lnTo>
                          <a:pt x="119" y="23"/>
                        </a:lnTo>
                        <a:lnTo>
                          <a:pt x="94" y="47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" name="Freeform 231">
                    <a:extLst>
                      <a:ext uri="{FF2B5EF4-FFF2-40B4-BE49-F238E27FC236}">
                        <a16:creationId xmlns:a16="http://schemas.microsoft.com/office/drawing/2014/main" id="{480506B2-B2C5-5A84-371B-9621F109822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15563" y="2954338"/>
                    <a:ext cx="434975" cy="128588"/>
                  </a:xfrm>
                  <a:custGeom>
                    <a:avLst/>
                    <a:gdLst>
                      <a:gd name="T0" fmla="*/ 2 w 235"/>
                      <a:gd name="T1" fmla="*/ 16 h 69"/>
                      <a:gd name="T2" fmla="*/ 82 w 235"/>
                      <a:gd name="T3" fmla="*/ 33 h 69"/>
                      <a:gd name="T4" fmla="*/ 201 w 235"/>
                      <a:gd name="T5" fmla="*/ 0 h 69"/>
                      <a:gd name="T6" fmla="*/ 235 w 235"/>
                      <a:gd name="T7" fmla="*/ 35 h 69"/>
                      <a:gd name="T8" fmla="*/ 120 w 235"/>
                      <a:gd name="T9" fmla="*/ 65 h 69"/>
                      <a:gd name="T10" fmla="*/ 59 w 235"/>
                      <a:gd name="T11" fmla="*/ 61 h 69"/>
                      <a:gd name="T12" fmla="*/ 0 w 235"/>
                      <a:gd name="T13" fmla="*/ 42 h 69"/>
                      <a:gd name="T14" fmla="*/ 2 w 235"/>
                      <a:gd name="T15" fmla="*/ 16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35" h="69">
                        <a:moveTo>
                          <a:pt x="2" y="16"/>
                        </a:moveTo>
                        <a:cubicBezTo>
                          <a:pt x="82" y="33"/>
                          <a:pt x="82" y="33"/>
                          <a:pt x="82" y="33"/>
                        </a:cubicBezTo>
                        <a:cubicBezTo>
                          <a:pt x="201" y="0"/>
                          <a:pt x="201" y="0"/>
                          <a:pt x="201" y="0"/>
                        </a:cubicBezTo>
                        <a:cubicBezTo>
                          <a:pt x="235" y="35"/>
                          <a:pt x="235" y="35"/>
                          <a:pt x="235" y="35"/>
                        </a:cubicBezTo>
                        <a:cubicBezTo>
                          <a:pt x="235" y="35"/>
                          <a:pt x="132" y="62"/>
                          <a:pt x="120" y="65"/>
                        </a:cubicBezTo>
                        <a:cubicBezTo>
                          <a:pt x="108" y="67"/>
                          <a:pt x="84" y="69"/>
                          <a:pt x="59" y="61"/>
                        </a:cubicBezTo>
                        <a:cubicBezTo>
                          <a:pt x="42" y="56"/>
                          <a:pt x="24" y="50"/>
                          <a:pt x="0" y="42"/>
                        </a:cubicBezTo>
                        <a:lnTo>
                          <a:pt x="2" y="16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" name="Freeform 232">
                    <a:extLst>
                      <a:ext uri="{FF2B5EF4-FFF2-40B4-BE49-F238E27FC236}">
                        <a16:creationId xmlns:a16="http://schemas.microsoft.com/office/drawing/2014/main" id="{33FB5717-2803-DF44-1276-D623FA02272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3525" y="2782888"/>
                    <a:ext cx="134938" cy="225425"/>
                  </a:xfrm>
                  <a:custGeom>
                    <a:avLst/>
                    <a:gdLst>
                      <a:gd name="T0" fmla="*/ 52 w 73"/>
                      <a:gd name="T1" fmla="*/ 19 h 122"/>
                      <a:gd name="T2" fmla="*/ 0 w 73"/>
                      <a:gd name="T3" fmla="*/ 9 h 122"/>
                      <a:gd name="T4" fmla="*/ 2 w 73"/>
                      <a:gd name="T5" fmla="*/ 17 h 122"/>
                      <a:gd name="T6" fmla="*/ 19 w 73"/>
                      <a:gd name="T7" fmla="*/ 56 h 122"/>
                      <a:gd name="T8" fmla="*/ 6 w 73"/>
                      <a:gd name="T9" fmla="*/ 107 h 122"/>
                      <a:gd name="T10" fmla="*/ 70 w 73"/>
                      <a:gd name="T11" fmla="*/ 76 h 122"/>
                      <a:gd name="T12" fmla="*/ 52 w 73"/>
                      <a:gd name="T13" fmla="*/ 19 h 1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3" h="122">
                        <a:moveTo>
                          <a:pt x="52" y="19"/>
                        </a:moveTo>
                        <a:cubicBezTo>
                          <a:pt x="17" y="1"/>
                          <a:pt x="4" y="0"/>
                          <a:pt x="0" y="9"/>
                        </a:cubicBezTo>
                        <a:cubicBezTo>
                          <a:pt x="0" y="11"/>
                          <a:pt x="0" y="15"/>
                          <a:pt x="2" y="17"/>
                        </a:cubicBezTo>
                        <a:cubicBezTo>
                          <a:pt x="12" y="17"/>
                          <a:pt x="19" y="36"/>
                          <a:pt x="19" y="56"/>
                        </a:cubicBezTo>
                        <a:cubicBezTo>
                          <a:pt x="17" y="75"/>
                          <a:pt x="16" y="102"/>
                          <a:pt x="6" y="107"/>
                        </a:cubicBezTo>
                        <a:cubicBezTo>
                          <a:pt x="34" y="117"/>
                          <a:pt x="73" y="122"/>
                          <a:pt x="70" y="76"/>
                        </a:cubicBezTo>
                        <a:cubicBezTo>
                          <a:pt x="70" y="62"/>
                          <a:pt x="55" y="24"/>
                          <a:pt x="52" y="19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0" name="Freeform 233">
                    <a:extLst>
                      <a:ext uri="{FF2B5EF4-FFF2-40B4-BE49-F238E27FC236}">
                        <a16:creationId xmlns:a16="http://schemas.microsoft.com/office/drawing/2014/main" id="{238C0728-771E-2EAF-72BB-366F4C87B02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8613" y="3302000"/>
                    <a:ext cx="563563" cy="241300"/>
                  </a:xfrm>
                  <a:custGeom>
                    <a:avLst/>
                    <a:gdLst>
                      <a:gd name="T0" fmla="*/ 267 w 304"/>
                      <a:gd name="T1" fmla="*/ 0 h 130"/>
                      <a:gd name="T2" fmla="*/ 304 w 304"/>
                      <a:gd name="T3" fmla="*/ 118 h 130"/>
                      <a:gd name="T4" fmla="*/ 26 w 304"/>
                      <a:gd name="T5" fmla="*/ 54 h 130"/>
                      <a:gd name="T6" fmla="*/ 1 w 304"/>
                      <a:gd name="T7" fmla="*/ 1 h 130"/>
                      <a:gd name="T8" fmla="*/ 267 w 304"/>
                      <a:gd name="T9" fmla="*/ 0 h 1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4" h="130">
                        <a:moveTo>
                          <a:pt x="267" y="0"/>
                        </a:moveTo>
                        <a:cubicBezTo>
                          <a:pt x="295" y="26"/>
                          <a:pt x="269" y="75"/>
                          <a:pt x="304" y="118"/>
                        </a:cubicBezTo>
                        <a:cubicBezTo>
                          <a:pt x="264" y="130"/>
                          <a:pt x="87" y="102"/>
                          <a:pt x="26" y="54"/>
                        </a:cubicBezTo>
                        <a:cubicBezTo>
                          <a:pt x="0" y="33"/>
                          <a:pt x="1" y="1"/>
                          <a:pt x="1" y="1"/>
                        </a:cubicBezTo>
                        <a:cubicBezTo>
                          <a:pt x="1" y="1"/>
                          <a:pt x="229" y="1"/>
                          <a:pt x="267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" name="Freeform 234">
                    <a:extLst>
                      <a:ext uri="{FF2B5EF4-FFF2-40B4-BE49-F238E27FC236}">
                        <a16:creationId xmlns:a16="http://schemas.microsoft.com/office/drawing/2014/main" id="{0C505089-8478-BB38-1FD4-69F8CE4D1B2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01250" y="2922588"/>
                    <a:ext cx="79375" cy="60325"/>
                  </a:xfrm>
                  <a:custGeom>
                    <a:avLst/>
                    <a:gdLst>
                      <a:gd name="T0" fmla="*/ 43 w 43"/>
                      <a:gd name="T1" fmla="*/ 20 h 32"/>
                      <a:gd name="T2" fmla="*/ 34 w 43"/>
                      <a:gd name="T3" fmla="*/ 16 h 32"/>
                      <a:gd name="T4" fmla="*/ 26 w 43"/>
                      <a:gd name="T5" fmla="*/ 10 h 32"/>
                      <a:gd name="T6" fmla="*/ 23 w 43"/>
                      <a:gd name="T7" fmla="*/ 7 h 32"/>
                      <a:gd name="T8" fmla="*/ 6 w 43"/>
                      <a:gd name="T9" fmla="*/ 0 h 32"/>
                      <a:gd name="T10" fmla="*/ 7 w 43"/>
                      <a:gd name="T11" fmla="*/ 4 h 32"/>
                      <a:gd name="T12" fmla="*/ 15 w 43"/>
                      <a:gd name="T13" fmla="*/ 9 h 32"/>
                      <a:gd name="T14" fmla="*/ 0 w 43"/>
                      <a:gd name="T15" fmla="*/ 13 h 32"/>
                      <a:gd name="T16" fmla="*/ 2 w 43"/>
                      <a:gd name="T17" fmla="*/ 16 h 32"/>
                      <a:gd name="T18" fmla="*/ 12 w 43"/>
                      <a:gd name="T19" fmla="*/ 15 h 32"/>
                      <a:gd name="T20" fmla="*/ 27 w 43"/>
                      <a:gd name="T21" fmla="*/ 27 h 32"/>
                      <a:gd name="T22" fmla="*/ 24 w 43"/>
                      <a:gd name="T23" fmla="*/ 28 h 32"/>
                      <a:gd name="T24" fmla="*/ 27 w 43"/>
                      <a:gd name="T25" fmla="*/ 32 h 32"/>
                      <a:gd name="T26" fmla="*/ 42 w 43"/>
                      <a:gd name="T27" fmla="*/ 30 h 32"/>
                      <a:gd name="T28" fmla="*/ 43 w 43"/>
                      <a:gd name="T29" fmla="*/ 20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3" h="32">
                        <a:moveTo>
                          <a:pt x="43" y="20"/>
                        </a:moveTo>
                        <a:cubicBezTo>
                          <a:pt x="43" y="20"/>
                          <a:pt x="38" y="18"/>
                          <a:pt x="34" y="16"/>
                        </a:cubicBezTo>
                        <a:cubicBezTo>
                          <a:pt x="30" y="13"/>
                          <a:pt x="26" y="10"/>
                          <a:pt x="26" y="10"/>
                        </a:cubicBezTo>
                        <a:cubicBezTo>
                          <a:pt x="26" y="10"/>
                          <a:pt x="24" y="8"/>
                          <a:pt x="23" y="7"/>
                        </a:cubicBezTo>
                        <a:cubicBezTo>
                          <a:pt x="22" y="7"/>
                          <a:pt x="13" y="3"/>
                          <a:pt x="6" y="0"/>
                        </a:cubicBezTo>
                        <a:cubicBezTo>
                          <a:pt x="5" y="0"/>
                          <a:pt x="6" y="3"/>
                          <a:pt x="7" y="4"/>
                        </a:cubicBezTo>
                        <a:cubicBezTo>
                          <a:pt x="8" y="5"/>
                          <a:pt x="15" y="9"/>
                          <a:pt x="15" y="9"/>
                        </a:cubicBezTo>
                        <a:cubicBezTo>
                          <a:pt x="15" y="9"/>
                          <a:pt x="3" y="12"/>
                          <a:pt x="0" y="13"/>
                        </a:cubicBezTo>
                        <a:cubicBezTo>
                          <a:pt x="0" y="13"/>
                          <a:pt x="1" y="15"/>
                          <a:pt x="2" y="16"/>
                        </a:cubicBezTo>
                        <a:cubicBezTo>
                          <a:pt x="4" y="16"/>
                          <a:pt x="12" y="15"/>
                          <a:pt x="12" y="15"/>
                        </a:cubicBezTo>
                        <a:cubicBezTo>
                          <a:pt x="27" y="27"/>
                          <a:pt x="27" y="27"/>
                          <a:pt x="27" y="27"/>
                        </a:cubicBezTo>
                        <a:cubicBezTo>
                          <a:pt x="24" y="28"/>
                          <a:pt x="24" y="28"/>
                          <a:pt x="24" y="28"/>
                        </a:cubicBezTo>
                        <a:cubicBezTo>
                          <a:pt x="27" y="32"/>
                          <a:pt x="27" y="32"/>
                          <a:pt x="27" y="32"/>
                        </a:cubicBezTo>
                        <a:cubicBezTo>
                          <a:pt x="27" y="32"/>
                          <a:pt x="33" y="32"/>
                          <a:pt x="42" y="30"/>
                        </a:cubicBezTo>
                        <a:lnTo>
                          <a:pt x="43" y="2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54" name="Freeform 180">
                  <a:extLst>
                    <a:ext uri="{FF2B5EF4-FFF2-40B4-BE49-F238E27FC236}">
                      <a16:creationId xmlns:a16="http://schemas.microsoft.com/office/drawing/2014/main" id="{48B76AEC-2BF8-A388-03D8-6FCBA571FC9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532353" y="4827346"/>
                  <a:ext cx="357122" cy="260510"/>
                </a:xfrm>
                <a:custGeom>
                  <a:avLst/>
                  <a:gdLst>
                    <a:gd name="T0" fmla="*/ 308 w 354"/>
                    <a:gd name="T1" fmla="*/ 0 h 259"/>
                    <a:gd name="T2" fmla="*/ 300 w 354"/>
                    <a:gd name="T3" fmla="*/ 0 h 259"/>
                    <a:gd name="T4" fmla="*/ 300 w 354"/>
                    <a:gd name="T5" fmla="*/ 14 h 259"/>
                    <a:gd name="T6" fmla="*/ 283 w 354"/>
                    <a:gd name="T7" fmla="*/ 0 h 259"/>
                    <a:gd name="T8" fmla="*/ 283 w 354"/>
                    <a:gd name="T9" fmla="*/ 0 h 259"/>
                    <a:gd name="T10" fmla="*/ 261 w 354"/>
                    <a:gd name="T11" fmla="*/ 0 h 259"/>
                    <a:gd name="T12" fmla="*/ 262 w 354"/>
                    <a:gd name="T13" fmla="*/ 6 h 259"/>
                    <a:gd name="T14" fmla="*/ 277 w 354"/>
                    <a:gd name="T15" fmla="*/ 12 h 259"/>
                    <a:gd name="T16" fmla="*/ 295 w 354"/>
                    <a:gd name="T17" fmla="*/ 36 h 259"/>
                    <a:gd name="T18" fmla="*/ 292 w 354"/>
                    <a:gd name="T19" fmla="*/ 237 h 259"/>
                    <a:gd name="T20" fmla="*/ 182 w 354"/>
                    <a:gd name="T21" fmla="*/ 111 h 259"/>
                    <a:gd name="T22" fmla="*/ 133 w 354"/>
                    <a:gd name="T23" fmla="*/ 84 h 259"/>
                    <a:gd name="T24" fmla="*/ 84 w 354"/>
                    <a:gd name="T25" fmla="*/ 117 h 259"/>
                    <a:gd name="T26" fmla="*/ 0 w 354"/>
                    <a:gd name="T27" fmla="*/ 259 h 259"/>
                    <a:gd name="T28" fmla="*/ 140 w 354"/>
                    <a:gd name="T29" fmla="*/ 259 h 259"/>
                    <a:gd name="T30" fmla="*/ 147 w 354"/>
                    <a:gd name="T31" fmla="*/ 188 h 259"/>
                    <a:gd name="T32" fmla="*/ 230 w 354"/>
                    <a:gd name="T33" fmla="*/ 259 h 259"/>
                    <a:gd name="T34" fmla="*/ 354 w 354"/>
                    <a:gd name="T35" fmla="*/ 259 h 259"/>
                    <a:gd name="T36" fmla="*/ 312 w 354"/>
                    <a:gd name="T37" fmla="*/ 35 h 259"/>
                    <a:gd name="T38" fmla="*/ 312 w 354"/>
                    <a:gd name="T39" fmla="*/ 24 h 259"/>
                    <a:gd name="T40" fmla="*/ 308 w 354"/>
                    <a:gd name="T41" fmla="*/ 0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4" h="259">
                      <a:moveTo>
                        <a:pt x="308" y="0"/>
                      </a:moveTo>
                      <a:cubicBezTo>
                        <a:pt x="300" y="0"/>
                        <a:pt x="300" y="0"/>
                        <a:pt x="300" y="0"/>
                      </a:cubicBezTo>
                      <a:cubicBezTo>
                        <a:pt x="300" y="14"/>
                        <a:pt x="300" y="14"/>
                        <a:pt x="300" y="14"/>
                      </a:cubicBezTo>
                      <a:cubicBezTo>
                        <a:pt x="300" y="14"/>
                        <a:pt x="288" y="0"/>
                        <a:pt x="283" y="0"/>
                      </a:cubicBezTo>
                      <a:cubicBezTo>
                        <a:pt x="283" y="0"/>
                        <a:pt x="283" y="0"/>
                        <a:pt x="283" y="0"/>
                      </a:cubicBezTo>
                      <a:cubicBezTo>
                        <a:pt x="279" y="0"/>
                        <a:pt x="261" y="0"/>
                        <a:pt x="261" y="0"/>
                      </a:cubicBezTo>
                      <a:cubicBezTo>
                        <a:pt x="261" y="0"/>
                        <a:pt x="258" y="5"/>
                        <a:pt x="262" y="6"/>
                      </a:cubicBezTo>
                      <a:cubicBezTo>
                        <a:pt x="263" y="6"/>
                        <a:pt x="273" y="10"/>
                        <a:pt x="277" y="12"/>
                      </a:cubicBezTo>
                      <a:cubicBezTo>
                        <a:pt x="295" y="36"/>
                        <a:pt x="295" y="36"/>
                        <a:pt x="295" y="36"/>
                      </a:cubicBezTo>
                      <a:cubicBezTo>
                        <a:pt x="292" y="237"/>
                        <a:pt x="292" y="237"/>
                        <a:pt x="292" y="237"/>
                      </a:cubicBezTo>
                      <a:cubicBezTo>
                        <a:pt x="241" y="180"/>
                        <a:pt x="189" y="121"/>
                        <a:pt x="182" y="111"/>
                      </a:cubicBezTo>
                      <a:cubicBezTo>
                        <a:pt x="174" y="99"/>
                        <a:pt x="155" y="84"/>
                        <a:pt x="133" y="84"/>
                      </a:cubicBezTo>
                      <a:cubicBezTo>
                        <a:pt x="117" y="84"/>
                        <a:pt x="99" y="93"/>
                        <a:pt x="84" y="117"/>
                      </a:cubicBezTo>
                      <a:cubicBezTo>
                        <a:pt x="61" y="155"/>
                        <a:pt x="26" y="213"/>
                        <a:pt x="0" y="259"/>
                      </a:cubicBezTo>
                      <a:cubicBezTo>
                        <a:pt x="140" y="259"/>
                        <a:pt x="140" y="259"/>
                        <a:pt x="140" y="259"/>
                      </a:cubicBezTo>
                      <a:cubicBezTo>
                        <a:pt x="144" y="231"/>
                        <a:pt x="146" y="205"/>
                        <a:pt x="147" y="188"/>
                      </a:cubicBezTo>
                      <a:cubicBezTo>
                        <a:pt x="230" y="259"/>
                        <a:pt x="230" y="259"/>
                        <a:pt x="230" y="259"/>
                      </a:cubicBezTo>
                      <a:cubicBezTo>
                        <a:pt x="354" y="259"/>
                        <a:pt x="354" y="259"/>
                        <a:pt x="354" y="259"/>
                      </a:cubicBezTo>
                      <a:cubicBezTo>
                        <a:pt x="345" y="166"/>
                        <a:pt x="312" y="35"/>
                        <a:pt x="312" y="35"/>
                      </a:cubicBezTo>
                      <a:cubicBezTo>
                        <a:pt x="312" y="35"/>
                        <a:pt x="313" y="29"/>
                        <a:pt x="312" y="24"/>
                      </a:cubicBezTo>
                      <a:cubicBezTo>
                        <a:pt x="310" y="13"/>
                        <a:pt x="308" y="0"/>
                        <a:pt x="308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11" name="Group 5">
                <a:extLst>
                  <a:ext uri="{FF2B5EF4-FFF2-40B4-BE49-F238E27FC236}">
                    <a16:creationId xmlns:a16="http://schemas.microsoft.com/office/drawing/2014/main" id="{DA5AC0CF-B65A-1B92-C551-F5F718C036D5}"/>
                  </a:ext>
                </a:extLst>
              </p:cNvPr>
              <p:cNvGrpSpPr/>
              <p:nvPr/>
            </p:nvGrpSpPr>
            <p:grpSpPr>
              <a:xfrm>
                <a:off x="3081113" y="3935198"/>
                <a:ext cx="1695948" cy="1162398"/>
                <a:chOff x="3081113" y="3935198"/>
                <a:chExt cx="1695948" cy="1162398"/>
              </a:xfrm>
            </p:grpSpPr>
            <p:grpSp>
              <p:nvGrpSpPr>
                <p:cNvPr id="12" name="Group 1051">
                  <a:extLst>
                    <a:ext uri="{FF2B5EF4-FFF2-40B4-BE49-F238E27FC236}">
                      <a16:creationId xmlns:a16="http://schemas.microsoft.com/office/drawing/2014/main" id="{5E60BF82-6F4F-3C9D-C828-13E76FDEBBE4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096850" y="3935198"/>
                  <a:ext cx="947456" cy="851698"/>
                  <a:chOff x="6978651" y="4723607"/>
                  <a:chExt cx="1931987" cy="1736725"/>
                </a:xfrm>
              </p:grpSpPr>
              <p:sp>
                <p:nvSpPr>
                  <p:cNvPr id="38" name="Freeform 280">
                    <a:extLst>
                      <a:ext uri="{FF2B5EF4-FFF2-40B4-BE49-F238E27FC236}">
                        <a16:creationId xmlns:a16="http://schemas.microsoft.com/office/drawing/2014/main" id="{1CE452E7-52C8-BCDC-36C6-907C0BF48BB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075488" y="5322095"/>
                    <a:ext cx="139700" cy="82550"/>
                  </a:xfrm>
                  <a:custGeom>
                    <a:avLst/>
                    <a:gdLst>
                      <a:gd name="T0" fmla="*/ 71 w 71"/>
                      <a:gd name="T1" fmla="*/ 40 h 42"/>
                      <a:gd name="T2" fmla="*/ 60 w 71"/>
                      <a:gd name="T3" fmla="*/ 42 h 42"/>
                      <a:gd name="T4" fmla="*/ 47 w 71"/>
                      <a:gd name="T5" fmla="*/ 39 h 42"/>
                      <a:gd name="T6" fmla="*/ 42 w 71"/>
                      <a:gd name="T7" fmla="*/ 33 h 42"/>
                      <a:gd name="T8" fmla="*/ 45 w 71"/>
                      <a:gd name="T9" fmla="*/ 31 h 42"/>
                      <a:gd name="T10" fmla="*/ 19 w 71"/>
                      <a:gd name="T11" fmla="*/ 13 h 42"/>
                      <a:gd name="T12" fmla="*/ 4 w 71"/>
                      <a:gd name="T13" fmla="*/ 14 h 42"/>
                      <a:gd name="T14" fmla="*/ 1 w 71"/>
                      <a:gd name="T15" fmla="*/ 11 h 42"/>
                      <a:gd name="T16" fmla="*/ 21 w 71"/>
                      <a:gd name="T17" fmla="*/ 5 h 42"/>
                      <a:gd name="T18" fmla="*/ 35 w 71"/>
                      <a:gd name="T19" fmla="*/ 2 h 42"/>
                      <a:gd name="T20" fmla="*/ 40 w 71"/>
                      <a:gd name="T21" fmla="*/ 6 h 42"/>
                      <a:gd name="T22" fmla="*/ 68 w 71"/>
                      <a:gd name="T23" fmla="*/ 21 h 42"/>
                      <a:gd name="T24" fmla="*/ 71 w 71"/>
                      <a:gd name="T25" fmla="*/ 40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71" h="42">
                        <a:moveTo>
                          <a:pt x="71" y="40"/>
                        </a:moveTo>
                        <a:cubicBezTo>
                          <a:pt x="71" y="40"/>
                          <a:pt x="63" y="42"/>
                          <a:pt x="60" y="42"/>
                        </a:cubicBezTo>
                        <a:cubicBezTo>
                          <a:pt x="49" y="42"/>
                          <a:pt x="47" y="39"/>
                          <a:pt x="47" y="39"/>
                        </a:cubicBezTo>
                        <a:cubicBezTo>
                          <a:pt x="42" y="33"/>
                          <a:pt x="42" y="33"/>
                          <a:pt x="42" y="33"/>
                        </a:cubicBezTo>
                        <a:cubicBezTo>
                          <a:pt x="45" y="31"/>
                          <a:pt x="45" y="31"/>
                          <a:pt x="45" y="31"/>
                        </a:cubicBezTo>
                        <a:cubicBezTo>
                          <a:pt x="19" y="13"/>
                          <a:pt x="19" y="13"/>
                          <a:pt x="19" y="13"/>
                        </a:cubicBezTo>
                        <a:cubicBezTo>
                          <a:pt x="19" y="13"/>
                          <a:pt x="6" y="15"/>
                          <a:pt x="4" y="14"/>
                        </a:cubicBezTo>
                        <a:cubicBezTo>
                          <a:pt x="2" y="14"/>
                          <a:pt x="0" y="11"/>
                          <a:pt x="1" y="11"/>
                        </a:cubicBezTo>
                        <a:cubicBezTo>
                          <a:pt x="5" y="9"/>
                          <a:pt x="21" y="5"/>
                          <a:pt x="21" y="5"/>
                        </a:cubicBezTo>
                        <a:cubicBezTo>
                          <a:pt x="21" y="5"/>
                          <a:pt x="32" y="0"/>
                          <a:pt x="35" y="2"/>
                        </a:cubicBezTo>
                        <a:cubicBezTo>
                          <a:pt x="38" y="3"/>
                          <a:pt x="40" y="6"/>
                          <a:pt x="40" y="6"/>
                        </a:cubicBezTo>
                        <a:cubicBezTo>
                          <a:pt x="68" y="21"/>
                          <a:pt x="68" y="21"/>
                          <a:pt x="68" y="21"/>
                        </a:cubicBezTo>
                        <a:lnTo>
                          <a:pt x="71" y="4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" name="Freeform 281">
                    <a:extLst>
                      <a:ext uri="{FF2B5EF4-FFF2-40B4-BE49-F238E27FC236}">
                        <a16:creationId xmlns:a16="http://schemas.microsoft.com/office/drawing/2014/main" id="{84143AFD-4B08-CDC2-8D7F-E14E751F23B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978651" y="4955382"/>
                    <a:ext cx="785813" cy="319088"/>
                  </a:xfrm>
                  <a:custGeom>
                    <a:avLst/>
                    <a:gdLst>
                      <a:gd name="T0" fmla="*/ 400 w 400"/>
                      <a:gd name="T1" fmla="*/ 96 h 163"/>
                      <a:gd name="T2" fmla="*/ 199 w 400"/>
                      <a:gd name="T3" fmla="*/ 146 h 163"/>
                      <a:gd name="T4" fmla="*/ 21 w 400"/>
                      <a:gd name="T5" fmla="*/ 163 h 163"/>
                      <a:gd name="T6" fmla="*/ 0 w 400"/>
                      <a:gd name="T7" fmla="*/ 142 h 163"/>
                      <a:gd name="T8" fmla="*/ 188 w 400"/>
                      <a:gd name="T9" fmla="*/ 100 h 163"/>
                      <a:gd name="T10" fmla="*/ 342 w 400"/>
                      <a:gd name="T11" fmla="*/ 0 h 163"/>
                      <a:gd name="T12" fmla="*/ 400 w 400"/>
                      <a:gd name="T13" fmla="*/ 96 h 1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00" h="163">
                        <a:moveTo>
                          <a:pt x="400" y="96"/>
                        </a:moveTo>
                        <a:cubicBezTo>
                          <a:pt x="400" y="96"/>
                          <a:pt x="268" y="137"/>
                          <a:pt x="199" y="146"/>
                        </a:cubicBezTo>
                        <a:cubicBezTo>
                          <a:pt x="130" y="154"/>
                          <a:pt x="21" y="163"/>
                          <a:pt x="21" y="163"/>
                        </a:cubicBezTo>
                        <a:cubicBezTo>
                          <a:pt x="21" y="163"/>
                          <a:pt x="0" y="151"/>
                          <a:pt x="0" y="142"/>
                        </a:cubicBezTo>
                        <a:cubicBezTo>
                          <a:pt x="59" y="127"/>
                          <a:pt x="141" y="104"/>
                          <a:pt x="188" y="100"/>
                        </a:cubicBezTo>
                        <a:cubicBezTo>
                          <a:pt x="246" y="73"/>
                          <a:pt x="342" y="0"/>
                          <a:pt x="342" y="0"/>
                        </a:cubicBezTo>
                        <a:lnTo>
                          <a:pt x="400" y="96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" name="Freeform 282">
                    <a:extLst>
                      <a:ext uri="{FF2B5EF4-FFF2-40B4-BE49-F238E27FC236}">
                        <a16:creationId xmlns:a16="http://schemas.microsoft.com/office/drawing/2014/main" id="{3C64BFBD-78D8-F6DE-C308-B973DCCDD51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135938" y="5620545"/>
                    <a:ext cx="774700" cy="719138"/>
                  </a:xfrm>
                  <a:custGeom>
                    <a:avLst/>
                    <a:gdLst>
                      <a:gd name="T0" fmla="*/ 17 w 394"/>
                      <a:gd name="T1" fmla="*/ 40 h 367"/>
                      <a:gd name="T2" fmla="*/ 146 w 394"/>
                      <a:gd name="T3" fmla="*/ 44 h 367"/>
                      <a:gd name="T4" fmla="*/ 173 w 394"/>
                      <a:gd name="T5" fmla="*/ 241 h 367"/>
                      <a:gd name="T6" fmla="*/ 349 w 394"/>
                      <a:gd name="T7" fmla="*/ 73 h 367"/>
                      <a:gd name="T8" fmla="*/ 391 w 394"/>
                      <a:gd name="T9" fmla="*/ 85 h 367"/>
                      <a:gd name="T10" fmla="*/ 206 w 394"/>
                      <a:gd name="T11" fmla="*/ 317 h 367"/>
                      <a:gd name="T12" fmla="*/ 106 w 394"/>
                      <a:gd name="T13" fmla="*/ 306 h 367"/>
                      <a:gd name="T14" fmla="*/ 0 w 394"/>
                      <a:gd name="T15" fmla="*/ 104 h 367"/>
                      <a:gd name="T16" fmla="*/ 17 w 394"/>
                      <a:gd name="T17" fmla="*/ 40 h 3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394" h="367">
                        <a:moveTo>
                          <a:pt x="17" y="40"/>
                        </a:moveTo>
                        <a:cubicBezTo>
                          <a:pt x="17" y="40"/>
                          <a:pt x="130" y="0"/>
                          <a:pt x="146" y="44"/>
                        </a:cubicBezTo>
                        <a:cubicBezTo>
                          <a:pt x="163" y="91"/>
                          <a:pt x="172" y="182"/>
                          <a:pt x="173" y="241"/>
                        </a:cubicBezTo>
                        <a:cubicBezTo>
                          <a:pt x="349" y="73"/>
                          <a:pt x="349" y="73"/>
                          <a:pt x="349" y="73"/>
                        </a:cubicBezTo>
                        <a:cubicBezTo>
                          <a:pt x="349" y="73"/>
                          <a:pt x="394" y="80"/>
                          <a:pt x="391" y="85"/>
                        </a:cubicBezTo>
                        <a:cubicBezTo>
                          <a:pt x="342" y="150"/>
                          <a:pt x="218" y="300"/>
                          <a:pt x="206" y="317"/>
                        </a:cubicBezTo>
                        <a:cubicBezTo>
                          <a:pt x="191" y="337"/>
                          <a:pt x="140" y="367"/>
                          <a:pt x="106" y="306"/>
                        </a:cubicBezTo>
                        <a:cubicBezTo>
                          <a:pt x="72" y="246"/>
                          <a:pt x="20" y="143"/>
                          <a:pt x="0" y="104"/>
                        </a:cubicBezTo>
                        <a:cubicBezTo>
                          <a:pt x="151" y="97"/>
                          <a:pt x="17" y="40"/>
                          <a:pt x="17" y="4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" name="Freeform 283">
                    <a:extLst>
                      <a:ext uri="{FF2B5EF4-FFF2-40B4-BE49-F238E27FC236}">
                        <a16:creationId xmlns:a16="http://schemas.microsoft.com/office/drawing/2014/main" id="{FF3A9403-AED5-CFF8-CB12-05C9B1F0722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6813" y="4979195"/>
                    <a:ext cx="476250" cy="577850"/>
                  </a:xfrm>
                  <a:custGeom>
                    <a:avLst/>
                    <a:gdLst>
                      <a:gd name="T0" fmla="*/ 242 w 242"/>
                      <a:gd name="T1" fmla="*/ 295 h 295"/>
                      <a:gd name="T2" fmla="*/ 171 w 242"/>
                      <a:gd name="T3" fmla="*/ 242 h 295"/>
                      <a:gd name="T4" fmla="*/ 64 w 242"/>
                      <a:gd name="T5" fmla="*/ 159 h 295"/>
                      <a:gd name="T6" fmla="*/ 35 w 242"/>
                      <a:gd name="T7" fmla="*/ 0 h 295"/>
                      <a:gd name="T8" fmla="*/ 242 w 242"/>
                      <a:gd name="T9" fmla="*/ 295 h 2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2" h="295">
                        <a:moveTo>
                          <a:pt x="242" y="295"/>
                        </a:moveTo>
                        <a:cubicBezTo>
                          <a:pt x="242" y="295"/>
                          <a:pt x="196" y="254"/>
                          <a:pt x="171" y="242"/>
                        </a:cubicBezTo>
                        <a:cubicBezTo>
                          <a:pt x="130" y="221"/>
                          <a:pt x="93" y="197"/>
                          <a:pt x="64" y="159"/>
                        </a:cubicBezTo>
                        <a:cubicBezTo>
                          <a:pt x="0" y="74"/>
                          <a:pt x="35" y="0"/>
                          <a:pt x="35" y="0"/>
                        </a:cubicBezTo>
                        <a:cubicBezTo>
                          <a:pt x="242" y="295"/>
                          <a:pt x="242" y="295"/>
                          <a:pt x="242" y="295"/>
                        </a:cubicBezTo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2" name="Freeform 284">
                    <a:extLst>
                      <a:ext uri="{FF2B5EF4-FFF2-40B4-BE49-F238E27FC236}">
                        <a16:creationId xmlns:a16="http://schemas.microsoft.com/office/drawing/2014/main" id="{E4F96AE8-6AC4-55F6-377C-56792F3FCC5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66026" y="4920457"/>
                    <a:ext cx="841375" cy="669925"/>
                  </a:xfrm>
                  <a:custGeom>
                    <a:avLst/>
                    <a:gdLst>
                      <a:gd name="T0" fmla="*/ 231 w 428"/>
                      <a:gd name="T1" fmla="*/ 342 h 342"/>
                      <a:gd name="T2" fmla="*/ 52 w 428"/>
                      <a:gd name="T3" fmla="*/ 161 h 342"/>
                      <a:gd name="T4" fmla="*/ 7 w 428"/>
                      <a:gd name="T5" fmla="*/ 36 h 342"/>
                      <a:gd name="T6" fmla="*/ 46 w 428"/>
                      <a:gd name="T7" fmla="*/ 0 h 342"/>
                      <a:gd name="T8" fmla="*/ 238 w 428"/>
                      <a:gd name="T9" fmla="*/ 76 h 342"/>
                      <a:gd name="T10" fmla="*/ 428 w 428"/>
                      <a:gd name="T11" fmla="*/ 295 h 342"/>
                      <a:gd name="T12" fmla="*/ 231 w 428"/>
                      <a:gd name="T13" fmla="*/ 342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28" h="342">
                        <a:moveTo>
                          <a:pt x="231" y="342"/>
                        </a:moveTo>
                        <a:cubicBezTo>
                          <a:pt x="231" y="342"/>
                          <a:pt x="137" y="240"/>
                          <a:pt x="52" y="161"/>
                        </a:cubicBezTo>
                        <a:cubicBezTo>
                          <a:pt x="0" y="114"/>
                          <a:pt x="7" y="36"/>
                          <a:pt x="7" y="36"/>
                        </a:cubicBezTo>
                        <a:cubicBezTo>
                          <a:pt x="7" y="36"/>
                          <a:pt x="26" y="6"/>
                          <a:pt x="46" y="0"/>
                        </a:cubicBezTo>
                        <a:cubicBezTo>
                          <a:pt x="83" y="5"/>
                          <a:pt x="171" y="13"/>
                          <a:pt x="238" y="76"/>
                        </a:cubicBezTo>
                        <a:cubicBezTo>
                          <a:pt x="333" y="166"/>
                          <a:pt x="428" y="295"/>
                          <a:pt x="428" y="295"/>
                        </a:cubicBezTo>
                        <a:cubicBezTo>
                          <a:pt x="231" y="342"/>
                          <a:pt x="231" y="342"/>
                          <a:pt x="231" y="342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3" name="Freeform 285">
                    <a:extLst>
                      <a:ext uri="{FF2B5EF4-FFF2-40B4-BE49-F238E27FC236}">
                        <a16:creationId xmlns:a16="http://schemas.microsoft.com/office/drawing/2014/main" id="{C49A5855-1BD6-B006-3C70-FB8AF908631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704138" y="5168107"/>
                    <a:ext cx="355600" cy="409575"/>
                  </a:xfrm>
                  <a:custGeom>
                    <a:avLst/>
                    <a:gdLst>
                      <a:gd name="T0" fmla="*/ 0 w 181"/>
                      <a:gd name="T1" fmla="*/ 0 h 208"/>
                      <a:gd name="T2" fmla="*/ 88 w 181"/>
                      <a:gd name="T3" fmla="*/ 99 h 208"/>
                      <a:gd name="T4" fmla="*/ 164 w 181"/>
                      <a:gd name="T5" fmla="*/ 205 h 208"/>
                      <a:gd name="T6" fmla="*/ 181 w 181"/>
                      <a:gd name="T7" fmla="*/ 208 h 208"/>
                      <a:gd name="T8" fmla="*/ 88 w 181"/>
                      <a:gd name="T9" fmla="*/ 91 h 208"/>
                      <a:gd name="T10" fmla="*/ 0 w 181"/>
                      <a:gd name="T11" fmla="*/ 0 h 2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81" h="208">
                        <a:moveTo>
                          <a:pt x="0" y="0"/>
                        </a:moveTo>
                        <a:cubicBezTo>
                          <a:pt x="0" y="0"/>
                          <a:pt x="35" y="72"/>
                          <a:pt x="88" y="99"/>
                        </a:cubicBezTo>
                        <a:cubicBezTo>
                          <a:pt x="137" y="123"/>
                          <a:pt x="164" y="205"/>
                          <a:pt x="164" y="205"/>
                        </a:cubicBezTo>
                        <a:cubicBezTo>
                          <a:pt x="181" y="208"/>
                          <a:pt x="181" y="208"/>
                          <a:pt x="181" y="208"/>
                        </a:cubicBezTo>
                        <a:cubicBezTo>
                          <a:pt x="181" y="208"/>
                          <a:pt x="140" y="131"/>
                          <a:pt x="88" y="91"/>
                        </a:cubicBezTo>
                        <a:cubicBezTo>
                          <a:pt x="36" y="5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A0C9DC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4" name="Freeform 286">
                    <a:extLst>
                      <a:ext uri="{FF2B5EF4-FFF2-40B4-BE49-F238E27FC236}">
                        <a16:creationId xmlns:a16="http://schemas.microsoft.com/office/drawing/2014/main" id="{8F58FFCF-EB3F-1C93-D904-D37AADD99A3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602538" y="4922045"/>
                    <a:ext cx="82550" cy="117475"/>
                  </a:xfrm>
                  <a:custGeom>
                    <a:avLst/>
                    <a:gdLst>
                      <a:gd name="T0" fmla="*/ 36 w 42"/>
                      <a:gd name="T1" fmla="*/ 0 h 60"/>
                      <a:gd name="T2" fmla="*/ 42 w 42"/>
                      <a:gd name="T3" fmla="*/ 4 h 60"/>
                      <a:gd name="T4" fmla="*/ 36 w 42"/>
                      <a:gd name="T5" fmla="*/ 52 h 60"/>
                      <a:gd name="T6" fmla="*/ 0 w 42"/>
                      <a:gd name="T7" fmla="*/ 47 h 60"/>
                      <a:gd name="T8" fmla="*/ 36 w 42"/>
                      <a:gd name="T9" fmla="*/ 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2" h="60">
                        <a:moveTo>
                          <a:pt x="36" y="0"/>
                        </a:moveTo>
                        <a:cubicBezTo>
                          <a:pt x="42" y="4"/>
                          <a:pt x="42" y="4"/>
                          <a:pt x="42" y="4"/>
                        </a:cubicBezTo>
                        <a:cubicBezTo>
                          <a:pt x="36" y="52"/>
                          <a:pt x="36" y="52"/>
                          <a:pt x="36" y="52"/>
                        </a:cubicBezTo>
                        <a:cubicBezTo>
                          <a:pt x="36" y="52"/>
                          <a:pt x="23" y="60"/>
                          <a:pt x="0" y="47"/>
                        </a:cubicBezTo>
                        <a:cubicBezTo>
                          <a:pt x="21" y="35"/>
                          <a:pt x="36" y="0"/>
                          <a:pt x="36" y="0"/>
                        </a:cubicBezTo>
                        <a:close/>
                      </a:path>
                    </a:pathLst>
                  </a:custGeom>
                  <a:solidFill>
                    <a:srgbClr val="1D99B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5" name="Freeform 287">
                    <a:extLst>
                      <a:ext uri="{FF2B5EF4-FFF2-40B4-BE49-F238E27FC236}">
                        <a16:creationId xmlns:a16="http://schemas.microsoft.com/office/drawing/2014/main" id="{50C3CB88-FB50-6789-BE7E-DFD02515D67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89838" y="5015707"/>
                    <a:ext cx="503238" cy="488950"/>
                  </a:xfrm>
                  <a:custGeom>
                    <a:avLst/>
                    <a:gdLst>
                      <a:gd name="T0" fmla="*/ 6 w 256"/>
                      <a:gd name="T1" fmla="*/ 0 h 249"/>
                      <a:gd name="T2" fmla="*/ 0 w 256"/>
                      <a:gd name="T3" fmla="*/ 10 h 249"/>
                      <a:gd name="T4" fmla="*/ 10 w 256"/>
                      <a:gd name="T5" fmla="*/ 24 h 249"/>
                      <a:gd name="T6" fmla="*/ 37 w 256"/>
                      <a:gd name="T7" fmla="*/ 123 h 249"/>
                      <a:gd name="T8" fmla="*/ 222 w 256"/>
                      <a:gd name="T9" fmla="*/ 249 h 249"/>
                      <a:gd name="T10" fmla="*/ 256 w 256"/>
                      <a:gd name="T11" fmla="*/ 231 h 249"/>
                      <a:gd name="T12" fmla="*/ 235 w 256"/>
                      <a:gd name="T13" fmla="*/ 193 h 249"/>
                      <a:gd name="T14" fmla="*/ 56 w 256"/>
                      <a:gd name="T15" fmla="*/ 106 h 249"/>
                      <a:gd name="T16" fmla="*/ 18 w 256"/>
                      <a:gd name="T17" fmla="*/ 21 h 249"/>
                      <a:gd name="T18" fmla="*/ 27 w 256"/>
                      <a:gd name="T19" fmla="*/ 6 h 249"/>
                      <a:gd name="T20" fmla="*/ 6 w 256"/>
                      <a:gd name="T21" fmla="*/ 0 h 2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56" h="249">
                        <a:moveTo>
                          <a:pt x="6" y="0"/>
                        </a:moveTo>
                        <a:cubicBezTo>
                          <a:pt x="6" y="0"/>
                          <a:pt x="2" y="4"/>
                          <a:pt x="0" y="10"/>
                        </a:cubicBezTo>
                        <a:cubicBezTo>
                          <a:pt x="3" y="16"/>
                          <a:pt x="10" y="24"/>
                          <a:pt x="10" y="24"/>
                        </a:cubicBezTo>
                        <a:cubicBezTo>
                          <a:pt x="10" y="24"/>
                          <a:pt x="6" y="73"/>
                          <a:pt x="37" y="123"/>
                        </a:cubicBezTo>
                        <a:cubicBezTo>
                          <a:pt x="84" y="200"/>
                          <a:pt x="222" y="249"/>
                          <a:pt x="222" y="249"/>
                        </a:cubicBezTo>
                        <a:cubicBezTo>
                          <a:pt x="256" y="231"/>
                          <a:pt x="256" y="231"/>
                          <a:pt x="256" y="231"/>
                        </a:cubicBezTo>
                        <a:cubicBezTo>
                          <a:pt x="235" y="193"/>
                          <a:pt x="235" y="193"/>
                          <a:pt x="235" y="193"/>
                        </a:cubicBezTo>
                        <a:cubicBezTo>
                          <a:pt x="235" y="193"/>
                          <a:pt x="111" y="175"/>
                          <a:pt x="56" y="106"/>
                        </a:cubicBezTo>
                        <a:cubicBezTo>
                          <a:pt x="18" y="58"/>
                          <a:pt x="18" y="21"/>
                          <a:pt x="18" y="21"/>
                        </a:cubicBezTo>
                        <a:cubicBezTo>
                          <a:pt x="18" y="21"/>
                          <a:pt x="24" y="13"/>
                          <a:pt x="27" y="6"/>
                        </a:cubicBezTo>
                        <a:cubicBezTo>
                          <a:pt x="15" y="5"/>
                          <a:pt x="6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6" name="Freeform 288">
                    <a:extLst>
                      <a:ext uri="{FF2B5EF4-FFF2-40B4-BE49-F238E27FC236}">
                        <a16:creationId xmlns:a16="http://schemas.microsoft.com/office/drawing/2014/main" id="{456CCF1D-2808-E757-BF7D-488632A1F4E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67601" y="4853782"/>
                    <a:ext cx="206375" cy="160338"/>
                  </a:xfrm>
                  <a:custGeom>
                    <a:avLst/>
                    <a:gdLst>
                      <a:gd name="T0" fmla="*/ 105 w 105"/>
                      <a:gd name="T1" fmla="*/ 35 h 82"/>
                      <a:gd name="T2" fmla="*/ 93 w 105"/>
                      <a:gd name="T3" fmla="*/ 22 h 82"/>
                      <a:gd name="T4" fmla="*/ 67 w 105"/>
                      <a:gd name="T5" fmla="*/ 0 h 82"/>
                      <a:gd name="T6" fmla="*/ 54 w 105"/>
                      <a:gd name="T7" fmla="*/ 34 h 82"/>
                      <a:gd name="T8" fmla="*/ 34 w 105"/>
                      <a:gd name="T9" fmla="*/ 55 h 82"/>
                      <a:gd name="T10" fmla="*/ 0 w 105"/>
                      <a:gd name="T11" fmla="*/ 56 h 82"/>
                      <a:gd name="T12" fmla="*/ 69 w 105"/>
                      <a:gd name="T13" fmla="*/ 82 h 82"/>
                      <a:gd name="T14" fmla="*/ 105 w 105"/>
                      <a:gd name="T15" fmla="*/ 35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5" h="82">
                        <a:moveTo>
                          <a:pt x="105" y="35"/>
                        </a:moveTo>
                        <a:cubicBezTo>
                          <a:pt x="99" y="32"/>
                          <a:pt x="93" y="22"/>
                          <a:pt x="93" y="22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67" y="0"/>
                          <a:pt x="57" y="21"/>
                          <a:pt x="54" y="34"/>
                        </a:cubicBezTo>
                        <a:cubicBezTo>
                          <a:pt x="52" y="46"/>
                          <a:pt x="39" y="54"/>
                          <a:pt x="34" y="55"/>
                        </a:cubicBezTo>
                        <a:cubicBezTo>
                          <a:pt x="22" y="56"/>
                          <a:pt x="0" y="56"/>
                          <a:pt x="0" y="56"/>
                        </a:cubicBezTo>
                        <a:cubicBezTo>
                          <a:pt x="0" y="56"/>
                          <a:pt x="50" y="69"/>
                          <a:pt x="69" y="82"/>
                        </a:cubicBezTo>
                        <a:cubicBezTo>
                          <a:pt x="91" y="67"/>
                          <a:pt x="101" y="42"/>
                          <a:pt x="105" y="35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7" name="Freeform 289">
                    <a:extLst>
                      <a:ext uri="{FF2B5EF4-FFF2-40B4-BE49-F238E27FC236}">
                        <a16:creationId xmlns:a16="http://schemas.microsoft.com/office/drawing/2014/main" id="{AFA0F372-3CC7-439F-526D-83816770C34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50138" y="4755357"/>
                    <a:ext cx="163513" cy="207963"/>
                  </a:xfrm>
                  <a:custGeom>
                    <a:avLst/>
                    <a:gdLst>
                      <a:gd name="T0" fmla="*/ 9 w 83"/>
                      <a:gd name="T1" fmla="*/ 106 h 106"/>
                      <a:gd name="T2" fmla="*/ 47 w 83"/>
                      <a:gd name="T3" fmla="*/ 105 h 106"/>
                      <a:gd name="T4" fmla="*/ 62 w 83"/>
                      <a:gd name="T5" fmla="*/ 91 h 106"/>
                      <a:gd name="T6" fmla="*/ 69 w 83"/>
                      <a:gd name="T7" fmla="*/ 69 h 106"/>
                      <a:gd name="T8" fmla="*/ 78 w 83"/>
                      <a:gd name="T9" fmla="*/ 62 h 106"/>
                      <a:gd name="T10" fmla="*/ 73 w 83"/>
                      <a:gd name="T11" fmla="*/ 48 h 106"/>
                      <a:gd name="T12" fmla="*/ 70 w 83"/>
                      <a:gd name="T13" fmla="*/ 6 h 106"/>
                      <a:gd name="T14" fmla="*/ 50 w 83"/>
                      <a:gd name="T15" fmla="*/ 0 h 106"/>
                      <a:gd name="T16" fmla="*/ 32 w 83"/>
                      <a:gd name="T17" fmla="*/ 10 h 106"/>
                      <a:gd name="T18" fmla="*/ 0 w 83"/>
                      <a:gd name="T19" fmla="*/ 60 h 106"/>
                      <a:gd name="T20" fmla="*/ 4 w 83"/>
                      <a:gd name="T21" fmla="*/ 63 h 106"/>
                      <a:gd name="T22" fmla="*/ 12 w 83"/>
                      <a:gd name="T23" fmla="*/ 65 h 106"/>
                      <a:gd name="T24" fmla="*/ 8 w 83"/>
                      <a:gd name="T25" fmla="*/ 105 h 106"/>
                      <a:gd name="T26" fmla="*/ 9 w 83"/>
                      <a:gd name="T27" fmla="*/ 106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83" h="106">
                        <a:moveTo>
                          <a:pt x="9" y="106"/>
                        </a:moveTo>
                        <a:cubicBezTo>
                          <a:pt x="19" y="106"/>
                          <a:pt x="38" y="106"/>
                          <a:pt x="47" y="105"/>
                        </a:cubicBezTo>
                        <a:cubicBezTo>
                          <a:pt x="60" y="104"/>
                          <a:pt x="62" y="91"/>
                          <a:pt x="62" y="91"/>
                        </a:cubicBezTo>
                        <a:cubicBezTo>
                          <a:pt x="69" y="69"/>
                          <a:pt x="69" y="69"/>
                          <a:pt x="69" y="69"/>
                        </a:cubicBezTo>
                        <a:cubicBezTo>
                          <a:pt x="69" y="69"/>
                          <a:pt x="74" y="67"/>
                          <a:pt x="78" y="62"/>
                        </a:cubicBezTo>
                        <a:cubicBezTo>
                          <a:pt x="80" y="60"/>
                          <a:pt x="83" y="52"/>
                          <a:pt x="73" y="48"/>
                        </a:cubicBezTo>
                        <a:cubicBezTo>
                          <a:pt x="58" y="42"/>
                          <a:pt x="70" y="6"/>
                          <a:pt x="70" y="6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0" y="60"/>
                          <a:pt x="0" y="63"/>
                          <a:pt x="4" y="63"/>
                        </a:cubicBezTo>
                        <a:cubicBezTo>
                          <a:pt x="7" y="63"/>
                          <a:pt x="12" y="65"/>
                          <a:pt x="12" y="65"/>
                        </a:cubicBezTo>
                        <a:cubicBezTo>
                          <a:pt x="12" y="65"/>
                          <a:pt x="8" y="102"/>
                          <a:pt x="8" y="105"/>
                        </a:cubicBezTo>
                        <a:cubicBezTo>
                          <a:pt x="8" y="106"/>
                          <a:pt x="9" y="106"/>
                          <a:pt x="9" y="106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8" name="Freeform 290">
                    <a:extLst>
                      <a:ext uri="{FF2B5EF4-FFF2-40B4-BE49-F238E27FC236}">
                        <a16:creationId xmlns:a16="http://schemas.microsoft.com/office/drawing/2014/main" id="{9C8A1596-A462-7E74-1D16-A921226A306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91413" y="4823620"/>
                    <a:ext cx="33338" cy="17463"/>
                  </a:xfrm>
                  <a:custGeom>
                    <a:avLst/>
                    <a:gdLst>
                      <a:gd name="T0" fmla="*/ 1 w 17"/>
                      <a:gd name="T1" fmla="*/ 6 h 9"/>
                      <a:gd name="T2" fmla="*/ 4 w 17"/>
                      <a:gd name="T3" fmla="*/ 9 h 9"/>
                      <a:gd name="T4" fmla="*/ 15 w 17"/>
                      <a:gd name="T5" fmla="*/ 8 h 9"/>
                      <a:gd name="T6" fmla="*/ 2 w 17"/>
                      <a:gd name="T7" fmla="*/ 2 h 9"/>
                      <a:gd name="T8" fmla="*/ 1 w 17"/>
                      <a:gd name="T9" fmla="*/ 6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7" h="9">
                        <a:moveTo>
                          <a:pt x="1" y="6"/>
                        </a:moveTo>
                        <a:cubicBezTo>
                          <a:pt x="1" y="9"/>
                          <a:pt x="1" y="9"/>
                          <a:pt x="4" y="9"/>
                        </a:cubicBezTo>
                        <a:cubicBezTo>
                          <a:pt x="7" y="9"/>
                          <a:pt x="17" y="9"/>
                          <a:pt x="15" y="8"/>
                        </a:cubicBezTo>
                        <a:cubicBezTo>
                          <a:pt x="14" y="8"/>
                          <a:pt x="10" y="6"/>
                          <a:pt x="2" y="2"/>
                        </a:cubicBezTo>
                        <a:cubicBezTo>
                          <a:pt x="0" y="0"/>
                          <a:pt x="1" y="3"/>
                          <a:pt x="1" y="6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" name="Freeform 291">
                    <a:extLst>
                      <a:ext uri="{FF2B5EF4-FFF2-40B4-BE49-F238E27FC236}">
                        <a16:creationId xmlns:a16="http://schemas.microsoft.com/office/drawing/2014/main" id="{82194861-7E93-3446-71BC-E9BA9DF2104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07288" y="4723607"/>
                    <a:ext cx="157163" cy="173038"/>
                  </a:xfrm>
                  <a:custGeom>
                    <a:avLst/>
                    <a:gdLst>
                      <a:gd name="T0" fmla="*/ 76 w 80"/>
                      <a:gd name="T1" fmla="*/ 31 h 88"/>
                      <a:gd name="T2" fmla="*/ 1 w 80"/>
                      <a:gd name="T3" fmla="*/ 14 h 88"/>
                      <a:gd name="T4" fmla="*/ 3 w 80"/>
                      <a:gd name="T5" fmla="*/ 26 h 88"/>
                      <a:gd name="T6" fmla="*/ 31 w 80"/>
                      <a:gd name="T7" fmla="*/ 35 h 88"/>
                      <a:gd name="T8" fmla="*/ 27 w 80"/>
                      <a:gd name="T9" fmla="*/ 78 h 88"/>
                      <a:gd name="T10" fmla="*/ 47 w 80"/>
                      <a:gd name="T11" fmla="*/ 66 h 88"/>
                      <a:gd name="T12" fmla="*/ 74 w 80"/>
                      <a:gd name="T13" fmla="*/ 88 h 88"/>
                      <a:gd name="T14" fmla="*/ 76 w 80"/>
                      <a:gd name="T15" fmla="*/ 31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0" h="88">
                        <a:moveTo>
                          <a:pt x="76" y="31"/>
                        </a:moveTo>
                        <a:cubicBezTo>
                          <a:pt x="26" y="2"/>
                          <a:pt x="6" y="0"/>
                          <a:pt x="1" y="14"/>
                        </a:cubicBezTo>
                        <a:cubicBezTo>
                          <a:pt x="0" y="17"/>
                          <a:pt x="0" y="22"/>
                          <a:pt x="3" y="26"/>
                        </a:cubicBezTo>
                        <a:cubicBezTo>
                          <a:pt x="19" y="24"/>
                          <a:pt x="35" y="24"/>
                          <a:pt x="31" y="35"/>
                        </a:cubicBezTo>
                        <a:cubicBezTo>
                          <a:pt x="30" y="39"/>
                          <a:pt x="13" y="76"/>
                          <a:pt x="27" y="78"/>
                        </a:cubicBezTo>
                        <a:cubicBezTo>
                          <a:pt x="30" y="73"/>
                          <a:pt x="37" y="60"/>
                          <a:pt x="47" y="66"/>
                        </a:cubicBezTo>
                        <a:cubicBezTo>
                          <a:pt x="53" y="69"/>
                          <a:pt x="47" y="83"/>
                          <a:pt x="74" y="88"/>
                        </a:cubicBezTo>
                        <a:cubicBezTo>
                          <a:pt x="76" y="66"/>
                          <a:pt x="80" y="39"/>
                          <a:pt x="76" y="31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" name="Freeform 292">
                    <a:extLst>
                      <a:ext uri="{FF2B5EF4-FFF2-40B4-BE49-F238E27FC236}">
                        <a16:creationId xmlns:a16="http://schemas.microsoft.com/office/drawing/2014/main" id="{30250D21-9F2E-5863-84D0-0B446D68CDD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215188" y="4896645"/>
                    <a:ext cx="711200" cy="517525"/>
                  </a:xfrm>
                  <a:custGeom>
                    <a:avLst/>
                    <a:gdLst>
                      <a:gd name="T0" fmla="*/ 339 w 362"/>
                      <a:gd name="T1" fmla="*/ 123 h 264"/>
                      <a:gd name="T2" fmla="*/ 256 w 362"/>
                      <a:gd name="T3" fmla="*/ 236 h 264"/>
                      <a:gd name="T4" fmla="*/ 191 w 362"/>
                      <a:gd name="T5" fmla="*/ 262 h 264"/>
                      <a:gd name="T6" fmla="*/ 3 w 362"/>
                      <a:gd name="T7" fmla="*/ 259 h 264"/>
                      <a:gd name="T8" fmla="*/ 0 w 362"/>
                      <a:gd name="T9" fmla="*/ 236 h 264"/>
                      <a:gd name="T10" fmla="*/ 200 w 362"/>
                      <a:gd name="T11" fmla="*/ 220 h 264"/>
                      <a:gd name="T12" fmla="*/ 268 w 362"/>
                      <a:gd name="T13" fmla="*/ 58 h 264"/>
                      <a:gd name="T14" fmla="*/ 339 w 362"/>
                      <a:gd name="T15" fmla="*/ 123 h 2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62" h="264">
                        <a:moveTo>
                          <a:pt x="339" y="123"/>
                        </a:moveTo>
                        <a:cubicBezTo>
                          <a:pt x="316" y="156"/>
                          <a:pt x="262" y="228"/>
                          <a:pt x="256" y="236"/>
                        </a:cubicBezTo>
                        <a:cubicBezTo>
                          <a:pt x="249" y="243"/>
                          <a:pt x="241" y="262"/>
                          <a:pt x="191" y="262"/>
                        </a:cubicBezTo>
                        <a:cubicBezTo>
                          <a:pt x="126" y="264"/>
                          <a:pt x="3" y="259"/>
                          <a:pt x="3" y="259"/>
                        </a:cubicBezTo>
                        <a:cubicBezTo>
                          <a:pt x="3" y="259"/>
                          <a:pt x="1" y="247"/>
                          <a:pt x="0" y="236"/>
                        </a:cubicBezTo>
                        <a:cubicBezTo>
                          <a:pt x="71" y="229"/>
                          <a:pt x="200" y="220"/>
                          <a:pt x="200" y="220"/>
                        </a:cubicBezTo>
                        <a:cubicBezTo>
                          <a:pt x="200" y="220"/>
                          <a:pt x="250" y="92"/>
                          <a:pt x="268" y="58"/>
                        </a:cubicBezTo>
                        <a:cubicBezTo>
                          <a:pt x="315" y="0"/>
                          <a:pt x="362" y="89"/>
                          <a:pt x="339" y="123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" name="Freeform 293">
                    <a:extLst>
                      <a:ext uri="{FF2B5EF4-FFF2-40B4-BE49-F238E27FC236}">
                        <a16:creationId xmlns:a16="http://schemas.microsoft.com/office/drawing/2014/main" id="{CDA15283-60E9-2D54-ECC8-F95FFA0B34D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26326" y="6409532"/>
                    <a:ext cx="142875" cy="50800"/>
                  </a:xfrm>
                  <a:custGeom>
                    <a:avLst/>
                    <a:gdLst>
                      <a:gd name="T0" fmla="*/ 72 w 72"/>
                      <a:gd name="T1" fmla="*/ 4 h 26"/>
                      <a:gd name="T2" fmla="*/ 72 w 72"/>
                      <a:gd name="T3" fmla="*/ 26 h 26"/>
                      <a:gd name="T4" fmla="*/ 53 w 72"/>
                      <a:gd name="T5" fmla="*/ 26 h 26"/>
                      <a:gd name="T6" fmla="*/ 53 w 72"/>
                      <a:gd name="T7" fmla="*/ 18 h 26"/>
                      <a:gd name="T8" fmla="*/ 27 w 72"/>
                      <a:gd name="T9" fmla="*/ 26 h 26"/>
                      <a:gd name="T10" fmla="*/ 3 w 72"/>
                      <a:gd name="T11" fmla="*/ 25 h 26"/>
                      <a:gd name="T12" fmla="*/ 4 w 72"/>
                      <a:gd name="T13" fmla="*/ 20 h 26"/>
                      <a:gd name="T14" fmla="*/ 29 w 72"/>
                      <a:gd name="T15" fmla="*/ 13 h 26"/>
                      <a:gd name="T16" fmla="*/ 48 w 72"/>
                      <a:gd name="T17" fmla="*/ 0 h 26"/>
                      <a:gd name="T18" fmla="*/ 72 w 72"/>
                      <a:gd name="T19" fmla="*/ 4 h 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2" h="26">
                        <a:moveTo>
                          <a:pt x="72" y="4"/>
                        </a:moveTo>
                        <a:cubicBezTo>
                          <a:pt x="72" y="26"/>
                          <a:pt x="72" y="26"/>
                          <a:pt x="72" y="26"/>
                        </a:cubicBez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18"/>
                          <a:pt x="53" y="18"/>
                          <a:pt x="53" y="18"/>
                        </a:cubicBezTo>
                        <a:cubicBezTo>
                          <a:pt x="27" y="26"/>
                          <a:pt x="27" y="26"/>
                          <a:pt x="27" y="26"/>
                        </a:cubicBezTo>
                        <a:cubicBezTo>
                          <a:pt x="3" y="25"/>
                          <a:pt x="3" y="25"/>
                          <a:pt x="3" y="25"/>
                        </a:cubicBezTo>
                        <a:cubicBezTo>
                          <a:pt x="3" y="25"/>
                          <a:pt x="0" y="21"/>
                          <a:pt x="4" y="20"/>
                        </a:cubicBezTo>
                        <a:cubicBezTo>
                          <a:pt x="5" y="20"/>
                          <a:pt x="29" y="13"/>
                          <a:pt x="29" y="13"/>
                        </a:cubicBezTo>
                        <a:cubicBezTo>
                          <a:pt x="48" y="0"/>
                          <a:pt x="48" y="0"/>
                          <a:pt x="48" y="0"/>
                        </a:cubicBezTo>
                        <a:lnTo>
                          <a:pt x="72" y="4"/>
                        </a:lnTo>
                        <a:close/>
                      </a:path>
                    </a:pathLst>
                  </a:custGeom>
                  <a:solidFill>
                    <a:srgbClr val="17235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Freeform 294">
                    <a:extLst>
                      <a:ext uri="{FF2B5EF4-FFF2-40B4-BE49-F238E27FC236}">
                        <a16:creationId xmlns:a16="http://schemas.microsoft.com/office/drawing/2014/main" id="{12538E57-6ABF-E7CA-BDF2-827C4CD1683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2051" y="5498307"/>
                    <a:ext cx="1069975" cy="912813"/>
                  </a:xfrm>
                  <a:custGeom>
                    <a:avLst/>
                    <a:gdLst>
                      <a:gd name="T0" fmla="*/ 4 w 545"/>
                      <a:gd name="T1" fmla="*/ 465 h 465"/>
                      <a:gd name="T2" fmla="*/ 0 w 545"/>
                      <a:gd name="T3" fmla="*/ 147 h 465"/>
                      <a:gd name="T4" fmla="*/ 0 w 545"/>
                      <a:gd name="T5" fmla="*/ 147 h 465"/>
                      <a:gd name="T6" fmla="*/ 51 w 545"/>
                      <a:gd name="T7" fmla="*/ 77 h 465"/>
                      <a:gd name="T8" fmla="*/ 456 w 545"/>
                      <a:gd name="T9" fmla="*/ 0 h 465"/>
                      <a:gd name="T10" fmla="*/ 313 w 545"/>
                      <a:gd name="T11" fmla="*/ 160 h 465"/>
                      <a:gd name="T12" fmla="*/ 83 w 545"/>
                      <a:gd name="T13" fmla="*/ 160 h 465"/>
                      <a:gd name="T14" fmla="*/ 38 w 545"/>
                      <a:gd name="T15" fmla="*/ 463 h 465"/>
                      <a:gd name="T16" fmla="*/ 4 w 545"/>
                      <a:gd name="T17" fmla="*/ 465 h 4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545" h="465">
                        <a:moveTo>
                          <a:pt x="4" y="465"/>
                        </a:move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3" y="93"/>
                          <a:pt x="38" y="80"/>
                          <a:pt x="51" y="77"/>
                        </a:cubicBezTo>
                        <a:cubicBezTo>
                          <a:pt x="64" y="74"/>
                          <a:pt x="456" y="0"/>
                          <a:pt x="456" y="0"/>
                        </a:cubicBezTo>
                        <a:cubicBezTo>
                          <a:pt x="456" y="0"/>
                          <a:pt x="545" y="149"/>
                          <a:pt x="313" y="160"/>
                        </a:cubicBezTo>
                        <a:cubicBezTo>
                          <a:pt x="255" y="163"/>
                          <a:pt x="234" y="154"/>
                          <a:pt x="83" y="160"/>
                        </a:cubicBezTo>
                        <a:cubicBezTo>
                          <a:pt x="113" y="217"/>
                          <a:pt x="38" y="463"/>
                          <a:pt x="38" y="463"/>
                        </a:cubicBezTo>
                        <a:lnTo>
                          <a:pt x="4" y="46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3" name="Group 1028">
                  <a:extLst>
                    <a:ext uri="{FF2B5EF4-FFF2-40B4-BE49-F238E27FC236}">
                      <a16:creationId xmlns:a16="http://schemas.microsoft.com/office/drawing/2014/main" id="{EC7F5CF4-67E4-C2E0-A73E-49C3AED5EFCA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683568" y="4089209"/>
                  <a:ext cx="936299" cy="705312"/>
                  <a:chOff x="9990467" y="4838701"/>
                  <a:chExt cx="1203326" cy="906463"/>
                </a:xfrm>
              </p:grpSpPr>
              <p:sp>
                <p:nvSpPr>
                  <p:cNvPr id="17" name="Freeform 277">
                    <a:extLst>
                      <a:ext uri="{FF2B5EF4-FFF2-40B4-BE49-F238E27FC236}">
                        <a16:creationId xmlns:a16="http://schemas.microsoft.com/office/drawing/2014/main" id="{D5281A39-10B6-48AC-0BAC-92A294CE999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990467" y="4922838"/>
                    <a:ext cx="176213" cy="80963"/>
                  </a:xfrm>
                  <a:custGeom>
                    <a:avLst/>
                    <a:gdLst>
                      <a:gd name="T0" fmla="*/ 37 w 89"/>
                      <a:gd name="T1" fmla="*/ 27 h 42"/>
                      <a:gd name="T2" fmla="*/ 13 w 89"/>
                      <a:gd name="T3" fmla="*/ 29 h 42"/>
                      <a:gd name="T4" fmla="*/ 17 w 89"/>
                      <a:gd name="T5" fmla="*/ 24 h 42"/>
                      <a:gd name="T6" fmla="*/ 24 w 89"/>
                      <a:gd name="T7" fmla="*/ 21 h 42"/>
                      <a:gd name="T8" fmla="*/ 10 w 89"/>
                      <a:gd name="T9" fmla="*/ 8 h 42"/>
                      <a:gd name="T10" fmla="*/ 6 w 89"/>
                      <a:gd name="T11" fmla="*/ 8 h 42"/>
                      <a:gd name="T12" fmla="*/ 3 w 89"/>
                      <a:gd name="T13" fmla="*/ 5 h 42"/>
                      <a:gd name="T14" fmla="*/ 10 w 89"/>
                      <a:gd name="T15" fmla="*/ 4 h 42"/>
                      <a:gd name="T16" fmla="*/ 2 w 89"/>
                      <a:gd name="T17" fmla="*/ 3 h 42"/>
                      <a:gd name="T18" fmla="*/ 1 w 89"/>
                      <a:gd name="T19" fmla="*/ 0 h 42"/>
                      <a:gd name="T20" fmla="*/ 18 w 89"/>
                      <a:gd name="T21" fmla="*/ 1 h 42"/>
                      <a:gd name="T22" fmla="*/ 37 w 89"/>
                      <a:gd name="T23" fmla="*/ 16 h 42"/>
                      <a:gd name="T24" fmla="*/ 88 w 89"/>
                      <a:gd name="T25" fmla="*/ 24 h 42"/>
                      <a:gd name="T26" fmla="*/ 84 w 89"/>
                      <a:gd name="T27" fmla="*/ 42 h 42"/>
                      <a:gd name="T28" fmla="*/ 37 w 89"/>
                      <a:gd name="T29" fmla="*/ 27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89" h="42">
                        <a:moveTo>
                          <a:pt x="37" y="27"/>
                        </a:moveTo>
                        <a:cubicBezTo>
                          <a:pt x="28" y="27"/>
                          <a:pt x="13" y="29"/>
                          <a:pt x="13" y="29"/>
                        </a:cubicBezTo>
                        <a:cubicBezTo>
                          <a:pt x="13" y="29"/>
                          <a:pt x="14" y="24"/>
                          <a:pt x="17" y="24"/>
                        </a:cubicBezTo>
                        <a:cubicBezTo>
                          <a:pt x="23" y="23"/>
                          <a:pt x="24" y="21"/>
                          <a:pt x="24" y="21"/>
                        </a:cubicBezTo>
                        <a:cubicBezTo>
                          <a:pt x="10" y="8"/>
                          <a:pt x="10" y="8"/>
                          <a:pt x="10" y="8"/>
                        </a:cubicBezTo>
                        <a:cubicBezTo>
                          <a:pt x="6" y="8"/>
                          <a:pt x="6" y="8"/>
                          <a:pt x="6" y="8"/>
                        </a:cubicBezTo>
                        <a:cubicBezTo>
                          <a:pt x="3" y="5"/>
                          <a:pt x="3" y="5"/>
                          <a:pt x="3" y="5"/>
                        </a:cubicBezTo>
                        <a:cubicBezTo>
                          <a:pt x="10" y="4"/>
                          <a:pt x="10" y="4"/>
                          <a:pt x="10" y="4"/>
                        </a:cubicBezTo>
                        <a:cubicBezTo>
                          <a:pt x="10" y="4"/>
                          <a:pt x="3" y="4"/>
                          <a:pt x="2" y="3"/>
                        </a:cubicBezTo>
                        <a:cubicBezTo>
                          <a:pt x="1" y="2"/>
                          <a:pt x="0" y="0"/>
                          <a:pt x="1" y="0"/>
                        </a:cubicBezTo>
                        <a:cubicBezTo>
                          <a:pt x="9" y="0"/>
                          <a:pt x="17" y="0"/>
                          <a:pt x="18" y="1"/>
                        </a:cubicBezTo>
                        <a:cubicBezTo>
                          <a:pt x="20" y="2"/>
                          <a:pt x="37" y="16"/>
                          <a:pt x="37" y="16"/>
                        </a:cubicBezTo>
                        <a:cubicBezTo>
                          <a:pt x="88" y="24"/>
                          <a:pt x="88" y="24"/>
                          <a:pt x="88" y="24"/>
                        </a:cubicBezTo>
                        <a:cubicBezTo>
                          <a:pt x="88" y="24"/>
                          <a:pt x="89" y="34"/>
                          <a:pt x="84" y="42"/>
                        </a:cubicBezTo>
                        <a:cubicBezTo>
                          <a:pt x="84" y="42"/>
                          <a:pt x="37" y="27"/>
                          <a:pt x="37" y="27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" name="Freeform 220">
                    <a:extLst>
                      <a:ext uri="{FF2B5EF4-FFF2-40B4-BE49-F238E27FC236}">
                        <a16:creationId xmlns:a16="http://schemas.microsoft.com/office/drawing/2014/main" id="{F4673023-AAEA-C28E-5E73-C63E1067F75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00042" y="4918076"/>
                    <a:ext cx="52388" cy="66675"/>
                  </a:xfrm>
                  <a:custGeom>
                    <a:avLst/>
                    <a:gdLst>
                      <a:gd name="T0" fmla="*/ 18 w 28"/>
                      <a:gd name="T1" fmla="*/ 23 h 36"/>
                      <a:gd name="T2" fmla="*/ 24 w 28"/>
                      <a:gd name="T3" fmla="*/ 33 h 36"/>
                      <a:gd name="T4" fmla="*/ 28 w 28"/>
                      <a:gd name="T5" fmla="*/ 33 h 36"/>
                      <a:gd name="T6" fmla="*/ 26 w 28"/>
                      <a:gd name="T7" fmla="*/ 17 h 36"/>
                      <a:gd name="T8" fmla="*/ 15 w 28"/>
                      <a:gd name="T9" fmla="*/ 7 h 36"/>
                      <a:gd name="T10" fmla="*/ 25 w 28"/>
                      <a:gd name="T11" fmla="*/ 6 h 36"/>
                      <a:gd name="T12" fmla="*/ 24 w 28"/>
                      <a:gd name="T13" fmla="*/ 1 h 36"/>
                      <a:gd name="T14" fmla="*/ 7 w 28"/>
                      <a:gd name="T15" fmla="*/ 0 h 36"/>
                      <a:gd name="T16" fmla="*/ 0 w 28"/>
                      <a:gd name="T17" fmla="*/ 1 h 36"/>
                      <a:gd name="T18" fmla="*/ 9 w 28"/>
                      <a:gd name="T19" fmla="*/ 9 h 36"/>
                      <a:gd name="T20" fmla="*/ 18 w 28"/>
                      <a:gd name="T21" fmla="*/ 23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8" h="36">
                        <a:moveTo>
                          <a:pt x="18" y="23"/>
                        </a:moveTo>
                        <a:cubicBezTo>
                          <a:pt x="20" y="26"/>
                          <a:pt x="24" y="32"/>
                          <a:pt x="24" y="33"/>
                        </a:cubicBezTo>
                        <a:cubicBezTo>
                          <a:pt x="25" y="36"/>
                          <a:pt x="28" y="33"/>
                          <a:pt x="28" y="33"/>
                        </a:cubicBezTo>
                        <a:cubicBezTo>
                          <a:pt x="28" y="33"/>
                          <a:pt x="27" y="20"/>
                          <a:pt x="26" y="17"/>
                        </a:cubicBezTo>
                        <a:cubicBezTo>
                          <a:pt x="26" y="15"/>
                          <a:pt x="15" y="7"/>
                          <a:pt x="15" y="7"/>
                        </a:cubicBezTo>
                        <a:cubicBezTo>
                          <a:pt x="25" y="6"/>
                          <a:pt x="25" y="6"/>
                          <a:pt x="25" y="6"/>
                        </a:cubicBezTo>
                        <a:cubicBezTo>
                          <a:pt x="24" y="1"/>
                          <a:pt x="24" y="1"/>
                          <a:pt x="24" y="1"/>
                        </a:cubicBezTo>
                        <a:cubicBezTo>
                          <a:pt x="24" y="1"/>
                          <a:pt x="15" y="1"/>
                          <a:pt x="7" y="0"/>
                        </a:cubicBezTo>
                        <a:cubicBezTo>
                          <a:pt x="3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9" y="9"/>
                        </a:cubicBezTo>
                        <a:cubicBezTo>
                          <a:pt x="18" y="15"/>
                          <a:pt x="18" y="21"/>
                          <a:pt x="18" y="2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" name="Freeform 260">
                    <a:extLst>
                      <a:ext uri="{FF2B5EF4-FFF2-40B4-BE49-F238E27FC236}">
                        <a16:creationId xmlns:a16="http://schemas.microsoft.com/office/drawing/2014/main" id="{8AB78003-47D2-AA97-8CBB-FEEA5700C39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58805" y="5259389"/>
                    <a:ext cx="534988" cy="322263"/>
                  </a:xfrm>
                  <a:custGeom>
                    <a:avLst/>
                    <a:gdLst>
                      <a:gd name="T0" fmla="*/ 270 w 272"/>
                      <a:gd name="T1" fmla="*/ 136 h 164"/>
                      <a:gd name="T2" fmla="*/ 262 w 272"/>
                      <a:gd name="T3" fmla="*/ 138 h 164"/>
                      <a:gd name="T4" fmla="*/ 271 w 272"/>
                      <a:gd name="T5" fmla="*/ 147 h 164"/>
                      <a:gd name="T6" fmla="*/ 272 w 272"/>
                      <a:gd name="T7" fmla="*/ 157 h 164"/>
                      <a:gd name="T8" fmla="*/ 269 w 272"/>
                      <a:gd name="T9" fmla="*/ 157 h 164"/>
                      <a:gd name="T10" fmla="*/ 265 w 272"/>
                      <a:gd name="T11" fmla="*/ 150 h 164"/>
                      <a:gd name="T12" fmla="*/ 251 w 272"/>
                      <a:gd name="T13" fmla="*/ 141 h 164"/>
                      <a:gd name="T14" fmla="*/ 146 w 272"/>
                      <a:gd name="T15" fmla="*/ 156 h 164"/>
                      <a:gd name="T16" fmla="*/ 92 w 272"/>
                      <a:gd name="T17" fmla="*/ 164 h 164"/>
                      <a:gd name="T18" fmla="*/ 65 w 272"/>
                      <a:gd name="T19" fmla="*/ 148 h 164"/>
                      <a:gd name="T20" fmla="*/ 0 w 272"/>
                      <a:gd name="T21" fmla="*/ 9 h 164"/>
                      <a:gd name="T22" fmla="*/ 76 w 272"/>
                      <a:gd name="T23" fmla="*/ 19 h 164"/>
                      <a:gd name="T24" fmla="*/ 93 w 272"/>
                      <a:gd name="T25" fmla="*/ 134 h 164"/>
                      <a:gd name="T26" fmla="*/ 251 w 272"/>
                      <a:gd name="T27" fmla="*/ 132 h 164"/>
                      <a:gd name="T28" fmla="*/ 257 w 272"/>
                      <a:gd name="T29" fmla="*/ 132 h 164"/>
                      <a:gd name="T30" fmla="*/ 270 w 272"/>
                      <a:gd name="T31" fmla="*/ 133 h 164"/>
                      <a:gd name="T32" fmla="*/ 270 w 272"/>
                      <a:gd name="T33" fmla="*/ 136 h 1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272" h="164">
                        <a:moveTo>
                          <a:pt x="270" y="136"/>
                        </a:moveTo>
                        <a:cubicBezTo>
                          <a:pt x="262" y="138"/>
                          <a:pt x="262" y="138"/>
                          <a:pt x="262" y="138"/>
                        </a:cubicBezTo>
                        <a:cubicBezTo>
                          <a:pt x="271" y="147"/>
                          <a:pt x="271" y="147"/>
                          <a:pt x="271" y="147"/>
                        </a:cubicBezTo>
                        <a:cubicBezTo>
                          <a:pt x="272" y="157"/>
                          <a:pt x="272" y="157"/>
                          <a:pt x="272" y="157"/>
                        </a:cubicBezTo>
                        <a:cubicBezTo>
                          <a:pt x="272" y="157"/>
                          <a:pt x="270" y="159"/>
                          <a:pt x="269" y="157"/>
                        </a:cubicBezTo>
                        <a:cubicBezTo>
                          <a:pt x="269" y="156"/>
                          <a:pt x="265" y="150"/>
                          <a:pt x="265" y="150"/>
                        </a:cubicBezTo>
                        <a:cubicBezTo>
                          <a:pt x="251" y="141"/>
                          <a:pt x="251" y="141"/>
                          <a:pt x="251" y="141"/>
                        </a:cubicBezTo>
                        <a:cubicBezTo>
                          <a:pt x="146" y="156"/>
                          <a:pt x="146" y="156"/>
                          <a:pt x="146" y="156"/>
                        </a:cubicBezTo>
                        <a:cubicBezTo>
                          <a:pt x="92" y="164"/>
                          <a:pt x="92" y="164"/>
                          <a:pt x="92" y="164"/>
                        </a:cubicBezTo>
                        <a:cubicBezTo>
                          <a:pt x="92" y="164"/>
                          <a:pt x="76" y="163"/>
                          <a:pt x="65" y="148"/>
                        </a:cubicBezTo>
                        <a:cubicBezTo>
                          <a:pt x="62" y="143"/>
                          <a:pt x="0" y="9"/>
                          <a:pt x="0" y="9"/>
                        </a:cubicBezTo>
                        <a:cubicBezTo>
                          <a:pt x="0" y="9"/>
                          <a:pt x="64" y="0"/>
                          <a:pt x="76" y="19"/>
                        </a:cubicBezTo>
                        <a:cubicBezTo>
                          <a:pt x="91" y="45"/>
                          <a:pt x="92" y="106"/>
                          <a:pt x="93" y="134"/>
                        </a:cubicBezTo>
                        <a:cubicBezTo>
                          <a:pt x="105" y="124"/>
                          <a:pt x="196" y="133"/>
                          <a:pt x="251" y="132"/>
                        </a:cubicBezTo>
                        <a:cubicBezTo>
                          <a:pt x="253" y="132"/>
                          <a:pt x="257" y="132"/>
                          <a:pt x="257" y="132"/>
                        </a:cubicBezTo>
                        <a:cubicBezTo>
                          <a:pt x="270" y="133"/>
                          <a:pt x="270" y="133"/>
                          <a:pt x="270" y="133"/>
                        </a:cubicBezTo>
                        <a:lnTo>
                          <a:pt x="270" y="136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" name="Freeform 261">
                    <a:extLst>
                      <a:ext uri="{FF2B5EF4-FFF2-40B4-BE49-F238E27FC236}">
                        <a16:creationId xmlns:a16="http://schemas.microsoft.com/office/drawing/2014/main" id="{E48F4DC6-D967-12C9-55BE-A9C88845CF4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52517" y="5516564"/>
                    <a:ext cx="41275" cy="57150"/>
                  </a:xfrm>
                  <a:custGeom>
                    <a:avLst/>
                    <a:gdLst>
                      <a:gd name="T0" fmla="*/ 14 w 21"/>
                      <a:gd name="T1" fmla="*/ 19 h 29"/>
                      <a:gd name="T2" fmla="*/ 18 w 21"/>
                      <a:gd name="T3" fmla="*/ 26 h 29"/>
                      <a:gd name="T4" fmla="*/ 21 w 21"/>
                      <a:gd name="T5" fmla="*/ 27 h 29"/>
                      <a:gd name="T6" fmla="*/ 20 w 21"/>
                      <a:gd name="T7" fmla="*/ 15 h 29"/>
                      <a:gd name="T8" fmla="*/ 11 w 21"/>
                      <a:gd name="T9" fmla="*/ 7 h 29"/>
                      <a:gd name="T10" fmla="*/ 19 w 21"/>
                      <a:gd name="T11" fmla="*/ 5 h 29"/>
                      <a:gd name="T12" fmla="*/ 19 w 21"/>
                      <a:gd name="T13" fmla="*/ 1 h 29"/>
                      <a:gd name="T14" fmla="*/ 6 w 21"/>
                      <a:gd name="T15" fmla="*/ 1 h 29"/>
                      <a:gd name="T16" fmla="*/ 0 w 21"/>
                      <a:gd name="T17" fmla="*/ 1 h 29"/>
                      <a:gd name="T18" fmla="*/ 6 w 21"/>
                      <a:gd name="T19" fmla="*/ 8 h 29"/>
                      <a:gd name="T20" fmla="*/ 14 w 21"/>
                      <a:gd name="T21" fmla="*/ 19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1" h="29">
                        <a:moveTo>
                          <a:pt x="14" y="19"/>
                        </a:moveTo>
                        <a:cubicBezTo>
                          <a:pt x="15" y="21"/>
                          <a:pt x="18" y="26"/>
                          <a:pt x="18" y="26"/>
                        </a:cubicBezTo>
                        <a:cubicBezTo>
                          <a:pt x="19" y="29"/>
                          <a:pt x="21" y="27"/>
                          <a:pt x="21" y="27"/>
                        </a:cubicBezTo>
                        <a:cubicBezTo>
                          <a:pt x="21" y="27"/>
                          <a:pt x="20" y="17"/>
                          <a:pt x="20" y="15"/>
                        </a:cubicBezTo>
                        <a:cubicBezTo>
                          <a:pt x="20" y="12"/>
                          <a:pt x="11" y="7"/>
                          <a:pt x="11" y="7"/>
                        </a:cubicBezTo>
                        <a:cubicBezTo>
                          <a:pt x="19" y="5"/>
                          <a:pt x="19" y="5"/>
                          <a:pt x="19" y="5"/>
                        </a:cubicBezTo>
                        <a:cubicBezTo>
                          <a:pt x="19" y="1"/>
                          <a:pt x="19" y="1"/>
                          <a:pt x="19" y="1"/>
                        </a:cubicBezTo>
                        <a:cubicBezTo>
                          <a:pt x="19" y="1"/>
                          <a:pt x="11" y="1"/>
                          <a:pt x="6" y="1"/>
                        </a:cubicBezTo>
                        <a:cubicBezTo>
                          <a:pt x="2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6" y="8"/>
                        </a:cubicBezTo>
                        <a:cubicBezTo>
                          <a:pt x="14" y="12"/>
                          <a:pt x="13" y="17"/>
                          <a:pt x="14" y="1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" name="Freeform 262">
                    <a:extLst>
                      <a:ext uri="{FF2B5EF4-FFF2-40B4-BE49-F238E27FC236}">
                        <a16:creationId xmlns:a16="http://schemas.microsoft.com/office/drawing/2014/main" id="{E7EDD25D-13DF-83F4-710C-3769C411E13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39692" y="4965701"/>
                    <a:ext cx="346075" cy="90488"/>
                  </a:xfrm>
                  <a:custGeom>
                    <a:avLst/>
                    <a:gdLst>
                      <a:gd name="T0" fmla="*/ 3 w 176"/>
                      <a:gd name="T1" fmla="*/ 0 h 46"/>
                      <a:gd name="T2" fmla="*/ 47 w 176"/>
                      <a:gd name="T3" fmla="*/ 6 h 46"/>
                      <a:gd name="T4" fmla="*/ 133 w 176"/>
                      <a:gd name="T5" fmla="*/ 5 h 46"/>
                      <a:gd name="T6" fmla="*/ 167 w 176"/>
                      <a:gd name="T7" fmla="*/ 22 h 46"/>
                      <a:gd name="T8" fmla="*/ 145 w 176"/>
                      <a:gd name="T9" fmla="*/ 46 h 46"/>
                      <a:gd name="T10" fmla="*/ 0 w 176"/>
                      <a:gd name="T11" fmla="*/ 19 h 46"/>
                      <a:gd name="T12" fmla="*/ 3 w 176"/>
                      <a:gd name="T13" fmla="*/ 0 h 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76" h="46">
                        <a:moveTo>
                          <a:pt x="3" y="0"/>
                        </a:moveTo>
                        <a:cubicBezTo>
                          <a:pt x="10" y="1"/>
                          <a:pt x="29" y="5"/>
                          <a:pt x="47" y="6"/>
                        </a:cubicBezTo>
                        <a:cubicBezTo>
                          <a:pt x="79" y="8"/>
                          <a:pt x="93" y="6"/>
                          <a:pt x="133" y="5"/>
                        </a:cubicBezTo>
                        <a:cubicBezTo>
                          <a:pt x="176" y="3"/>
                          <a:pt x="167" y="22"/>
                          <a:pt x="167" y="22"/>
                        </a:cubicBezTo>
                        <a:cubicBezTo>
                          <a:pt x="167" y="22"/>
                          <a:pt x="152" y="40"/>
                          <a:pt x="145" y="46"/>
                        </a:cubicBezTo>
                        <a:cubicBezTo>
                          <a:pt x="68" y="36"/>
                          <a:pt x="21" y="25"/>
                          <a:pt x="0" y="19"/>
                        </a:cubicBezTo>
                        <a:cubicBezTo>
                          <a:pt x="0" y="19"/>
                          <a:pt x="1" y="4"/>
                          <a:pt x="3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" name="Freeform 263">
                    <a:extLst>
                      <a:ext uri="{FF2B5EF4-FFF2-40B4-BE49-F238E27FC236}">
                        <a16:creationId xmlns:a16="http://schemas.microsoft.com/office/drawing/2014/main" id="{F4838EAF-DC27-6D0A-958C-31D1CB0D5B2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74642" y="4941889"/>
                    <a:ext cx="420688" cy="288925"/>
                  </a:xfrm>
                  <a:custGeom>
                    <a:avLst/>
                    <a:gdLst>
                      <a:gd name="T0" fmla="*/ 126 w 214"/>
                      <a:gd name="T1" fmla="*/ 147 h 147"/>
                      <a:gd name="T2" fmla="*/ 63 w 214"/>
                      <a:gd name="T3" fmla="*/ 110 h 147"/>
                      <a:gd name="T4" fmla="*/ 7 w 214"/>
                      <a:gd name="T5" fmla="*/ 22 h 147"/>
                      <a:gd name="T6" fmla="*/ 28 w 214"/>
                      <a:gd name="T7" fmla="*/ 8 h 147"/>
                      <a:gd name="T8" fmla="*/ 130 w 214"/>
                      <a:gd name="T9" fmla="*/ 44 h 147"/>
                      <a:gd name="T10" fmla="*/ 214 w 214"/>
                      <a:gd name="T11" fmla="*/ 136 h 147"/>
                      <a:gd name="T12" fmla="*/ 126 w 214"/>
                      <a:gd name="T13" fmla="*/ 147 h 1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14" h="147">
                        <a:moveTo>
                          <a:pt x="126" y="147"/>
                        </a:moveTo>
                        <a:cubicBezTo>
                          <a:pt x="123" y="141"/>
                          <a:pt x="112" y="111"/>
                          <a:pt x="63" y="110"/>
                        </a:cubicBezTo>
                        <a:cubicBezTo>
                          <a:pt x="0" y="108"/>
                          <a:pt x="7" y="22"/>
                          <a:pt x="7" y="22"/>
                        </a:cubicBezTo>
                        <a:cubicBezTo>
                          <a:pt x="7" y="22"/>
                          <a:pt x="18" y="11"/>
                          <a:pt x="28" y="8"/>
                        </a:cubicBezTo>
                        <a:cubicBezTo>
                          <a:pt x="53" y="0"/>
                          <a:pt x="94" y="11"/>
                          <a:pt x="130" y="44"/>
                        </a:cubicBezTo>
                        <a:cubicBezTo>
                          <a:pt x="181" y="90"/>
                          <a:pt x="214" y="136"/>
                          <a:pt x="214" y="136"/>
                        </a:cubicBezTo>
                        <a:cubicBezTo>
                          <a:pt x="214" y="136"/>
                          <a:pt x="175" y="134"/>
                          <a:pt x="126" y="147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" name="Freeform 264">
                    <a:extLst>
                      <a:ext uri="{FF2B5EF4-FFF2-40B4-BE49-F238E27FC236}">
                        <a16:creationId xmlns:a16="http://schemas.microsoft.com/office/drawing/2014/main" id="{E1BAD5AF-932F-A31E-86EC-F4AD41C738D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5580" y="5221289"/>
                    <a:ext cx="611188" cy="523875"/>
                  </a:xfrm>
                  <a:custGeom>
                    <a:avLst/>
                    <a:gdLst>
                      <a:gd name="T0" fmla="*/ 2 w 311"/>
                      <a:gd name="T1" fmla="*/ 259 h 267"/>
                      <a:gd name="T2" fmla="*/ 10 w 311"/>
                      <a:gd name="T3" fmla="*/ 257 h 267"/>
                      <a:gd name="T4" fmla="*/ 22 w 311"/>
                      <a:gd name="T5" fmla="*/ 247 h 267"/>
                      <a:gd name="T6" fmla="*/ 44 w 311"/>
                      <a:gd name="T7" fmla="*/ 81 h 267"/>
                      <a:gd name="T8" fmla="*/ 44 w 311"/>
                      <a:gd name="T9" fmla="*/ 81 h 267"/>
                      <a:gd name="T10" fmla="*/ 66 w 311"/>
                      <a:gd name="T11" fmla="*/ 42 h 267"/>
                      <a:gd name="T12" fmla="*/ 276 w 311"/>
                      <a:gd name="T13" fmla="*/ 0 h 267"/>
                      <a:gd name="T14" fmla="*/ 213 w 311"/>
                      <a:gd name="T15" fmla="*/ 71 h 267"/>
                      <a:gd name="T16" fmla="*/ 82 w 311"/>
                      <a:gd name="T17" fmla="*/ 79 h 267"/>
                      <a:gd name="T18" fmla="*/ 31 w 311"/>
                      <a:gd name="T19" fmla="*/ 249 h 267"/>
                      <a:gd name="T20" fmla="*/ 29 w 311"/>
                      <a:gd name="T21" fmla="*/ 255 h 267"/>
                      <a:gd name="T22" fmla="*/ 25 w 311"/>
                      <a:gd name="T23" fmla="*/ 267 h 267"/>
                      <a:gd name="T24" fmla="*/ 22 w 311"/>
                      <a:gd name="T25" fmla="*/ 266 h 267"/>
                      <a:gd name="T26" fmla="*/ 22 w 311"/>
                      <a:gd name="T27" fmla="*/ 259 h 267"/>
                      <a:gd name="T28" fmla="*/ 11 w 311"/>
                      <a:gd name="T29" fmla="*/ 264 h 267"/>
                      <a:gd name="T30" fmla="*/ 1 w 311"/>
                      <a:gd name="T31" fmla="*/ 262 h 267"/>
                      <a:gd name="T32" fmla="*/ 2 w 311"/>
                      <a:gd name="T33" fmla="*/ 259 h 2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11" h="267">
                        <a:moveTo>
                          <a:pt x="2" y="259"/>
                        </a:moveTo>
                        <a:cubicBezTo>
                          <a:pt x="3" y="259"/>
                          <a:pt x="10" y="257"/>
                          <a:pt x="10" y="257"/>
                        </a:cubicBezTo>
                        <a:cubicBezTo>
                          <a:pt x="22" y="247"/>
                          <a:pt x="22" y="247"/>
                          <a:pt x="22" y="247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2" y="52"/>
                          <a:pt x="66" y="42"/>
                          <a:pt x="66" y="42"/>
                        </a:cubicBezTo>
                        <a:cubicBezTo>
                          <a:pt x="276" y="0"/>
                          <a:pt x="276" y="0"/>
                          <a:pt x="276" y="0"/>
                        </a:cubicBezTo>
                        <a:cubicBezTo>
                          <a:pt x="276" y="0"/>
                          <a:pt x="311" y="59"/>
                          <a:pt x="213" y="71"/>
                        </a:cubicBezTo>
                        <a:cubicBezTo>
                          <a:pt x="182" y="74"/>
                          <a:pt x="161" y="70"/>
                          <a:pt x="82" y="79"/>
                        </a:cubicBezTo>
                        <a:cubicBezTo>
                          <a:pt x="99" y="107"/>
                          <a:pt x="31" y="249"/>
                          <a:pt x="31" y="249"/>
                        </a:cubicBezTo>
                        <a:cubicBezTo>
                          <a:pt x="29" y="255"/>
                          <a:pt x="29" y="255"/>
                          <a:pt x="29" y="255"/>
                        </a:cubicBezTo>
                        <a:cubicBezTo>
                          <a:pt x="25" y="267"/>
                          <a:pt x="25" y="267"/>
                          <a:pt x="25" y="267"/>
                        </a:cubicBezTo>
                        <a:cubicBezTo>
                          <a:pt x="22" y="266"/>
                          <a:pt x="22" y="266"/>
                          <a:pt x="22" y="266"/>
                        </a:cubicBezTo>
                        <a:cubicBezTo>
                          <a:pt x="22" y="259"/>
                          <a:pt x="22" y="259"/>
                          <a:pt x="22" y="259"/>
                        </a:cubicBezTo>
                        <a:cubicBezTo>
                          <a:pt x="11" y="264"/>
                          <a:pt x="11" y="264"/>
                          <a:pt x="11" y="264"/>
                        </a:cubicBezTo>
                        <a:cubicBezTo>
                          <a:pt x="1" y="262"/>
                          <a:pt x="1" y="262"/>
                          <a:pt x="1" y="262"/>
                        </a:cubicBezTo>
                        <a:cubicBezTo>
                          <a:pt x="1" y="262"/>
                          <a:pt x="0" y="259"/>
                          <a:pt x="2" y="25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" name="Freeform 265">
                    <a:extLst>
                      <a:ext uri="{FF2B5EF4-FFF2-40B4-BE49-F238E27FC236}">
                        <a16:creationId xmlns:a16="http://schemas.microsoft.com/office/drawing/2014/main" id="{EE131C85-4A1F-7A50-8D94-6C6CFED99BF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4167" y="5197476"/>
                    <a:ext cx="487363" cy="219075"/>
                  </a:xfrm>
                  <a:custGeom>
                    <a:avLst/>
                    <a:gdLst>
                      <a:gd name="T0" fmla="*/ 206 w 248"/>
                      <a:gd name="T1" fmla="*/ 0 h 112"/>
                      <a:gd name="T2" fmla="*/ 248 w 248"/>
                      <a:gd name="T3" fmla="*/ 97 h 112"/>
                      <a:gd name="T4" fmla="*/ 26 w 248"/>
                      <a:gd name="T5" fmla="*/ 83 h 112"/>
                      <a:gd name="T6" fmla="*/ 0 w 248"/>
                      <a:gd name="T7" fmla="*/ 52 h 112"/>
                      <a:gd name="T8" fmla="*/ 206 w 248"/>
                      <a:gd name="T9" fmla="*/ 0 h 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8" h="112">
                        <a:moveTo>
                          <a:pt x="206" y="0"/>
                        </a:moveTo>
                        <a:cubicBezTo>
                          <a:pt x="240" y="22"/>
                          <a:pt x="215" y="69"/>
                          <a:pt x="248" y="97"/>
                        </a:cubicBezTo>
                        <a:cubicBezTo>
                          <a:pt x="219" y="112"/>
                          <a:pt x="79" y="112"/>
                          <a:pt x="26" y="83"/>
                        </a:cubicBezTo>
                        <a:cubicBezTo>
                          <a:pt x="4" y="71"/>
                          <a:pt x="0" y="52"/>
                          <a:pt x="0" y="52"/>
                        </a:cubicBezTo>
                        <a:cubicBezTo>
                          <a:pt x="0" y="52"/>
                          <a:pt x="177" y="6"/>
                          <a:pt x="206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" name="Freeform 266">
                    <a:extLst>
                      <a:ext uri="{FF2B5EF4-FFF2-40B4-BE49-F238E27FC236}">
                        <a16:creationId xmlns:a16="http://schemas.microsoft.com/office/drawing/2014/main" id="{B0C735CC-19E7-D421-3A0B-6F9F6801960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2105" y="4964114"/>
                    <a:ext cx="63500" cy="134938"/>
                  </a:xfrm>
                  <a:custGeom>
                    <a:avLst/>
                    <a:gdLst>
                      <a:gd name="T0" fmla="*/ 32 w 32"/>
                      <a:gd name="T1" fmla="*/ 69 h 69"/>
                      <a:gd name="T2" fmla="*/ 20 w 32"/>
                      <a:gd name="T3" fmla="*/ 0 h 69"/>
                      <a:gd name="T4" fmla="*/ 4 w 32"/>
                      <a:gd name="T5" fmla="*/ 14 h 69"/>
                      <a:gd name="T6" fmla="*/ 32 w 32"/>
                      <a:gd name="T7" fmla="*/ 69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2" h="69">
                        <a:moveTo>
                          <a:pt x="32" y="69"/>
                        </a:moveTo>
                        <a:cubicBezTo>
                          <a:pt x="32" y="69"/>
                          <a:pt x="7" y="24"/>
                          <a:pt x="20" y="0"/>
                        </a:cubicBezTo>
                        <a:cubicBezTo>
                          <a:pt x="17" y="5"/>
                          <a:pt x="12" y="15"/>
                          <a:pt x="4" y="14"/>
                        </a:cubicBezTo>
                        <a:cubicBezTo>
                          <a:pt x="0" y="41"/>
                          <a:pt x="32" y="69"/>
                          <a:pt x="32" y="6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" name="Freeform 267">
                    <a:extLst>
                      <a:ext uri="{FF2B5EF4-FFF2-40B4-BE49-F238E27FC236}">
                        <a16:creationId xmlns:a16="http://schemas.microsoft.com/office/drawing/2014/main" id="{3A83040A-070E-164F-CC9E-72370770073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69880" y="4946651"/>
                    <a:ext cx="88900" cy="160338"/>
                  </a:xfrm>
                  <a:custGeom>
                    <a:avLst/>
                    <a:gdLst>
                      <a:gd name="T0" fmla="*/ 45 w 45"/>
                      <a:gd name="T1" fmla="*/ 82 h 82"/>
                      <a:gd name="T2" fmla="*/ 17 w 45"/>
                      <a:gd name="T3" fmla="*/ 19 h 82"/>
                      <a:gd name="T4" fmla="*/ 12 w 45"/>
                      <a:gd name="T5" fmla="*/ 12 h 82"/>
                      <a:gd name="T6" fmla="*/ 45 w 45"/>
                      <a:gd name="T7" fmla="*/ 82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5" h="82">
                        <a:moveTo>
                          <a:pt x="45" y="82"/>
                        </a:moveTo>
                        <a:cubicBezTo>
                          <a:pt x="45" y="82"/>
                          <a:pt x="15" y="54"/>
                          <a:pt x="17" y="19"/>
                        </a:cubicBezTo>
                        <a:cubicBezTo>
                          <a:pt x="17" y="9"/>
                          <a:pt x="15" y="0"/>
                          <a:pt x="12" y="12"/>
                        </a:cubicBezTo>
                        <a:cubicBezTo>
                          <a:pt x="0" y="63"/>
                          <a:pt x="45" y="82"/>
                          <a:pt x="45" y="8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" name="Freeform 268">
                    <a:extLst>
                      <a:ext uri="{FF2B5EF4-FFF2-40B4-BE49-F238E27FC236}">
                        <a16:creationId xmlns:a16="http://schemas.microsoft.com/office/drawing/2014/main" id="{F0A0F41B-1A7C-6257-585E-97C0D206F5B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3367" y="4899026"/>
                    <a:ext cx="103188" cy="93663"/>
                  </a:xfrm>
                  <a:custGeom>
                    <a:avLst/>
                    <a:gdLst>
                      <a:gd name="T0" fmla="*/ 52 w 53"/>
                      <a:gd name="T1" fmla="*/ 27 h 48"/>
                      <a:gd name="T2" fmla="*/ 42 w 53"/>
                      <a:gd name="T3" fmla="*/ 12 h 48"/>
                      <a:gd name="T4" fmla="*/ 30 w 53"/>
                      <a:gd name="T5" fmla="*/ 0 h 48"/>
                      <a:gd name="T6" fmla="*/ 24 w 53"/>
                      <a:gd name="T7" fmla="*/ 18 h 48"/>
                      <a:gd name="T8" fmla="*/ 13 w 53"/>
                      <a:gd name="T9" fmla="*/ 28 h 48"/>
                      <a:gd name="T10" fmla="*/ 0 w 53"/>
                      <a:gd name="T11" fmla="*/ 29 h 48"/>
                      <a:gd name="T12" fmla="*/ 36 w 53"/>
                      <a:gd name="T13" fmla="*/ 48 h 48"/>
                      <a:gd name="T14" fmla="*/ 52 w 53"/>
                      <a:gd name="T15" fmla="*/ 27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3" h="48">
                        <a:moveTo>
                          <a:pt x="52" y="27"/>
                        </a:moveTo>
                        <a:cubicBezTo>
                          <a:pt x="42" y="23"/>
                          <a:pt x="42" y="12"/>
                          <a:pt x="42" y="12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30" y="0"/>
                          <a:pt x="25" y="11"/>
                          <a:pt x="24" y="18"/>
                        </a:cubicBezTo>
                        <a:cubicBezTo>
                          <a:pt x="22" y="25"/>
                          <a:pt x="16" y="27"/>
                          <a:pt x="13" y="28"/>
                        </a:cubicBezTo>
                        <a:cubicBezTo>
                          <a:pt x="7" y="29"/>
                          <a:pt x="0" y="29"/>
                          <a:pt x="0" y="29"/>
                        </a:cubicBezTo>
                        <a:cubicBezTo>
                          <a:pt x="0" y="29"/>
                          <a:pt x="26" y="31"/>
                          <a:pt x="36" y="48"/>
                        </a:cubicBezTo>
                        <a:cubicBezTo>
                          <a:pt x="53" y="47"/>
                          <a:pt x="48" y="32"/>
                          <a:pt x="52" y="27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" name="Freeform 269">
                    <a:extLst>
                      <a:ext uri="{FF2B5EF4-FFF2-40B4-BE49-F238E27FC236}">
                        <a16:creationId xmlns:a16="http://schemas.microsoft.com/office/drawing/2014/main" id="{23063E9B-A1F5-8FA9-EF3B-D9723CABF23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20667" y="4848226"/>
                    <a:ext cx="80963" cy="107950"/>
                  </a:xfrm>
                  <a:custGeom>
                    <a:avLst/>
                    <a:gdLst>
                      <a:gd name="T0" fmla="*/ 9 w 41"/>
                      <a:gd name="T1" fmla="*/ 55 h 55"/>
                      <a:gd name="T2" fmla="*/ 22 w 41"/>
                      <a:gd name="T3" fmla="*/ 55 h 55"/>
                      <a:gd name="T4" fmla="*/ 30 w 41"/>
                      <a:gd name="T5" fmla="*/ 48 h 55"/>
                      <a:gd name="T6" fmla="*/ 33 w 41"/>
                      <a:gd name="T7" fmla="*/ 36 h 55"/>
                      <a:gd name="T8" fmla="*/ 38 w 41"/>
                      <a:gd name="T9" fmla="*/ 32 h 55"/>
                      <a:gd name="T10" fmla="*/ 36 w 41"/>
                      <a:gd name="T11" fmla="*/ 24 h 55"/>
                      <a:gd name="T12" fmla="*/ 34 w 41"/>
                      <a:gd name="T13" fmla="*/ 3 h 55"/>
                      <a:gd name="T14" fmla="*/ 23 w 41"/>
                      <a:gd name="T15" fmla="*/ 0 h 55"/>
                      <a:gd name="T16" fmla="*/ 12 w 41"/>
                      <a:gd name="T17" fmla="*/ 8 h 55"/>
                      <a:gd name="T18" fmla="*/ 0 w 41"/>
                      <a:gd name="T19" fmla="*/ 30 h 55"/>
                      <a:gd name="T20" fmla="*/ 2 w 41"/>
                      <a:gd name="T21" fmla="*/ 32 h 55"/>
                      <a:gd name="T22" fmla="*/ 5 w 41"/>
                      <a:gd name="T23" fmla="*/ 33 h 55"/>
                      <a:gd name="T24" fmla="*/ 5 w 41"/>
                      <a:gd name="T25" fmla="*/ 54 h 55"/>
                      <a:gd name="T26" fmla="*/ 9 w 41"/>
                      <a:gd name="T27" fmla="*/ 55 h 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1" h="55">
                        <a:moveTo>
                          <a:pt x="9" y="55"/>
                        </a:moveTo>
                        <a:cubicBezTo>
                          <a:pt x="12" y="55"/>
                          <a:pt x="17" y="55"/>
                          <a:pt x="22" y="55"/>
                        </a:cubicBezTo>
                        <a:cubicBezTo>
                          <a:pt x="29" y="54"/>
                          <a:pt x="30" y="48"/>
                          <a:pt x="30" y="48"/>
                        </a:cubicBezTo>
                        <a:cubicBezTo>
                          <a:pt x="33" y="36"/>
                          <a:pt x="33" y="36"/>
                          <a:pt x="33" y="36"/>
                        </a:cubicBezTo>
                        <a:cubicBezTo>
                          <a:pt x="33" y="36"/>
                          <a:pt x="36" y="35"/>
                          <a:pt x="38" y="32"/>
                        </a:cubicBezTo>
                        <a:cubicBezTo>
                          <a:pt x="39" y="31"/>
                          <a:pt x="41" y="26"/>
                          <a:pt x="36" y="24"/>
                        </a:cubicBezTo>
                        <a:cubicBezTo>
                          <a:pt x="28" y="21"/>
                          <a:pt x="34" y="3"/>
                          <a:pt x="34" y="3"/>
                        </a:cubicBezTo>
                        <a:cubicBezTo>
                          <a:pt x="23" y="0"/>
                          <a:pt x="23" y="0"/>
                          <a:pt x="23" y="0"/>
                        </a:cubicBezTo>
                        <a:cubicBezTo>
                          <a:pt x="12" y="8"/>
                          <a:pt x="12" y="8"/>
                          <a:pt x="12" y="8"/>
                        </a:cubicBezTo>
                        <a:cubicBezTo>
                          <a:pt x="0" y="30"/>
                          <a:pt x="0" y="30"/>
                          <a:pt x="0" y="30"/>
                        </a:cubicBezTo>
                        <a:cubicBezTo>
                          <a:pt x="0" y="30"/>
                          <a:pt x="0" y="31"/>
                          <a:pt x="2" y="32"/>
                        </a:cubicBezTo>
                        <a:cubicBezTo>
                          <a:pt x="4" y="32"/>
                          <a:pt x="5" y="33"/>
                          <a:pt x="5" y="33"/>
                        </a:cubicBezTo>
                        <a:cubicBezTo>
                          <a:pt x="5" y="33"/>
                          <a:pt x="5" y="53"/>
                          <a:pt x="5" y="54"/>
                        </a:cubicBezTo>
                        <a:cubicBezTo>
                          <a:pt x="5" y="55"/>
                          <a:pt x="7" y="55"/>
                          <a:pt x="9" y="55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" name="Freeform 270">
                    <a:extLst>
                      <a:ext uri="{FF2B5EF4-FFF2-40B4-BE49-F238E27FC236}">
                        <a16:creationId xmlns:a16="http://schemas.microsoft.com/office/drawing/2014/main" id="{6BC4674D-24DB-5055-5905-2E8AE0AD00B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44480" y="4838701"/>
                    <a:ext cx="92075" cy="85725"/>
                  </a:xfrm>
                  <a:custGeom>
                    <a:avLst/>
                    <a:gdLst>
                      <a:gd name="T0" fmla="*/ 45 w 47"/>
                      <a:gd name="T1" fmla="*/ 22 h 44"/>
                      <a:gd name="T2" fmla="*/ 44 w 47"/>
                      <a:gd name="T3" fmla="*/ 18 h 44"/>
                      <a:gd name="T4" fmla="*/ 25 w 47"/>
                      <a:gd name="T5" fmla="*/ 3 h 44"/>
                      <a:gd name="T6" fmla="*/ 0 w 47"/>
                      <a:gd name="T7" fmla="*/ 14 h 44"/>
                      <a:gd name="T8" fmla="*/ 14 w 47"/>
                      <a:gd name="T9" fmla="*/ 21 h 44"/>
                      <a:gd name="T10" fmla="*/ 21 w 47"/>
                      <a:gd name="T11" fmla="*/ 30 h 44"/>
                      <a:gd name="T12" fmla="*/ 27 w 47"/>
                      <a:gd name="T13" fmla="*/ 35 h 44"/>
                      <a:gd name="T14" fmla="*/ 36 w 47"/>
                      <a:gd name="T15" fmla="*/ 44 h 44"/>
                      <a:gd name="T16" fmla="*/ 45 w 47"/>
                      <a:gd name="T17" fmla="*/ 22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7" h="44">
                        <a:moveTo>
                          <a:pt x="45" y="22"/>
                        </a:moveTo>
                        <a:cubicBezTo>
                          <a:pt x="44" y="18"/>
                          <a:pt x="44" y="18"/>
                          <a:pt x="44" y="18"/>
                        </a:cubicBezTo>
                        <a:cubicBezTo>
                          <a:pt x="44" y="18"/>
                          <a:pt x="42" y="7"/>
                          <a:pt x="25" y="3"/>
                        </a:cubicBezTo>
                        <a:cubicBezTo>
                          <a:pt x="6" y="0"/>
                          <a:pt x="0" y="14"/>
                          <a:pt x="0" y="14"/>
                        </a:cubicBezTo>
                        <a:cubicBezTo>
                          <a:pt x="0" y="14"/>
                          <a:pt x="14" y="12"/>
                          <a:pt x="14" y="21"/>
                        </a:cubicBezTo>
                        <a:cubicBezTo>
                          <a:pt x="14" y="31"/>
                          <a:pt x="20" y="30"/>
                          <a:pt x="21" y="30"/>
                        </a:cubicBezTo>
                        <a:cubicBezTo>
                          <a:pt x="22" y="30"/>
                          <a:pt x="26" y="31"/>
                          <a:pt x="27" y="35"/>
                        </a:cubicBezTo>
                        <a:cubicBezTo>
                          <a:pt x="27" y="41"/>
                          <a:pt x="33" y="44"/>
                          <a:pt x="36" y="44"/>
                        </a:cubicBezTo>
                        <a:cubicBezTo>
                          <a:pt x="47" y="32"/>
                          <a:pt x="45" y="22"/>
                          <a:pt x="45" y="22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" name="Freeform 271">
                    <a:extLst>
                      <a:ext uri="{FF2B5EF4-FFF2-40B4-BE49-F238E27FC236}">
                        <a16:creationId xmlns:a16="http://schemas.microsoft.com/office/drawing/2014/main" id="{7FB3FFD7-9AD2-9521-0CBA-1D99A06E1E7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6542" y="4886326"/>
                    <a:ext cx="15875" cy="7938"/>
                  </a:xfrm>
                  <a:custGeom>
                    <a:avLst/>
                    <a:gdLst>
                      <a:gd name="T0" fmla="*/ 1 w 8"/>
                      <a:gd name="T1" fmla="*/ 3 h 4"/>
                      <a:gd name="T2" fmla="*/ 2 w 8"/>
                      <a:gd name="T3" fmla="*/ 4 h 4"/>
                      <a:gd name="T4" fmla="*/ 8 w 8"/>
                      <a:gd name="T5" fmla="*/ 4 h 4"/>
                      <a:gd name="T6" fmla="*/ 1 w 8"/>
                      <a:gd name="T7" fmla="*/ 1 h 4"/>
                      <a:gd name="T8" fmla="*/ 1 w 8"/>
                      <a:gd name="T9" fmla="*/ 3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" h="4">
                        <a:moveTo>
                          <a:pt x="1" y="3"/>
                        </a:moveTo>
                        <a:cubicBezTo>
                          <a:pt x="1" y="4"/>
                          <a:pt x="1" y="4"/>
                          <a:pt x="2" y="4"/>
                        </a:cubicBezTo>
                        <a:cubicBezTo>
                          <a:pt x="4" y="4"/>
                          <a:pt x="6" y="4"/>
                          <a:pt x="8" y="4"/>
                        </a:cubicBezTo>
                        <a:cubicBezTo>
                          <a:pt x="8" y="4"/>
                          <a:pt x="6" y="3"/>
                          <a:pt x="1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" name="Freeform 272">
                    <a:extLst>
                      <a:ext uri="{FF2B5EF4-FFF2-40B4-BE49-F238E27FC236}">
                        <a16:creationId xmlns:a16="http://schemas.microsoft.com/office/drawing/2014/main" id="{84702290-3740-ED83-AD3D-6F4B213610D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1792" y="4857751"/>
                    <a:ext cx="217488" cy="93663"/>
                  </a:xfrm>
                  <a:custGeom>
                    <a:avLst/>
                    <a:gdLst>
                      <a:gd name="T0" fmla="*/ 0 w 111"/>
                      <a:gd name="T1" fmla="*/ 8 h 48"/>
                      <a:gd name="T2" fmla="*/ 17 w 111"/>
                      <a:gd name="T3" fmla="*/ 1 h 48"/>
                      <a:gd name="T4" fmla="*/ 42 w 111"/>
                      <a:gd name="T5" fmla="*/ 11 h 48"/>
                      <a:gd name="T6" fmla="*/ 75 w 111"/>
                      <a:gd name="T7" fmla="*/ 12 h 48"/>
                      <a:gd name="T8" fmla="*/ 94 w 111"/>
                      <a:gd name="T9" fmla="*/ 19 h 48"/>
                      <a:gd name="T10" fmla="*/ 111 w 111"/>
                      <a:gd name="T11" fmla="*/ 34 h 48"/>
                      <a:gd name="T12" fmla="*/ 79 w 111"/>
                      <a:gd name="T13" fmla="*/ 42 h 48"/>
                      <a:gd name="T14" fmla="*/ 50 w 111"/>
                      <a:gd name="T15" fmla="*/ 34 h 48"/>
                      <a:gd name="T16" fmla="*/ 28 w 111"/>
                      <a:gd name="T17" fmla="*/ 22 h 48"/>
                      <a:gd name="T18" fmla="*/ 14 w 111"/>
                      <a:gd name="T19" fmla="*/ 13 h 48"/>
                      <a:gd name="T20" fmla="*/ 1 w 111"/>
                      <a:gd name="T21" fmla="*/ 13 h 48"/>
                      <a:gd name="T22" fmla="*/ 0 w 111"/>
                      <a:gd name="T23" fmla="*/ 8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11" h="48">
                        <a:moveTo>
                          <a:pt x="0" y="8"/>
                        </a:moveTo>
                        <a:cubicBezTo>
                          <a:pt x="0" y="8"/>
                          <a:pt x="7" y="0"/>
                          <a:pt x="17" y="1"/>
                        </a:cubicBezTo>
                        <a:cubicBezTo>
                          <a:pt x="27" y="2"/>
                          <a:pt x="30" y="5"/>
                          <a:pt x="42" y="11"/>
                        </a:cubicBezTo>
                        <a:cubicBezTo>
                          <a:pt x="54" y="16"/>
                          <a:pt x="62" y="11"/>
                          <a:pt x="75" y="12"/>
                        </a:cubicBezTo>
                        <a:cubicBezTo>
                          <a:pt x="88" y="13"/>
                          <a:pt x="92" y="17"/>
                          <a:pt x="94" y="19"/>
                        </a:cubicBezTo>
                        <a:cubicBezTo>
                          <a:pt x="102" y="24"/>
                          <a:pt x="111" y="34"/>
                          <a:pt x="111" y="34"/>
                        </a:cubicBezTo>
                        <a:cubicBezTo>
                          <a:pt x="111" y="34"/>
                          <a:pt x="94" y="48"/>
                          <a:pt x="79" y="42"/>
                        </a:cubicBezTo>
                        <a:cubicBezTo>
                          <a:pt x="74" y="40"/>
                          <a:pt x="66" y="31"/>
                          <a:pt x="50" y="34"/>
                        </a:cubicBezTo>
                        <a:cubicBezTo>
                          <a:pt x="39" y="36"/>
                          <a:pt x="33" y="29"/>
                          <a:pt x="28" y="22"/>
                        </a:cubicBezTo>
                        <a:cubicBezTo>
                          <a:pt x="25" y="18"/>
                          <a:pt x="19" y="14"/>
                          <a:pt x="14" y="13"/>
                        </a:cubicBezTo>
                        <a:cubicBezTo>
                          <a:pt x="9" y="11"/>
                          <a:pt x="1" y="13"/>
                          <a:pt x="1" y="13"/>
                        </a:cubicBez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" name="Freeform 273">
                    <a:extLst>
                      <a:ext uri="{FF2B5EF4-FFF2-40B4-BE49-F238E27FC236}">
                        <a16:creationId xmlns:a16="http://schemas.microsoft.com/office/drawing/2014/main" id="{ADCD32E8-4181-E433-6297-C0B1DC3CC96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8617" y="4868864"/>
                    <a:ext cx="7938" cy="15875"/>
                  </a:xfrm>
                  <a:custGeom>
                    <a:avLst/>
                    <a:gdLst>
                      <a:gd name="T0" fmla="*/ 1 w 4"/>
                      <a:gd name="T1" fmla="*/ 6 h 8"/>
                      <a:gd name="T2" fmla="*/ 3 w 4"/>
                      <a:gd name="T3" fmla="*/ 8 h 8"/>
                      <a:gd name="T4" fmla="*/ 4 w 4"/>
                      <a:gd name="T5" fmla="*/ 5 h 8"/>
                      <a:gd name="T6" fmla="*/ 3 w 4"/>
                      <a:gd name="T7" fmla="*/ 2 h 8"/>
                      <a:gd name="T8" fmla="*/ 1 w 4"/>
                      <a:gd name="T9" fmla="*/ 0 h 8"/>
                      <a:gd name="T10" fmla="*/ 0 w 4"/>
                      <a:gd name="T11" fmla="*/ 2 h 8"/>
                      <a:gd name="T12" fmla="*/ 1 w 4"/>
                      <a:gd name="T13" fmla="*/ 6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" h="8">
                        <a:moveTo>
                          <a:pt x="1" y="6"/>
                        </a:moveTo>
                        <a:cubicBezTo>
                          <a:pt x="1" y="7"/>
                          <a:pt x="2" y="8"/>
                          <a:pt x="3" y="8"/>
                        </a:cubicBezTo>
                        <a:cubicBezTo>
                          <a:pt x="4" y="7"/>
                          <a:pt x="4" y="6"/>
                          <a:pt x="4" y="5"/>
                        </a:cubicBezTo>
                        <a:cubicBezTo>
                          <a:pt x="3" y="2"/>
                          <a:pt x="3" y="2"/>
                          <a:pt x="3" y="2"/>
                        </a:cubicBezTo>
                        <a:cubicBezTo>
                          <a:pt x="3" y="1"/>
                          <a:pt x="2" y="0"/>
                          <a:pt x="1" y="0"/>
                        </a:cubicBezTo>
                        <a:cubicBezTo>
                          <a:pt x="0" y="1"/>
                          <a:pt x="0" y="1"/>
                          <a:pt x="0" y="2"/>
                        </a:cubicBezTo>
                        <a:lnTo>
                          <a:pt x="1" y="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" name="Freeform 274">
                    <a:extLst>
                      <a:ext uri="{FF2B5EF4-FFF2-40B4-BE49-F238E27FC236}">
                        <a16:creationId xmlns:a16="http://schemas.microsoft.com/office/drawing/2014/main" id="{7D8DDF9C-3BC8-46F1-F54C-AF914126BE3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7505" y="4951414"/>
                    <a:ext cx="50800" cy="150813"/>
                  </a:xfrm>
                  <a:custGeom>
                    <a:avLst/>
                    <a:gdLst>
                      <a:gd name="T0" fmla="*/ 8 w 26"/>
                      <a:gd name="T1" fmla="*/ 0 h 77"/>
                      <a:gd name="T2" fmla="*/ 1 w 26"/>
                      <a:gd name="T3" fmla="*/ 34 h 77"/>
                      <a:gd name="T4" fmla="*/ 26 w 26"/>
                      <a:gd name="T5" fmla="*/ 77 h 77"/>
                      <a:gd name="T6" fmla="*/ 12 w 26"/>
                      <a:gd name="T7" fmla="*/ 31 h 77"/>
                      <a:gd name="T8" fmla="*/ 5 w 26"/>
                      <a:gd name="T9" fmla="*/ 28 h 77"/>
                      <a:gd name="T10" fmla="*/ 12 w 26"/>
                      <a:gd name="T11" fmla="*/ 23 h 77"/>
                      <a:gd name="T12" fmla="*/ 12 w 26"/>
                      <a:gd name="T13" fmla="*/ 1 h 77"/>
                      <a:gd name="T14" fmla="*/ 8 w 26"/>
                      <a:gd name="T15" fmla="*/ 0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6" h="77">
                        <a:moveTo>
                          <a:pt x="8" y="0"/>
                        </a:moveTo>
                        <a:cubicBezTo>
                          <a:pt x="8" y="0"/>
                          <a:pt x="0" y="15"/>
                          <a:pt x="1" y="34"/>
                        </a:cubicBezTo>
                        <a:cubicBezTo>
                          <a:pt x="2" y="54"/>
                          <a:pt x="22" y="73"/>
                          <a:pt x="26" y="77"/>
                        </a:cubicBezTo>
                        <a:cubicBezTo>
                          <a:pt x="16" y="59"/>
                          <a:pt x="12" y="31"/>
                          <a:pt x="12" y="31"/>
                        </a:cubicBezTo>
                        <a:cubicBezTo>
                          <a:pt x="5" y="28"/>
                          <a:pt x="5" y="28"/>
                          <a:pt x="5" y="28"/>
                        </a:cubicBezTo>
                        <a:cubicBezTo>
                          <a:pt x="12" y="23"/>
                          <a:pt x="12" y="23"/>
                          <a:pt x="12" y="23"/>
                        </a:cubicBezTo>
                        <a:cubicBezTo>
                          <a:pt x="12" y="1"/>
                          <a:pt x="12" y="1"/>
                          <a:pt x="12" y="1"/>
                        </a:cubicBezTo>
                        <a:lnTo>
                          <a:pt x="8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" name="Freeform 275">
                    <a:extLst>
                      <a:ext uri="{FF2B5EF4-FFF2-40B4-BE49-F238E27FC236}">
                        <a16:creationId xmlns:a16="http://schemas.microsoft.com/office/drawing/2014/main" id="{210695BE-22DD-A799-B61F-40DE5CF41F7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87317" y="5113339"/>
                    <a:ext cx="174625" cy="79375"/>
                  </a:xfrm>
                  <a:custGeom>
                    <a:avLst/>
                    <a:gdLst>
                      <a:gd name="T0" fmla="*/ 1 w 110"/>
                      <a:gd name="T1" fmla="*/ 0 h 50"/>
                      <a:gd name="T2" fmla="*/ 110 w 110"/>
                      <a:gd name="T3" fmla="*/ 22 h 50"/>
                      <a:gd name="T4" fmla="*/ 95 w 110"/>
                      <a:gd name="T5" fmla="*/ 50 h 50"/>
                      <a:gd name="T6" fmla="*/ 0 w 110"/>
                      <a:gd name="T7" fmla="*/ 12 h 50"/>
                      <a:gd name="T8" fmla="*/ 1 w 110"/>
                      <a:gd name="T9" fmla="*/ 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0" h="50">
                        <a:moveTo>
                          <a:pt x="1" y="0"/>
                        </a:moveTo>
                        <a:lnTo>
                          <a:pt x="110" y="22"/>
                        </a:lnTo>
                        <a:lnTo>
                          <a:pt x="95" y="50"/>
                        </a:lnTo>
                        <a:lnTo>
                          <a:pt x="0" y="12"/>
                        </a:ln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" name="Freeform 276">
                    <a:extLst>
                      <a:ext uri="{FF2B5EF4-FFF2-40B4-BE49-F238E27FC236}">
                        <a16:creationId xmlns:a16="http://schemas.microsoft.com/office/drawing/2014/main" id="{934A7902-C9F2-506C-F305-497D14A17A5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77805" y="4949826"/>
                    <a:ext cx="252413" cy="258763"/>
                  </a:xfrm>
                  <a:custGeom>
                    <a:avLst/>
                    <a:gdLst>
                      <a:gd name="T0" fmla="*/ 7 w 128"/>
                      <a:gd name="T1" fmla="*/ 93 h 132"/>
                      <a:gd name="T2" fmla="*/ 49 w 128"/>
                      <a:gd name="T3" fmla="*/ 102 h 132"/>
                      <a:gd name="T4" fmla="*/ 91 w 128"/>
                      <a:gd name="T5" fmla="*/ 24 h 132"/>
                      <a:gd name="T6" fmla="*/ 121 w 128"/>
                      <a:gd name="T7" fmla="*/ 53 h 132"/>
                      <a:gd name="T8" fmla="*/ 70 w 128"/>
                      <a:gd name="T9" fmla="*/ 119 h 132"/>
                      <a:gd name="T10" fmla="*/ 38 w 128"/>
                      <a:gd name="T11" fmla="*/ 127 h 132"/>
                      <a:gd name="T12" fmla="*/ 0 w 128"/>
                      <a:gd name="T13" fmla="*/ 112 h 132"/>
                      <a:gd name="T14" fmla="*/ 7 w 128"/>
                      <a:gd name="T15" fmla="*/ 93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8" h="132">
                        <a:moveTo>
                          <a:pt x="7" y="93"/>
                        </a:moveTo>
                        <a:cubicBezTo>
                          <a:pt x="49" y="102"/>
                          <a:pt x="49" y="102"/>
                          <a:pt x="49" y="102"/>
                        </a:cubicBezTo>
                        <a:cubicBezTo>
                          <a:pt x="49" y="102"/>
                          <a:pt x="81" y="54"/>
                          <a:pt x="91" y="24"/>
                        </a:cubicBezTo>
                        <a:cubicBezTo>
                          <a:pt x="109" y="0"/>
                          <a:pt x="128" y="26"/>
                          <a:pt x="121" y="53"/>
                        </a:cubicBezTo>
                        <a:cubicBezTo>
                          <a:pt x="101" y="86"/>
                          <a:pt x="82" y="108"/>
                          <a:pt x="70" y="119"/>
                        </a:cubicBezTo>
                        <a:cubicBezTo>
                          <a:pt x="55" y="132"/>
                          <a:pt x="38" y="127"/>
                          <a:pt x="38" y="127"/>
                        </a:cubicBezTo>
                        <a:cubicBezTo>
                          <a:pt x="38" y="127"/>
                          <a:pt x="14" y="117"/>
                          <a:pt x="0" y="112"/>
                        </a:cubicBezTo>
                        <a:lnTo>
                          <a:pt x="7" y="93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" name="Freeform 278">
                    <a:extLst>
                      <a:ext uri="{FF2B5EF4-FFF2-40B4-BE49-F238E27FC236}">
                        <a16:creationId xmlns:a16="http://schemas.microsoft.com/office/drawing/2014/main" id="{ABB5BE8F-BD2B-CA86-0173-5819EEE25FC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12705" y="5087939"/>
                    <a:ext cx="79375" cy="46038"/>
                  </a:xfrm>
                  <a:custGeom>
                    <a:avLst/>
                    <a:gdLst>
                      <a:gd name="T0" fmla="*/ 40 w 40"/>
                      <a:gd name="T1" fmla="*/ 14 h 24"/>
                      <a:gd name="T2" fmla="*/ 31 w 40"/>
                      <a:gd name="T3" fmla="*/ 9 h 24"/>
                      <a:gd name="T4" fmla="*/ 24 w 40"/>
                      <a:gd name="T5" fmla="*/ 4 h 24"/>
                      <a:gd name="T6" fmla="*/ 21 w 40"/>
                      <a:gd name="T7" fmla="*/ 2 h 24"/>
                      <a:gd name="T8" fmla="*/ 4 w 40"/>
                      <a:gd name="T9" fmla="*/ 1 h 24"/>
                      <a:gd name="T10" fmla="*/ 4 w 40"/>
                      <a:gd name="T11" fmla="*/ 2 h 24"/>
                      <a:gd name="T12" fmla="*/ 12 w 40"/>
                      <a:gd name="T13" fmla="*/ 4 h 24"/>
                      <a:gd name="T14" fmla="*/ 1 w 40"/>
                      <a:gd name="T15" fmla="*/ 7 h 24"/>
                      <a:gd name="T16" fmla="*/ 3 w 40"/>
                      <a:gd name="T17" fmla="*/ 9 h 24"/>
                      <a:gd name="T18" fmla="*/ 11 w 40"/>
                      <a:gd name="T19" fmla="*/ 8 h 24"/>
                      <a:gd name="T20" fmla="*/ 25 w 40"/>
                      <a:gd name="T21" fmla="*/ 20 h 24"/>
                      <a:gd name="T22" fmla="*/ 19 w 40"/>
                      <a:gd name="T23" fmla="*/ 21 h 24"/>
                      <a:gd name="T24" fmla="*/ 22 w 40"/>
                      <a:gd name="T25" fmla="*/ 24 h 24"/>
                      <a:gd name="T26" fmla="*/ 39 w 40"/>
                      <a:gd name="T27" fmla="*/ 23 h 24"/>
                      <a:gd name="T28" fmla="*/ 40 w 40"/>
                      <a:gd name="T29" fmla="*/ 14 h 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0" h="24">
                        <a:moveTo>
                          <a:pt x="40" y="14"/>
                        </a:moveTo>
                        <a:cubicBezTo>
                          <a:pt x="40" y="14"/>
                          <a:pt x="35" y="12"/>
                          <a:pt x="31" y="9"/>
                        </a:cubicBezTo>
                        <a:cubicBezTo>
                          <a:pt x="28" y="7"/>
                          <a:pt x="24" y="4"/>
                          <a:pt x="24" y="4"/>
                        </a:cubicBezTo>
                        <a:cubicBezTo>
                          <a:pt x="24" y="4"/>
                          <a:pt x="23" y="3"/>
                          <a:pt x="21" y="2"/>
                        </a:cubicBezTo>
                        <a:cubicBezTo>
                          <a:pt x="20" y="1"/>
                          <a:pt x="12" y="0"/>
                          <a:pt x="4" y="1"/>
                        </a:cubicBezTo>
                        <a:cubicBezTo>
                          <a:pt x="3" y="1"/>
                          <a:pt x="3" y="2"/>
                          <a:pt x="4" y="2"/>
                        </a:cubicBezTo>
                        <a:cubicBezTo>
                          <a:pt x="5" y="3"/>
                          <a:pt x="12" y="4"/>
                          <a:pt x="12" y="4"/>
                        </a:cubicBezTo>
                        <a:cubicBezTo>
                          <a:pt x="12" y="4"/>
                          <a:pt x="3" y="6"/>
                          <a:pt x="1" y="7"/>
                        </a:cubicBezTo>
                        <a:cubicBezTo>
                          <a:pt x="0" y="7"/>
                          <a:pt x="1" y="9"/>
                          <a:pt x="3" y="9"/>
                        </a:cubicBezTo>
                        <a:cubicBezTo>
                          <a:pt x="4" y="9"/>
                          <a:pt x="11" y="8"/>
                          <a:pt x="11" y="8"/>
                        </a:cubicBezTo>
                        <a:cubicBezTo>
                          <a:pt x="25" y="20"/>
                          <a:pt x="25" y="20"/>
                          <a:pt x="25" y="20"/>
                        </a:cubicBezTo>
                        <a:cubicBezTo>
                          <a:pt x="19" y="21"/>
                          <a:pt x="19" y="21"/>
                          <a:pt x="19" y="21"/>
                        </a:cubicBezTo>
                        <a:cubicBezTo>
                          <a:pt x="22" y="24"/>
                          <a:pt x="22" y="24"/>
                          <a:pt x="22" y="24"/>
                        </a:cubicBezTo>
                        <a:cubicBezTo>
                          <a:pt x="22" y="24"/>
                          <a:pt x="30" y="24"/>
                          <a:pt x="39" y="23"/>
                        </a:cubicBezTo>
                        <a:lnTo>
                          <a:pt x="40" y="14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" name="Freeform 279">
                    <a:extLst>
                      <a:ext uri="{FF2B5EF4-FFF2-40B4-BE49-F238E27FC236}">
                        <a16:creationId xmlns:a16="http://schemas.microsoft.com/office/drawing/2014/main" id="{E96AB69E-FE07-07D4-4EBB-A86C9A531E2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2405" y="5707064"/>
                    <a:ext cx="63500" cy="38100"/>
                  </a:xfrm>
                  <a:custGeom>
                    <a:avLst/>
                    <a:gdLst>
                      <a:gd name="T0" fmla="*/ 11 w 32"/>
                      <a:gd name="T1" fmla="*/ 9 h 19"/>
                      <a:gd name="T2" fmla="*/ 2 w 32"/>
                      <a:gd name="T3" fmla="*/ 11 h 19"/>
                      <a:gd name="T4" fmla="*/ 1 w 32"/>
                      <a:gd name="T5" fmla="*/ 14 h 19"/>
                      <a:gd name="T6" fmla="*/ 13 w 32"/>
                      <a:gd name="T7" fmla="*/ 16 h 19"/>
                      <a:gd name="T8" fmla="*/ 23 w 32"/>
                      <a:gd name="T9" fmla="*/ 10 h 19"/>
                      <a:gd name="T10" fmla="*/ 22 w 32"/>
                      <a:gd name="T11" fmla="*/ 18 h 19"/>
                      <a:gd name="T12" fmla="*/ 26 w 32"/>
                      <a:gd name="T13" fmla="*/ 19 h 19"/>
                      <a:gd name="T14" fmla="*/ 30 w 32"/>
                      <a:gd name="T15" fmla="*/ 6 h 19"/>
                      <a:gd name="T16" fmla="*/ 31 w 32"/>
                      <a:gd name="T17" fmla="*/ 0 h 19"/>
                      <a:gd name="T18" fmla="*/ 23 w 32"/>
                      <a:gd name="T19" fmla="*/ 5 h 19"/>
                      <a:gd name="T20" fmla="*/ 11 w 32"/>
                      <a:gd name="T21" fmla="*/ 9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2" h="19">
                        <a:moveTo>
                          <a:pt x="11" y="9"/>
                        </a:moveTo>
                        <a:cubicBezTo>
                          <a:pt x="8" y="9"/>
                          <a:pt x="3" y="11"/>
                          <a:pt x="2" y="11"/>
                        </a:cubicBezTo>
                        <a:cubicBezTo>
                          <a:pt x="0" y="11"/>
                          <a:pt x="1" y="14"/>
                          <a:pt x="1" y="14"/>
                        </a:cubicBezTo>
                        <a:cubicBezTo>
                          <a:pt x="1" y="14"/>
                          <a:pt x="11" y="15"/>
                          <a:pt x="13" y="16"/>
                        </a:cubicBezTo>
                        <a:cubicBezTo>
                          <a:pt x="15" y="16"/>
                          <a:pt x="23" y="10"/>
                          <a:pt x="23" y="10"/>
                        </a:cubicBezTo>
                        <a:cubicBezTo>
                          <a:pt x="22" y="18"/>
                          <a:pt x="22" y="18"/>
                          <a:pt x="22" y="18"/>
                        </a:cubicBezTo>
                        <a:cubicBezTo>
                          <a:pt x="26" y="19"/>
                          <a:pt x="26" y="19"/>
                          <a:pt x="26" y="19"/>
                        </a:cubicBezTo>
                        <a:cubicBezTo>
                          <a:pt x="26" y="19"/>
                          <a:pt x="28" y="12"/>
                          <a:pt x="30" y="6"/>
                        </a:cubicBezTo>
                        <a:cubicBezTo>
                          <a:pt x="32" y="3"/>
                          <a:pt x="31" y="0"/>
                          <a:pt x="31" y="0"/>
                        </a:cubicBezTo>
                        <a:cubicBezTo>
                          <a:pt x="31" y="0"/>
                          <a:pt x="29" y="0"/>
                          <a:pt x="23" y="5"/>
                        </a:cubicBezTo>
                        <a:cubicBezTo>
                          <a:pt x="17" y="11"/>
                          <a:pt x="13" y="9"/>
                          <a:pt x="11" y="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4" name="Freeform 179">
                  <a:extLst>
                    <a:ext uri="{FF2B5EF4-FFF2-40B4-BE49-F238E27FC236}">
                      <a16:creationId xmlns:a16="http://schemas.microsoft.com/office/drawing/2014/main" id="{B2CD4582-011F-DBF6-C0B9-C0F27799D31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81113" y="4808808"/>
                  <a:ext cx="566968" cy="273800"/>
                </a:xfrm>
                <a:custGeom>
                  <a:avLst/>
                  <a:gdLst>
                    <a:gd name="T0" fmla="*/ 262 w 551"/>
                    <a:gd name="T1" fmla="*/ 0 h 266"/>
                    <a:gd name="T2" fmla="*/ 238 w 551"/>
                    <a:gd name="T3" fmla="*/ 1 h 266"/>
                    <a:gd name="T4" fmla="*/ 240 w 551"/>
                    <a:gd name="T5" fmla="*/ 6 h 266"/>
                    <a:gd name="T6" fmla="*/ 264 w 551"/>
                    <a:gd name="T7" fmla="*/ 12 h 266"/>
                    <a:gd name="T8" fmla="*/ 282 w 551"/>
                    <a:gd name="T9" fmla="*/ 24 h 266"/>
                    <a:gd name="T10" fmla="*/ 281 w 551"/>
                    <a:gd name="T11" fmla="*/ 24 h 266"/>
                    <a:gd name="T12" fmla="*/ 280 w 551"/>
                    <a:gd name="T13" fmla="*/ 111 h 266"/>
                    <a:gd name="T14" fmla="*/ 218 w 551"/>
                    <a:gd name="T15" fmla="*/ 100 h 266"/>
                    <a:gd name="T16" fmla="*/ 166 w 551"/>
                    <a:gd name="T17" fmla="*/ 128 h 266"/>
                    <a:gd name="T18" fmla="*/ 94 w 551"/>
                    <a:gd name="T19" fmla="*/ 246 h 266"/>
                    <a:gd name="T20" fmla="*/ 0 w 551"/>
                    <a:gd name="T21" fmla="*/ 266 h 266"/>
                    <a:gd name="T22" fmla="*/ 224 w 551"/>
                    <a:gd name="T23" fmla="*/ 266 h 266"/>
                    <a:gd name="T24" fmla="*/ 241 w 551"/>
                    <a:gd name="T25" fmla="*/ 240 h 266"/>
                    <a:gd name="T26" fmla="*/ 212 w 551"/>
                    <a:gd name="T27" fmla="*/ 236 h 266"/>
                    <a:gd name="T28" fmla="*/ 217 w 551"/>
                    <a:gd name="T29" fmla="*/ 156 h 266"/>
                    <a:gd name="T30" fmla="*/ 280 w 551"/>
                    <a:gd name="T31" fmla="*/ 166 h 266"/>
                    <a:gd name="T32" fmla="*/ 279 w 551"/>
                    <a:gd name="T33" fmla="*/ 266 h 266"/>
                    <a:gd name="T34" fmla="*/ 364 w 551"/>
                    <a:gd name="T35" fmla="*/ 266 h 266"/>
                    <a:gd name="T36" fmla="*/ 348 w 551"/>
                    <a:gd name="T37" fmla="*/ 167 h 266"/>
                    <a:gd name="T38" fmla="*/ 451 w 551"/>
                    <a:gd name="T39" fmla="*/ 166 h 266"/>
                    <a:gd name="T40" fmla="*/ 510 w 551"/>
                    <a:gd name="T41" fmla="*/ 167 h 266"/>
                    <a:gd name="T42" fmla="*/ 519 w 551"/>
                    <a:gd name="T43" fmla="*/ 168 h 266"/>
                    <a:gd name="T44" fmla="*/ 521 w 551"/>
                    <a:gd name="T45" fmla="*/ 168 h 266"/>
                    <a:gd name="T46" fmla="*/ 545 w 551"/>
                    <a:gd name="T47" fmla="*/ 168 h 266"/>
                    <a:gd name="T48" fmla="*/ 546 w 551"/>
                    <a:gd name="T49" fmla="*/ 160 h 266"/>
                    <a:gd name="T50" fmla="*/ 532 w 551"/>
                    <a:gd name="T51" fmla="*/ 158 h 266"/>
                    <a:gd name="T52" fmla="*/ 548 w 551"/>
                    <a:gd name="T53" fmla="*/ 143 h 266"/>
                    <a:gd name="T54" fmla="*/ 551 w 551"/>
                    <a:gd name="T55" fmla="*/ 121 h 266"/>
                    <a:gd name="T56" fmla="*/ 548 w 551"/>
                    <a:gd name="T57" fmla="*/ 119 h 266"/>
                    <a:gd name="T58" fmla="*/ 545 w 551"/>
                    <a:gd name="T59" fmla="*/ 121 h 266"/>
                    <a:gd name="T60" fmla="*/ 537 w 551"/>
                    <a:gd name="T61" fmla="*/ 135 h 266"/>
                    <a:gd name="T62" fmla="*/ 511 w 551"/>
                    <a:gd name="T63" fmla="*/ 150 h 266"/>
                    <a:gd name="T64" fmla="*/ 338 w 551"/>
                    <a:gd name="T65" fmla="*/ 121 h 266"/>
                    <a:gd name="T66" fmla="*/ 315 w 551"/>
                    <a:gd name="T67" fmla="*/ 27 h 266"/>
                    <a:gd name="T68" fmla="*/ 306 w 551"/>
                    <a:gd name="T69" fmla="*/ 25 h 266"/>
                    <a:gd name="T70" fmla="*/ 306 w 551"/>
                    <a:gd name="T71" fmla="*/ 22 h 266"/>
                    <a:gd name="T72" fmla="*/ 306 w 551"/>
                    <a:gd name="T73" fmla="*/ 0 h 266"/>
                    <a:gd name="T74" fmla="*/ 288 w 551"/>
                    <a:gd name="T75" fmla="*/ 0 h 266"/>
                    <a:gd name="T76" fmla="*/ 287 w 551"/>
                    <a:gd name="T77" fmla="*/ 8 h 266"/>
                    <a:gd name="T78" fmla="*/ 262 w 551"/>
                    <a:gd name="T79" fmla="*/ 0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551" h="266">
                      <a:moveTo>
                        <a:pt x="262" y="0"/>
                      </a:moveTo>
                      <a:cubicBezTo>
                        <a:pt x="238" y="1"/>
                        <a:pt x="238" y="1"/>
                        <a:pt x="238" y="1"/>
                      </a:cubicBezTo>
                      <a:cubicBezTo>
                        <a:pt x="238" y="1"/>
                        <a:pt x="235" y="5"/>
                        <a:pt x="240" y="6"/>
                      </a:cubicBezTo>
                      <a:cubicBezTo>
                        <a:pt x="241" y="6"/>
                        <a:pt x="264" y="12"/>
                        <a:pt x="264" y="12"/>
                      </a:cubicBezTo>
                      <a:cubicBezTo>
                        <a:pt x="282" y="24"/>
                        <a:pt x="282" y="24"/>
                        <a:pt x="282" y="24"/>
                      </a:cubicBezTo>
                      <a:cubicBezTo>
                        <a:pt x="281" y="24"/>
                        <a:pt x="281" y="24"/>
                        <a:pt x="281" y="24"/>
                      </a:cubicBezTo>
                      <a:cubicBezTo>
                        <a:pt x="280" y="111"/>
                        <a:pt x="280" y="111"/>
                        <a:pt x="280" y="111"/>
                      </a:cubicBezTo>
                      <a:cubicBezTo>
                        <a:pt x="218" y="100"/>
                        <a:pt x="218" y="100"/>
                        <a:pt x="218" y="100"/>
                      </a:cubicBezTo>
                      <a:cubicBezTo>
                        <a:pt x="218" y="100"/>
                        <a:pt x="187" y="101"/>
                        <a:pt x="166" y="128"/>
                      </a:cubicBezTo>
                      <a:cubicBezTo>
                        <a:pt x="163" y="132"/>
                        <a:pt x="129" y="188"/>
                        <a:pt x="94" y="246"/>
                      </a:cubicBezTo>
                      <a:cubicBezTo>
                        <a:pt x="63" y="251"/>
                        <a:pt x="31" y="258"/>
                        <a:pt x="0" y="266"/>
                      </a:cubicBezTo>
                      <a:cubicBezTo>
                        <a:pt x="224" y="266"/>
                        <a:pt x="224" y="266"/>
                        <a:pt x="224" y="266"/>
                      </a:cubicBezTo>
                      <a:cubicBezTo>
                        <a:pt x="228" y="258"/>
                        <a:pt x="233" y="249"/>
                        <a:pt x="241" y="240"/>
                      </a:cubicBezTo>
                      <a:cubicBezTo>
                        <a:pt x="234" y="238"/>
                        <a:pt x="224" y="237"/>
                        <a:pt x="212" y="236"/>
                      </a:cubicBezTo>
                      <a:cubicBezTo>
                        <a:pt x="215" y="205"/>
                        <a:pt x="216" y="176"/>
                        <a:pt x="217" y="156"/>
                      </a:cubicBezTo>
                      <a:cubicBezTo>
                        <a:pt x="224" y="162"/>
                        <a:pt x="248" y="165"/>
                        <a:pt x="280" y="166"/>
                      </a:cubicBezTo>
                      <a:cubicBezTo>
                        <a:pt x="279" y="266"/>
                        <a:pt x="279" y="266"/>
                        <a:pt x="279" y="266"/>
                      </a:cubicBezTo>
                      <a:cubicBezTo>
                        <a:pt x="364" y="266"/>
                        <a:pt x="364" y="266"/>
                        <a:pt x="364" y="266"/>
                      </a:cubicBezTo>
                      <a:cubicBezTo>
                        <a:pt x="362" y="236"/>
                        <a:pt x="356" y="201"/>
                        <a:pt x="348" y="167"/>
                      </a:cubicBezTo>
                      <a:cubicBezTo>
                        <a:pt x="382" y="166"/>
                        <a:pt x="417" y="166"/>
                        <a:pt x="451" y="166"/>
                      </a:cubicBezTo>
                      <a:cubicBezTo>
                        <a:pt x="472" y="166"/>
                        <a:pt x="492" y="166"/>
                        <a:pt x="510" y="167"/>
                      </a:cubicBezTo>
                      <a:cubicBezTo>
                        <a:pt x="510" y="167"/>
                        <a:pt x="514" y="168"/>
                        <a:pt x="519" y="168"/>
                      </a:cubicBezTo>
                      <a:cubicBezTo>
                        <a:pt x="520" y="168"/>
                        <a:pt x="520" y="168"/>
                        <a:pt x="521" y="168"/>
                      </a:cubicBezTo>
                      <a:cubicBezTo>
                        <a:pt x="532" y="168"/>
                        <a:pt x="545" y="168"/>
                        <a:pt x="545" y="168"/>
                      </a:cubicBezTo>
                      <a:cubicBezTo>
                        <a:pt x="546" y="160"/>
                        <a:pt x="546" y="160"/>
                        <a:pt x="546" y="160"/>
                      </a:cubicBezTo>
                      <a:cubicBezTo>
                        <a:pt x="532" y="158"/>
                        <a:pt x="532" y="158"/>
                        <a:pt x="532" y="158"/>
                      </a:cubicBezTo>
                      <a:cubicBezTo>
                        <a:pt x="532" y="158"/>
                        <a:pt x="547" y="147"/>
                        <a:pt x="548" y="143"/>
                      </a:cubicBezTo>
                      <a:cubicBezTo>
                        <a:pt x="548" y="139"/>
                        <a:pt x="551" y="121"/>
                        <a:pt x="551" y="121"/>
                      </a:cubicBezTo>
                      <a:cubicBezTo>
                        <a:pt x="551" y="121"/>
                        <a:pt x="549" y="119"/>
                        <a:pt x="548" y="119"/>
                      </a:cubicBezTo>
                      <a:cubicBezTo>
                        <a:pt x="547" y="119"/>
                        <a:pt x="546" y="120"/>
                        <a:pt x="545" y="121"/>
                      </a:cubicBezTo>
                      <a:cubicBezTo>
                        <a:pt x="545" y="123"/>
                        <a:pt x="539" y="131"/>
                        <a:pt x="537" y="135"/>
                      </a:cubicBezTo>
                      <a:cubicBezTo>
                        <a:pt x="511" y="150"/>
                        <a:pt x="511" y="150"/>
                        <a:pt x="511" y="150"/>
                      </a:cubicBezTo>
                      <a:cubicBezTo>
                        <a:pt x="338" y="121"/>
                        <a:pt x="338" y="121"/>
                        <a:pt x="338" y="121"/>
                      </a:cubicBezTo>
                      <a:cubicBezTo>
                        <a:pt x="326" y="73"/>
                        <a:pt x="315" y="27"/>
                        <a:pt x="315" y="27"/>
                      </a:cubicBezTo>
                      <a:cubicBezTo>
                        <a:pt x="306" y="25"/>
                        <a:pt x="306" y="25"/>
                        <a:pt x="306" y="25"/>
                      </a:cubicBezTo>
                      <a:cubicBezTo>
                        <a:pt x="306" y="22"/>
                        <a:pt x="306" y="22"/>
                        <a:pt x="306" y="22"/>
                      </a:cubicBezTo>
                      <a:cubicBezTo>
                        <a:pt x="306" y="0"/>
                        <a:pt x="306" y="0"/>
                        <a:pt x="306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87" y="8"/>
                        <a:pt x="287" y="8"/>
                        <a:pt x="287" y="8"/>
                      </a:cubicBezTo>
                      <a:cubicBezTo>
                        <a:pt x="262" y="0"/>
                        <a:pt x="262" y="0"/>
                        <a:pt x="262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5" name="Freeform 178">
                  <a:extLst>
                    <a:ext uri="{FF2B5EF4-FFF2-40B4-BE49-F238E27FC236}">
                      <a16:creationId xmlns:a16="http://schemas.microsoft.com/office/drawing/2014/main" id="{6615AAD3-F163-9439-6D12-82267589F2F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695018" y="4798755"/>
                  <a:ext cx="340636" cy="295218"/>
                </a:xfrm>
                <a:custGeom>
                  <a:avLst/>
                  <a:gdLst>
                    <a:gd name="T0" fmla="*/ 214 w 308"/>
                    <a:gd name="T1" fmla="*/ 0 h 267"/>
                    <a:gd name="T2" fmla="*/ 208 w 308"/>
                    <a:gd name="T3" fmla="*/ 1 h 267"/>
                    <a:gd name="T4" fmla="*/ 210 w 308"/>
                    <a:gd name="T5" fmla="*/ 13 h 267"/>
                    <a:gd name="T6" fmla="*/ 195 w 308"/>
                    <a:gd name="T7" fmla="*/ 4 h 267"/>
                    <a:gd name="T8" fmla="*/ 194 w 308"/>
                    <a:gd name="T9" fmla="*/ 4 h 267"/>
                    <a:gd name="T10" fmla="*/ 175 w 308"/>
                    <a:gd name="T11" fmla="*/ 8 h 267"/>
                    <a:gd name="T12" fmla="*/ 177 w 308"/>
                    <a:gd name="T13" fmla="*/ 12 h 267"/>
                    <a:gd name="T14" fmla="*/ 190 w 308"/>
                    <a:gd name="T15" fmla="*/ 16 h 267"/>
                    <a:gd name="T16" fmla="*/ 210 w 308"/>
                    <a:gd name="T17" fmla="*/ 32 h 267"/>
                    <a:gd name="T18" fmla="*/ 230 w 308"/>
                    <a:gd name="T19" fmla="*/ 190 h 267"/>
                    <a:gd name="T20" fmla="*/ 172 w 308"/>
                    <a:gd name="T21" fmla="*/ 119 h 267"/>
                    <a:gd name="T22" fmla="*/ 124 w 308"/>
                    <a:gd name="T23" fmla="*/ 94 h 267"/>
                    <a:gd name="T24" fmla="*/ 74 w 308"/>
                    <a:gd name="T25" fmla="*/ 128 h 267"/>
                    <a:gd name="T26" fmla="*/ 0 w 308"/>
                    <a:gd name="T27" fmla="*/ 267 h 267"/>
                    <a:gd name="T28" fmla="*/ 135 w 308"/>
                    <a:gd name="T29" fmla="*/ 267 h 267"/>
                    <a:gd name="T30" fmla="*/ 139 w 308"/>
                    <a:gd name="T31" fmla="*/ 192 h 267"/>
                    <a:gd name="T32" fmla="*/ 218 w 308"/>
                    <a:gd name="T33" fmla="*/ 267 h 267"/>
                    <a:gd name="T34" fmla="*/ 308 w 308"/>
                    <a:gd name="T35" fmla="*/ 267 h 267"/>
                    <a:gd name="T36" fmla="*/ 223 w 308"/>
                    <a:gd name="T37" fmla="*/ 29 h 267"/>
                    <a:gd name="T38" fmla="*/ 222 w 308"/>
                    <a:gd name="T39" fmla="*/ 20 h 267"/>
                    <a:gd name="T40" fmla="*/ 214 w 308"/>
                    <a:gd name="T41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08" h="267">
                      <a:moveTo>
                        <a:pt x="214" y="0"/>
                      </a:moveTo>
                      <a:cubicBezTo>
                        <a:pt x="208" y="1"/>
                        <a:pt x="208" y="1"/>
                        <a:pt x="208" y="1"/>
                      </a:cubicBezTo>
                      <a:cubicBezTo>
                        <a:pt x="210" y="13"/>
                        <a:pt x="210" y="13"/>
                        <a:pt x="210" y="13"/>
                      </a:cubicBezTo>
                      <a:cubicBezTo>
                        <a:pt x="210" y="13"/>
                        <a:pt x="198" y="4"/>
                        <a:pt x="195" y="4"/>
                      </a:cubicBezTo>
                      <a:cubicBezTo>
                        <a:pt x="194" y="4"/>
                        <a:pt x="194" y="4"/>
                        <a:pt x="194" y="4"/>
                      </a:cubicBezTo>
                      <a:cubicBezTo>
                        <a:pt x="191" y="5"/>
                        <a:pt x="175" y="8"/>
                        <a:pt x="175" y="8"/>
                      </a:cubicBezTo>
                      <a:cubicBezTo>
                        <a:pt x="175" y="8"/>
                        <a:pt x="173" y="12"/>
                        <a:pt x="177" y="12"/>
                      </a:cubicBezTo>
                      <a:cubicBezTo>
                        <a:pt x="178" y="12"/>
                        <a:pt x="187" y="15"/>
                        <a:pt x="190" y="16"/>
                      </a:cubicBezTo>
                      <a:cubicBezTo>
                        <a:pt x="210" y="32"/>
                        <a:pt x="210" y="32"/>
                        <a:pt x="210" y="32"/>
                      </a:cubicBezTo>
                      <a:cubicBezTo>
                        <a:pt x="230" y="190"/>
                        <a:pt x="230" y="190"/>
                        <a:pt x="230" y="190"/>
                      </a:cubicBezTo>
                      <a:cubicBezTo>
                        <a:pt x="200" y="154"/>
                        <a:pt x="177" y="125"/>
                        <a:pt x="172" y="119"/>
                      </a:cubicBezTo>
                      <a:cubicBezTo>
                        <a:pt x="164" y="107"/>
                        <a:pt x="145" y="94"/>
                        <a:pt x="124" y="94"/>
                      </a:cubicBezTo>
                      <a:cubicBezTo>
                        <a:pt x="107" y="94"/>
                        <a:pt x="89" y="102"/>
                        <a:pt x="74" y="128"/>
                      </a:cubicBezTo>
                      <a:cubicBezTo>
                        <a:pt x="54" y="164"/>
                        <a:pt x="24" y="222"/>
                        <a:pt x="0" y="267"/>
                      </a:cubicBezTo>
                      <a:cubicBezTo>
                        <a:pt x="135" y="267"/>
                        <a:pt x="135" y="267"/>
                        <a:pt x="135" y="267"/>
                      </a:cubicBezTo>
                      <a:cubicBezTo>
                        <a:pt x="138" y="241"/>
                        <a:pt x="139" y="214"/>
                        <a:pt x="139" y="192"/>
                      </a:cubicBezTo>
                      <a:cubicBezTo>
                        <a:pt x="218" y="267"/>
                        <a:pt x="218" y="267"/>
                        <a:pt x="218" y="267"/>
                      </a:cubicBezTo>
                      <a:cubicBezTo>
                        <a:pt x="308" y="267"/>
                        <a:pt x="308" y="267"/>
                        <a:pt x="308" y="267"/>
                      </a:cubicBezTo>
                      <a:cubicBezTo>
                        <a:pt x="297" y="187"/>
                        <a:pt x="223" y="29"/>
                        <a:pt x="223" y="29"/>
                      </a:cubicBezTo>
                      <a:cubicBezTo>
                        <a:pt x="223" y="29"/>
                        <a:pt x="223" y="24"/>
                        <a:pt x="222" y="20"/>
                      </a:cubicBezTo>
                      <a:cubicBezTo>
                        <a:pt x="218" y="11"/>
                        <a:pt x="214" y="0"/>
                        <a:pt x="214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6" name="Freeform 176">
                  <a:extLst>
                    <a:ext uri="{FF2B5EF4-FFF2-40B4-BE49-F238E27FC236}">
                      <a16:creationId xmlns:a16="http://schemas.microsoft.com/office/drawing/2014/main" id="{EEEDECAC-EFD5-DC36-ED90-4ECB71341DE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36034" y="4916018"/>
                  <a:ext cx="541027" cy="181578"/>
                </a:xfrm>
                <a:custGeom>
                  <a:avLst/>
                  <a:gdLst>
                    <a:gd name="T0" fmla="*/ 91 w 375"/>
                    <a:gd name="T1" fmla="*/ 0 h 126"/>
                    <a:gd name="T2" fmla="*/ 48 w 375"/>
                    <a:gd name="T3" fmla="*/ 25 h 126"/>
                    <a:gd name="T4" fmla="*/ 0 w 375"/>
                    <a:gd name="T5" fmla="*/ 126 h 126"/>
                    <a:gd name="T6" fmla="*/ 88 w 375"/>
                    <a:gd name="T7" fmla="*/ 126 h 126"/>
                    <a:gd name="T8" fmla="*/ 92 w 375"/>
                    <a:gd name="T9" fmla="*/ 48 h 126"/>
                    <a:gd name="T10" fmla="*/ 152 w 375"/>
                    <a:gd name="T11" fmla="*/ 55 h 126"/>
                    <a:gd name="T12" fmla="*/ 240 w 375"/>
                    <a:gd name="T13" fmla="*/ 52 h 126"/>
                    <a:gd name="T14" fmla="*/ 331 w 375"/>
                    <a:gd name="T15" fmla="*/ 50 h 126"/>
                    <a:gd name="T16" fmla="*/ 341 w 375"/>
                    <a:gd name="T17" fmla="*/ 50 h 126"/>
                    <a:gd name="T18" fmla="*/ 349 w 375"/>
                    <a:gd name="T19" fmla="*/ 51 h 126"/>
                    <a:gd name="T20" fmla="*/ 351 w 375"/>
                    <a:gd name="T21" fmla="*/ 51 h 126"/>
                    <a:gd name="T22" fmla="*/ 371 w 375"/>
                    <a:gd name="T23" fmla="*/ 50 h 126"/>
                    <a:gd name="T24" fmla="*/ 372 w 375"/>
                    <a:gd name="T25" fmla="*/ 44 h 126"/>
                    <a:gd name="T26" fmla="*/ 360 w 375"/>
                    <a:gd name="T27" fmla="*/ 42 h 126"/>
                    <a:gd name="T28" fmla="*/ 373 w 375"/>
                    <a:gd name="T29" fmla="*/ 29 h 126"/>
                    <a:gd name="T30" fmla="*/ 375 w 375"/>
                    <a:gd name="T31" fmla="*/ 10 h 126"/>
                    <a:gd name="T32" fmla="*/ 372 w 375"/>
                    <a:gd name="T33" fmla="*/ 9 h 126"/>
                    <a:gd name="T34" fmla="*/ 370 w 375"/>
                    <a:gd name="T35" fmla="*/ 10 h 126"/>
                    <a:gd name="T36" fmla="*/ 363 w 375"/>
                    <a:gd name="T37" fmla="*/ 22 h 126"/>
                    <a:gd name="T38" fmla="*/ 342 w 375"/>
                    <a:gd name="T39" fmla="*/ 36 h 126"/>
                    <a:gd name="T40" fmla="*/ 176 w 375"/>
                    <a:gd name="T41" fmla="*/ 13 h 126"/>
                    <a:gd name="T42" fmla="*/ 91 w 375"/>
                    <a:gd name="T43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75" h="126">
                      <a:moveTo>
                        <a:pt x="91" y="0"/>
                      </a:moveTo>
                      <a:cubicBezTo>
                        <a:pt x="91" y="0"/>
                        <a:pt x="65" y="2"/>
                        <a:pt x="48" y="25"/>
                      </a:cubicBezTo>
                      <a:cubicBezTo>
                        <a:pt x="46" y="29"/>
                        <a:pt x="23" y="76"/>
                        <a:pt x="0" y="126"/>
                      </a:cubicBezTo>
                      <a:cubicBezTo>
                        <a:pt x="88" y="126"/>
                        <a:pt x="88" y="126"/>
                        <a:pt x="88" y="126"/>
                      </a:cubicBezTo>
                      <a:cubicBezTo>
                        <a:pt x="91" y="96"/>
                        <a:pt x="92" y="67"/>
                        <a:pt x="92" y="48"/>
                      </a:cubicBezTo>
                      <a:cubicBezTo>
                        <a:pt x="99" y="53"/>
                        <a:pt x="121" y="55"/>
                        <a:pt x="152" y="55"/>
                      </a:cubicBezTo>
                      <a:cubicBezTo>
                        <a:pt x="177" y="55"/>
                        <a:pt x="208" y="53"/>
                        <a:pt x="240" y="52"/>
                      </a:cubicBezTo>
                      <a:cubicBezTo>
                        <a:pt x="271" y="51"/>
                        <a:pt x="303" y="50"/>
                        <a:pt x="331" y="50"/>
                      </a:cubicBezTo>
                      <a:cubicBezTo>
                        <a:pt x="334" y="50"/>
                        <a:pt x="338" y="50"/>
                        <a:pt x="341" y="50"/>
                      </a:cubicBezTo>
                      <a:cubicBezTo>
                        <a:pt x="341" y="50"/>
                        <a:pt x="345" y="51"/>
                        <a:pt x="349" y="51"/>
                      </a:cubicBezTo>
                      <a:cubicBezTo>
                        <a:pt x="349" y="51"/>
                        <a:pt x="350" y="51"/>
                        <a:pt x="351" y="51"/>
                      </a:cubicBezTo>
                      <a:cubicBezTo>
                        <a:pt x="360" y="50"/>
                        <a:pt x="371" y="50"/>
                        <a:pt x="371" y="50"/>
                      </a:cubicBezTo>
                      <a:cubicBezTo>
                        <a:pt x="372" y="44"/>
                        <a:pt x="372" y="44"/>
                        <a:pt x="372" y="44"/>
                      </a:cubicBezTo>
                      <a:cubicBezTo>
                        <a:pt x="360" y="42"/>
                        <a:pt x="360" y="42"/>
                        <a:pt x="360" y="42"/>
                      </a:cubicBezTo>
                      <a:cubicBezTo>
                        <a:pt x="360" y="42"/>
                        <a:pt x="373" y="33"/>
                        <a:pt x="373" y="29"/>
                      </a:cubicBezTo>
                      <a:cubicBezTo>
                        <a:pt x="373" y="26"/>
                        <a:pt x="375" y="10"/>
                        <a:pt x="375" y="10"/>
                      </a:cubicBezTo>
                      <a:cubicBezTo>
                        <a:pt x="375" y="10"/>
                        <a:pt x="374" y="9"/>
                        <a:pt x="372" y="9"/>
                      </a:cubicBezTo>
                      <a:cubicBezTo>
                        <a:pt x="372" y="9"/>
                        <a:pt x="371" y="9"/>
                        <a:pt x="370" y="10"/>
                      </a:cubicBezTo>
                      <a:cubicBezTo>
                        <a:pt x="370" y="11"/>
                        <a:pt x="365" y="19"/>
                        <a:pt x="363" y="22"/>
                      </a:cubicBezTo>
                      <a:cubicBezTo>
                        <a:pt x="342" y="36"/>
                        <a:pt x="342" y="36"/>
                        <a:pt x="342" y="36"/>
                      </a:cubicBezTo>
                      <a:cubicBezTo>
                        <a:pt x="176" y="13"/>
                        <a:pt x="176" y="13"/>
                        <a:pt x="176" y="13"/>
                      </a:cubicBezTo>
                      <a:cubicBezTo>
                        <a:pt x="91" y="0"/>
                        <a:pt x="91" y="0"/>
                        <a:pt x="91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1120981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85C2D9-2808-52ED-BD02-569232FD47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2EC70B2-4DEC-0565-24CE-E11E3CE5B2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346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606" imgH="608" progId="TCLayout.ActiveDocument.1">
                  <p:embed/>
                </p:oleObj>
              </mc:Choice>
              <mc:Fallback>
                <p:oleObj name="think-cell Folie" r:id="rId20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E2AD6B-2E5A-F102-F9EB-312AAA3BC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element_02_01">
            <a:extLst>
              <a:ext uri="{FF2B5EF4-FFF2-40B4-BE49-F238E27FC236}">
                <a16:creationId xmlns:a16="http://schemas.microsoft.com/office/drawing/2014/main" id="{41705599-C9A9-B393-5AC0-AB242A76BE9B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 flipV="1">
            <a:off x="443372" y="2544942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element_03_01">
            <a:extLst>
              <a:ext uri="{FF2B5EF4-FFF2-40B4-BE49-F238E27FC236}">
                <a16:creationId xmlns:a16="http://schemas.microsoft.com/office/drawing/2014/main" id="{A8756907-51B4-D4AF-673D-BED1085E9860}"/>
              </a:ext>
            </a:extLst>
          </p:cNvPr>
          <p:cNvSpPr txBox="1"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443372" y="1772800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195" name="element_02_02">
            <a:extLst>
              <a:ext uri="{FF2B5EF4-FFF2-40B4-BE49-F238E27FC236}">
                <a16:creationId xmlns:a16="http://schemas.microsoft.com/office/drawing/2014/main" id="{375C5CA2-9596-88F6-C4AB-91BD30E3C139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V="1">
            <a:off x="443372" y="3461084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6" name="element_03_02">
            <a:extLst>
              <a:ext uri="{FF2B5EF4-FFF2-40B4-BE49-F238E27FC236}">
                <a16:creationId xmlns:a16="http://schemas.microsoft.com/office/drawing/2014/main" id="{5ABD9E84-45D8-D99E-FCAC-800AFF8CC784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443372" y="2688942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9" name="element_01_01">
            <a:extLst>
              <a:ext uri="{FF2B5EF4-FFF2-40B4-BE49-F238E27FC236}">
                <a16:creationId xmlns:a16="http://schemas.microsoft.com/office/drawing/2014/main" id="{4A935A5A-5C5F-16D5-81F3-12B847427A1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963553" y="1628800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Nuclear</a:t>
            </a:r>
            <a:r>
              <a:rPr lang="de-DE" dirty="0"/>
              <a:t> </a:t>
            </a:r>
            <a:r>
              <a:rPr lang="de-DE" dirty="0" err="1"/>
              <a:t>Verdicts</a:t>
            </a:r>
            <a:endParaRPr lang="de-DE" dirty="0"/>
          </a:p>
        </p:txBody>
      </p:sp>
      <p:sp>
        <p:nvSpPr>
          <p:cNvPr id="10" name="element_01_02">
            <a:extLst>
              <a:ext uri="{FF2B5EF4-FFF2-40B4-BE49-F238E27FC236}">
                <a16:creationId xmlns:a16="http://schemas.microsoft.com/office/drawing/2014/main" id="{5192C7F5-E1F6-7DCA-CEAB-00BB168E8F7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963553" y="2544942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harma-Gerichtsverfahren, insbesondere Sammelklagen USA (Opioide, Talkum-Puder, Herbizide, etc.)</a:t>
            </a:r>
          </a:p>
        </p:txBody>
      </p:sp>
      <p:cxnSp>
        <p:nvCxnSpPr>
          <p:cNvPr id="20" name="element_02_03">
            <a:extLst>
              <a:ext uri="{FF2B5EF4-FFF2-40B4-BE49-F238E27FC236}">
                <a16:creationId xmlns:a16="http://schemas.microsoft.com/office/drawing/2014/main" id="{C18652EE-343B-30BE-23C5-EF73D7D0A2E9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V="1">
            <a:off x="442910" y="4377226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" name="element_03_03">
            <a:extLst>
              <a:ext uri="{FF2B5EF4-FFF2-40B4-BE49-F238E27FC236}">
                <a16:creationId xmlns:a16="http://schemas.microsoft.com/office/drawing/2014/main" id="{0933A560-A4CA-4BFB-122F-12E7D939D8F3}"/>
              </a:ext>
            </a:extLst>
          </p:cNvPr>
          <p:cNvSpPr txBox="1">
            <a:spLocks noChangeAspect="1"/>
          </p:cNvSpPr>
          <p:nvPr>
            <p:custDataLst>
              <p:tags r:id="rId9"/>
            </p:custDataLst>
          </p:nvPr>
        </p:nvSpPr>
        <p:spPr bwMode="gray">
          <a:xfrm>
            <a:off x="443372" y="3605084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2" name="element_01_03">
            <a:extLst>
              <a:ext uri="{FF2B5EF4-FFF2-40B4-BE49-F238E27FC236}">
                <a16:creationId xmlns:a16="http://schemas.microsoft.com/office/drawing/2014/main" id="{D427F325-0899-6D9D-DBE6-6AFF0FB159E7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963553" y="3461084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FAS – das neue Asbest?!</a:t>
            </a:r>
          </a:p>
        </p:txBody>
      </p:sp>
      <p:cxnSp>
        <p:nvCxnSpPr>
          <p:cNvPr id="25" name="element_02_04" hidden="1">
            <a:extLst>
              <a:ext uri="{FF2B5EF4-FFF2-40B4-BE49-F238E27FC236}">
                <a16:creationId xmlns:a16="http://schemas.microsoft.com/office/drawing/2014/main" id="{76B792D2-1654-15AB-99BD-D52F1DCB0D11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V="1">
            <a:off x="443372" y="5293368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element_03_04">
            <a:extLst>
              <a:ext uri="{FF2B5EF4-FFF2-40B4-BE49-F238E27FC236}">
                <a16:creationId xmlns:a16="http://schemas.microsoft.com/office/drawing/2014/main" id="{17945A50-BD38-2583-301B-698CC19AD4B3}"/>
              </a:ext>
            </a:extLst>
          </p:cNvPr>
          <p:cNvSpPr txBox="1">
            <a:spLocks noChangeAspect="1"/>
          </p:cNvSpPr>
          <p:nvPr>
            <p:custDataLst>
              <p:tags r:id="rId12"/>
            </p:custDataLst>
          </p:nvPr>
        </p:nvSpPr>
        <p:spPr bwMode="gray">
          <a:xfrm>
            <a:off x="443372" y="4521226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3" name="element_01_04">
            <a:extLst>
              <a:ext uri="{FF2B5EF4-FFF2-40B4-BE49-F238E27FC236}">
                <a16:creationId xmlns:a16="http://schemas.microsoft.com/office/drawing/2014/main" id="{1F5501FB-1276-37B1-A0BB-0473A978B81F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63553" y="4377226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Zunahme der Sammelklagen auch in Europa („Collective </a:t>
            </a:r>
            <a:r>
              <a:rPr lang="de-DE" dirty="0" err="1"/>
              <a:t>Redress</a:t>
            </a:r>
            <a:r>
              <a:rPr lang="de-DE" dirty="0"/>
              <a:t>“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13F4B7-741F-9ACB-0287-E4BF847CC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299CCBB-B30F-5F78-FB28-25A0821A9B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70A2C8-24BE-F240-86FB-FB1C1AC17C5F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37" name="element_03_04">
            <a:extLst>
              <a:ext uri="{FF2B5EF4-FFF2-40B4-BE49-F238E27FC236}">
                <a16:creationId xmlns:a16="http://schemas.microsoft.com/office/drawing/2014/main" id="{82E5EDFD-4D58-C37D-4508-71721AB7308A}"/>
              </a:ext>
            </a:extLst>
          </p:cNvPr>
          <p:cNvSpPr txBox="1">
            <a:spLocks noChangeAspect="1"/>
          </p:cNvSpPr>
          <p:nvPr>
            <p:custDataLst>
              <p:tags r:id="rId14"/>
            </p:custDataLst>
          </p:nvPr>
        </p:nvSpPr>
        <p:spPr bwMode="gray">
          <a:xfrm>
            <a:off x="443372" y="5293368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8" name="element_01_04">
            <a:extLst>
              <a:ext uri="{FF2B5EF4-FFF2-40B4-BE49-F238E27FC236}">
                <a16:creationId xmlns:a16="http://schemas.microsoft.com/office/drawing/2014/main" id="{DB32A991-DAE1-243B-C961-E9A283027DDC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964013" y="5129323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he Wild West </a:t>
            </a:r>
            <a:r>
              <a:rPr lang="de-DE" dirty="0" err="1"/>
              <a:t>of</a:t>
            </a:r>
            <a:r>
              <a:rPr lang="de-DE" dirty="0"/>
              <a:t> „</a:t>
            </a:r>
            <a:r>
              <a:rPr lang="de-DE" dirty="0" err="1"/>
              <a:t>Robo</a:t>
            </a:r>
            <a:r>
              <a:rPr lang="de-DE" dirty="0"/>
              <a:t> Law“ – Künstliche Intelligenz (KI) als Treiber für die Klage-Industrie</a:t>
            </a:r>
          </a:p>
        </p:txBody>
      </p:sp>
      <p:cxnSp>
        <p:nvCxnSpPr>
          <p:cNvPr id="41" name="element_02_03">
            <a:extLst>
              <a:ext uri="{FF2B5EF4-FFF2-40B4-BE49-F238E27FC236}">
                <a16:creationId xmlns:a16="http://schemas.microsoft.com/office/drawing/2014/main" id="{A469FF0F-F892-A6EA-B098-56B9F1C63BA6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 flipV="1">
            <a:off x="442911" y="5180826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element_01_01">
            <a:extLst>
              <a:ext uri="{FF2B5EF4-FFF2-40B4-BE49-F238E27FC236}">
                <a16:creationId xmlns:a16="http://schemas.microsoft.com/office/drawing/2014/main" id="{4199E1BB-02A7-A443-83C1-7E77F737F91B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443372" y="1130188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gemäß Report der Allianz Commercial wie folgt: </a:t>
            </a:r>
          </a:p>
        </p:txBody>
      </p:sp>
      <p:sp>
        <p:nvSpPr>
          <p:cNvPr id="3" name="Titel 7">
            <a:extLst>
              <a:ext uri="{FF2B5EF4-FFF2-40B4-BE49-F238E27FC236}">
                <a16:creationId xmlns:a16="http://schemas.microsoft.com/office/drawing/2014/main" id="{10222804-D1DF-603B-5D66-24B42C4471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6264697" cy="595995"/>
          </a:xfrm>
        </p:spPr>
        <p:txBody>
          <a:bodyPr vert="horz"/>
          <a:lstStyle/>
          <a:p>
            <a:r>
              <a:rPr lang="de-DE" dirty="0" err="1"/>
              <a:t>Liability</a:t>
            </a:r>
            <a:r>
              <a:rPr lang="de-DE" dirty="0"/>
              <a:t> Loss Trends 2024</a:t>
            </a:r>
          </a:p>
        </p:txBody>
      </p:sp>
    </p:spTree>
    <p:extLst>
      <p:ext uri="{BB962C8B-B14F-4D97-AF65-F5344CB8AC3E}">
        <p14:creationId xmlns:p14="http://schemas.microsoft.com/office/powerpoint/2010/main" val="318186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96" grpId="0" animBg="1"/>
      <p:bldP spid="9" grpId="0"/>
      <p:bldP spid="10" grpId="0"/>
      <p:bldP spid="21" grpId="0" animBg="1"/>
      <p:bldP spid="12" grpId="0"/>
      <p:bldP spid="26" grpId="0" animBg="1"/>
      <p:bldP spid="13" grpId="0"/>
      <p:bldP spid="37" grpId="0" animBg="1"/>
      <p:bldP spid="3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26E3E3-3769-F38A-2969-B74535FE5E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" name="think-cell data - do not delete" hidden="1">
            <a:extLst>
              <a:ext uri="{FF2B5EF4-FFF2-40B4-BE49-F238E27FC236}">
                <a16:creationId xmlns:a16="http://schemas.microsoft.com/office/drawing/2014/main" id="{BDAAA43F-C023-878C-FD7A-1BD9D05917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2799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06" imgH="608" progId="TCLayout.ActiveDocument.1">
                  <p:embed/>
                </p:oleObj>
              </mc:Choice>
              <mc:Fallback>
                <p:oleObj name="think-cell Folie" r:id="rId3" imgW="606" imgH="608" progId="TCLayout.ActiveDocument.1">
                  <p:embed/>
                  <p:pic>
                    <p:nvPicPr>
                      <p:cNvPr id="26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0014E5-C3ED-E4C4-ED2F-801878790B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B02BC48E-EB7E-3FD5-6419-1F4603EF6F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Zahlen, daten, fak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004C666-80E6-1AD6-955F-D612EC033D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01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1818D0-44E2-218C-4339-04FC221E82A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Ecclesia Gruppe und </a:t>
            </a:r>
            <a:r>
              <a:rPr lang="de-DE" dirty="0" err="1"/>
              <a:t>deas</a:t>
            </a:r>
            <a:endParaRPr lang="de-DE" dirty="0"/>
          </a:p>
        </p:txBody>
      </p:sp>
      <p:grpSp>
        <p:nvGrpSpPr>
          <p:cNvPr id="6" name="Group 8">
            <a:extLst>
              <a:ext uri="{FF2B5EF4-FFF2-40B4-BE49-F238E27FC236}">
                <a16:creationId xmlns:a16="http://schemas.microsoft.com/office/drawing/2014/main" id="{D0575447-A985-C755-D58D-BD9FAA0D2195}"/>
              </a:ext>
            </a:extLst>
          </p:cNvPr>
          <p:cNvGrpSpPr/>
          <p:nvPr/>
        </p:nvGrpSpPr>
        <p:grpSpPr>
          <a:xfrm>
            <a:off x="335360" y="1694602"/>
            <a:ext cx="5113637" cy="4188876"/>
            <a:chOff x="445135" y="1549065"/>
            <a:chExt cx="4331926" cy="3548531"/>
          </a:xfrm>
        </p:grpSpPr>
        <p:grpSp>
          <p:nvGrpSpPr>
            <p:cNvPr id="7" name="Group 7">
              <a:extLst>
                <a:ext uri="{FF2B5EF4-FFF2-40B4-BE49-F238E27FC236}">
                  <a16:creationId xmlns:a16="http://schemas.microsoft.com/office/drawing/2014/main" id="{4E18C990-02C9-BE3A-DFD2-2DC0B82D270F}"/>
                </a:ext>
              </a:extLst>
            </p:cNvPr>
            <p:cNvGrpSpPr/>
            <p:nvPr/>
          </p:nvGrpSpPr>
          <p:grpSpPr>
            <a:xfrm>
              <a:off x="445135" y="1549065"/>
              <a:ext cx="3558677" cy="3191816"/>
              <a:chOff x="445135" y="1549065"/>
              <a:chExt cx="3558677" cy="3191816"/>
            </a:xfrm>
          </p:grpSpPr>
          <p:sp>
            <p:nvSpPr>
              <p:cNvPr id="95" name="Block Arc 1015">
                <a:extLst>
                  <a:ext uri="{FF2B5EF4-FFF2-40B4-BE49-F238E27FC236}">
                    <a16:creationId xmlns:a16="http://schemas.microsoft.com/office/drawing/2014/main" id="{56DE1A64-D7CA-BC1D-092A-09A8E2D98252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20207308">
                <a:off x="725875" y="1982498"/>
                <a:ext cx="3010427" cy="2737514"/>
              </a:xfrm>
              <a:prstGeom prst="blockArc">
                <a:avLst>
                  <a:gd name="adj1" fmla="val 12006639"/>
                  <a:gd name="adj2" fmla="val 0"/>
                  <a:gd name="adj3" fmla="val 25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solidFill>
                    <a:schemeClr val="tx1"/>
                  </a:solidFill>
                </a:endParaRPr>
              </a:p>
            </p:txBody>
          </p:sp>
          <p:pic>
            <p:nvPicPr>
              <p:cNvPr id="96" name="Picture 8">
                <a:extLst>
                  <a:ext uri="{FF2B5EF4-FFF2-40B4-BE49-F238E27FC236}">
                    <a16:creationId xmlns:a16="http://schemas.microsoft.com/office/drawing/2014/main" id="{D0A7C580-CDDC-F3A5-4CAE-E4782310E89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34972" y="1928279"/>
                <a:ext cx="9882" cy="61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97" name="Group 1018">
                <a:extLst>
                  <a:ext uri="{FF2B5EF4-FFF2-40B4-BE49-F238E27FC236}">
                    <a16:creationId xmlns:a16="http://schemas.microsoft.com/office/drawing/2014/main" id="{2A73261B-EEB6-6EE9-A0A8-4BBB0816CEE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45135" y="1549065"/>
                <a:ext cx="3106586" cy="2757018"/>
                <a:chOff x="528638" y="2306638"/>
                <a:chExt cx="3992563" cy="3543301"/>
              </a:xfrm>
            </p:grpSpPr>
            <p:sp>
              <p:nvSpPr>
                <p:cNvPr id="227" name="Freeform 38">
                  <a:extLst>
                    <a:ext uri="{FF2B5EF4-FFF2-40B4-BE49-F238E27FC236}">
                      <a16:creationId xmlns:a16="http://schemas.microsoft.com/office/drawing/2014/main" id="{64463591-3CDD-B1D0-D7CD-E7E75442190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58800" y="4167188"/>
                  <a:ext cx="139700" cy="38100"/>
                </a:xfrm>
                <a:custGeom>
                  <a:avLst/>
                  <a:gdLst>
                    <a:gd name="T0" fmla="*/ 75 w 76"/>
                    <a:gd name="T1" fmla="*/ 21 h 21"/>
                    <a:gd name="T2" fmla="*/ 76 w 76"/>
                    <a:gd name="T3" fmla="*/ 13 h 21"/>
                    <a:gd name="T4" fmla="*/ 2 w 76"/>
                    <a:gd name="T5" fmla="*/ 0 h 21"/>
                    <a:gd name="T6" fmla="*/ 0 w 76"/>
                    <a:gd name="T7" fmla="*/ 8 h 21"/>
                    <a:gd name="T8" fmla="*/ 75 w 76"/>
                    <a:gd name="T9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6" h="21">
                      <a:moveTo>
                        <a:pt x="75" y="21"/>
                      </a:moveTo>
                      <a:cubicBezTo>
                        <a:pt x="75" y="18"/>
                        <a:pt x="76" y="15"/>
                        <a:pt x="76" y="13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2"/>
                        <a:pt x="1" y="5"/>
                        <a:pt x="0" y="8"/>
                      </a:cubicBezTo>
                      <a:lnTo>
                        <a:pt x="75" y="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 45">
                  <a:extLst>
                    <a:ext uri="{FF2B5EF4-FFF2-40B4-BE49-F238E27FC236}">
                      <a16:creationId xmlns:a16="http://schemas.microsoft.com/office/drawing/2014/main" id="{F6C2EAEB-0A29-4D54-3F53-902D8114F4C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95313" y="3963988"/>
                  <a:ext cx="177800" cy="80963"/>
                </a:xfrm>
                <a:custGeom>
                  <a:avLst/>
                  <a:gdLst>
                    <a:gd name="T0" fmla="*/ 0 w 96"/>
                    <a:gd name="T1" fmla="*/ 19 h 44"/>
                    <a:gd name="T2" fmla="*/ 91 w 96"/>
                    <a:gd name="T3" fmla="*/ 44 h 44"/>
                    <a:gd name="T4" fmla="*/ 93 w 96"/>
                    <a:gd name="T5" fmla="*/ 35 h 44"/>
                    <a:gd name="T6" fmla="*/ 96 w 96"/>
                    <a:gd name="T7" fmla="*/ 25 h 44"/>
                    <a:gd name="T8" fmla="*/ 6 w 96"/>
                    <a:gd name="T9" fmla="*/ 0 h 44"/>
                    <a:gd name="T10" fmla="*/ 3 w 96"/>
                    <a:gd name="T11" fmla="*/ 10 h 44"/>
                    <a:gd name="T12" fmla="*/ 0 w 96"/>
                    <a:gd name="T13" fmla="*/ 19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6" h="44">
                      <a:moveTo>
                        <a:pt x="0" y="19"/>
                      </a:moveTo>
                      <a:cubicBezTo>
                        <a:pt x="91" y="44"/>
                        <a:pt x="91" y="44"/>
                        <a:pt x="91" y="44"/>
                      </a:cubicBezTo>
                      <a:cubicBezTo>
                        <a:pt x="91" y="43"/>
                        <a:pt x="93" y="36"/>
                        <a:pt x="93" y="35"/>
                      </a:cubicBezTo>
                      <a:cubicBezTo>
                        <a:pt x="94" y="33"/>
                        <a:pt x="96" y="26"/>
                        <a:pt x="96" y="25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5" y="1"/>
                        <a:pt x="3" y="8"/>
                        <a:pt x="3" y="10"/>
                      </a:cubicBezTo>
                      <a:cubicBezTo>
                        <a:pt x="3" y="11"/>
                        <a:pt x="1" y="18"/>
                        <a:pt x="0" y="1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229" name="Group 1238">
                  <a:extLst>
                    <a:ext uri="{FF2B5EF4-FFF2-40B4-BE49-F238E27FC236}">
                      <a16:creationId xmlns:a16="http://schemas.microsoft.com/office/drawing/2014/main" id="{76A199A5-7904-830E-9138-5098C8FC3ED3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528638" y="2306638"/>
                  <a:ext cx="3992563" cy="3543301"/>
                  <a:chOff x="528638" y="2306638"/>
                  <a:chExt cx="3992563" cy="3543301"/>
                </a:xfrm>
              </p:grpSpPr>
              <p:sp>
                <p:nvSpPr>
                  <p:cNvPr id="230" name="Oval 10">
                    <a:extLst>
                      <a:ext uri="{FF2B5EF4-FFF2-40B4-BE49-F238E27FC236}">
                        <a16:creationId xmlns:a16="http://schemas.microsoft.com/office/drawing/2014/main" id="{FA1C97A2-C74D-05C5-20C5-AA5503CA991D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957263" y="5762626"/>
                    <a:ext cx="87313" cy="8731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1" name="Freeform 11">
                    <a:extLst>
                      <a:ext uri="{FF2B5EF4-FFF2-40B4-BE49-F238E27FC236}">
                        <a16:creationId xmlns:a16="http://schemas.microsoft.com/office/drawing/2014/main" id="{2C42AE2C-3CFE-A919-01FC-902C09C319F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008188" y="2438401"/>
                    <a:ext cx="63500" cy="136525"/>
                  </a:xfrm>
                  <a:custGeom>
                    <a:avLst/>
                    <a:gdLst>
                      <a:gd name="T0" fmla="*/ 26 w 34"/>
                      <a:gd name="T1" fmla="*/ 74 h 74"/>
                      <a:gd name="T2" fmla="*/ 34 w 34"/>
                      <a:gd name="T3" fmla="*/ 71 h 74"/>
                      <a:gd name="T4" fmla="*/ 8 w 34"/>
                      <a:gd name="T5" fmla="*/ 0 h 74"/>
                      <a:gd name="T6" fmla="*/ 0 w 34"/>
                      <a:gd name="T7" fmla="*/ 2 h 74"/>
                      <a:gd name="T8" fmla="*/ 26 w 34"/>
                      <a:gd name="T9" fmla="*/ 7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" h="74">
                        <a:moveTo>
                          <a:pt x="26" y="74"/>
                        </a:moveTo>
                        <a:cubicBezTo>
                          <a:pt x="28" y="73"/>
                          <a:pt x="31" y="72"/>
                          <a:pt x="34" y="71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3" y="1"/>
                          <a:pt x="0" y="2"/>
                        </a:cubicBezTo>
                        <a:lnTo>
                          <a:pt x="26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2" name="Freeform 12">
                    <a:extLst>
                      <a:ext uri="{FF2B5EF4-FFF2-40B4-BE49-F238E27FC236}">
                        <a16:creationId xmlns:a16="http://schemas.microsoft.com/office/drawing/2014/main" id="{543E7DB3-46A1-36E2-6FDD-00B5AF05F04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389188" y="2338388"/>
                    <a:ext cx="39688" cy="139700"/>
                  </a:xfrm>
                  <a:custGeom>
                    <a:avLst/>
                    <a:gdLst>
                      <a:gd name="T0" fmla="*/ 13 w 21"/>
                      <a:gd name="T1" fmla="*/ 76 h 76"/>
                      <a:gd name="T2" fmla="*/ 21 w 21"/>
                      <a:gd name="T3" fmla="*/ 75 h 76"/>
                      <a:gd name="T4" fmla="*/ 8 w 21"/>
                      <a:gd name="T5" fmla="*/ 0 h 76"/>
                      <a:gd name="T6" fmla="*/ 0 w 21"/>
                      <a:gd name="T7" fmla="*/ 1 h 76"/>
                      <a:gd name="T8" fmla="*/ 13 w 21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6">
                        <a:moveTo>
                          <a:pt x="13" y="76"/>
                        </a:moveTo>
                        <a:cubicBezTo>
                          <a:pt x="15" y="75"/>
                          <a:pt x="18" y="75"/>
                          <a:pt x="21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2" y="1"/>
                          <a:pt x="0" y="1"/>
                        </a:cubicBezTo>
                        <a:lnTo>
                          <a:pt x="13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3" name="Freeform 13">
                    <a:extLst>
                      <a:ext uri="{FF2B5EF4-FFF2-40B4-BE49-F238E27FC236}">
                        <a16:creationId xmlns:a16="http://schemas.microsoft.com/office/drawing/2014/main" id="{6C1C55A4-D7E9-BDDE-3E5B-8C7454F4FE1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584450" y="2314576"/>
                    <a:ext cx="28575" cy="139700"/>
                  </a:xfrm>
                  <a:custGeom>
                    <a:avLst/>
                    <a:gdLst>
                      <a:gd name="T0" fmla="*/ 7 w 15"/>
                      <a:gd name="T1" fmla="*/ 76 h 76"/>
                      <a:gd name="T2" fmla="*/ 15 w 15"/>
                      <a:gd name="T3" fmla="*/ 75 h 76"/>
                      <a:gd name="T4" fmla="*/ 8 w 15"/>
                      <a:gd name="T5" fmla="*/ 0 h 76"/>
                      <a:gd name="T6" fmla="*/ 0 w 15"/>
                      <a:gd name="T7" fmla="*/ 1 h 76"/>
                      <a:gd name="T8" fmla="*/ 7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7" y="76"/>
                        </a:moveTo>
                        <a:cubicBezTo>
                          <a:pt x="9" y="76"/>
                          <a:pt x="12" y="75"/>
                          <a:pt x="15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6" y="0"/>
                          <a:pt x="3" y="0"/>
                          <a:pt x="0" y="1"/>
                        </a:cubicBezTo>
                        <a:lnTo>
                          <a:pt x="7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4" name="Freeform 14">
                    <a:extLst>
                      <a:ext uri="{FF2B5EF4-FFF2-40B4-BE49-F238E27FC236}">
                        <a16:creationId xmlns:a16="http://schemas.microsoft.com/office/drawing/2014/main" id="{02794488-A5E9-6C31-5947-593C9F9BE01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197100" y="2378076"/>
                    <a:ext cx="49213" cy="141288"/>
                  </a:xfrm>
                  <a:custGeom>
                    <a:avLst/>
                    <a:gdLst>
                      <a:gd name="T0" fmla="*/ 19 w 27"/>
                      <a:gd name="T1" fmla="*/ 76 h 76"/>
                      <a:gd name="T2" fmla="*/ 27 w 27"/>
                      <a:gd name="T3" fmla="*/ 73 h 76"/>
                      <a:gd name="T4" fmla="*/ 7 w 27"/>
                      <a:gd name="T5" fmla="*/ 0 h 76"/>
                      <a:gd name="T6" fmla="*/ 0 w 27"/>
                      <a:gd name="T7" fmla="*/ 2 h 76"/>
                      <a:gd name="T8" fmla="*/ 19 w 27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6">
                        <a:moveTo>
                          <a:pt x="19" y="76"/>
                        </a:moveTo>
                        <a:cubicBezTo>
                          <a:pt x="22" y="75"/>
                          <a:pt x="24" y="74"/>
                          <a:pt x="27" y="73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2" y="2"/>
                          <a:pt x="0" y="2"/>
                        </a:cubicBezTo>
                        <a:lnTo>
                          <a:pt x="19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5" name="Freeform 15">
                    <a:extLst>
                      <a:ext uri="{FF2B5EF4-FFF2-40B4-BE49-F238E27FC236}">
                        <a16:creationId xmlns:a16="http://schemas.microsoft.com/office/drawing/2014/main" id="{0A385E9B-1C61-FBA6-2BF5-D7870994FCD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322638" y="2381251"/>
                    <a:ext cx="49213" cy="138113"/>
                  </a:xfrm>
                  <a:custGeom>
                    <a:avLst/>
                    <a:gdLst>
                      <a:gd name="T0" fmla="*/ 0 w 27"/>
                      <a:gd name="T1" fmla="*/ 73 h 75"/>
                      <a:gd name="T2" fmla="*/ 8 w 27"/>
                      <a:gd name="T3" fmla="*/ 75 h 75"/>
                      <a:gd name="T4" fmla="*/ 27 w 27"/>
                      <a:gd name="T5" fmla="*/ 2 h 75"/>
                      <a:gd name="T6" fmla="*/ 20 w 27"/>
                      <a:gd name="T7" fmla="*/ 0 h 75"/>
                      <a:gd name="T8" fmla="*/ 0 w 27"/>
                      <a:gd name="T9" fmla="*/ 73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5">
                        <a:moveTo>
                          <a:pt x="0" y="73"/>
                        </a:moveTo>
                        <a:cubicBezTo>
                          <a:pt x="3" y="74"/>
                          <a:pt x="5" y="75"/>
                          <a:pt x="8" y="75"/>
                        </a:cubicBezTo>
                        <a:cubicBezTo>
                          <a:pt x="27" y="2"/>
                          <a:pt x="27" y="2"/>
                          <a:pt x="27" y="2"/>
                        </a:cubicBezTo>
                        <a:cubicBezTo>
                          <a:pt x="25" y="1"/>
                          <a:pt x="22" y="1"/>
                          <a:pt x="20" y="0"/>
                        </a:cubicBezTo>
                        <a:lnTo>
                          <a:pt x="0" y="7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6" name="Freeform 16">
                    <a:extLst>
                      <a:ext uri="{FF2B5EF4-FFF2-40B4-BE49-F238E27FC236}">
                        <a16:creationId xmlns:a16="http://schemas.microsoft.com/office/drawing/2014/main" id="{0E11DF33-6E8F-9060-0F28-4CE2F93EB98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763838" y="2306638"/>
                    <a:ext cx="38100" cy="174625"/>
                  </a:xfrm>
                  <a:custGeom>
                    <a:avLst/>
                    <a:gdLst>
                      <a:gd name="T0" fmla="*/ 0 w 20"/>
                      <a:gd name="T1" fmla="*/ 0 h 94"/>
                      <a:gd name="T2" fmla="*/ 0 w 20"/>
                      <a:gd name="T3" fmla="*/ 94 h 94"/>
                      <a:gd name="T4" fmla="*/ 10 w 20"/>
                      <a:gd name="T5" fmla="*/ 94 h 94"/>
                      <a:gd name="T6" fmla="*/ 20 w 20"/>
                      <a:gd name="T7" fmla="*/ 94 h 94"/>
                      <a:gd name="T8" fmla="*/ 20 w 20"/>
                      <a:gd name="T9" fmla="*/ 0 h 94"/>
                      <a:gd name="T10" fmla="*/ 10 w 20"/>
                      <a:gd name="T11" fmla="*/ 0 h 94"/>
                      <a:gd name="T12" fmla="*/ 0 w 20"/>
                      <a:gd name="T13" fmla="*/ 0 h 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" h="94">
                        <a:moveTo>
                          <a:pt x="0" y="0"/>
                        </a:moveTo>
                        <a:cubicBezTo>
                          <a:pt x="0" y="94"/>
                          <a:pt x="0" y="94"/>
                          <a:pt x="0" y="94"/>
                        </a:cubicBezTo>
                        <a:cubicBezTo>
                          <a:pt x="1" y="94"/>
                          <a:pt x="8" y="94"/>
                          <a:pt x="10" y="94"/>
                        </a:cubicBezTo>
                        <a:cubicBezTo>
                          <a:pt x="11" y="94"/>
                          <a:pt x="18" y="94"/>
                          <a:pt x="20" y="94"/>
                        </a:cubicBezTo>
                        <a:cubicBezTo>
                          <a:pt x="20" y="0"/>
                          <a:pt x="20" y="0"/>
                          <a:pt x="20" y="0"/>
                        </a:cubicBezTo>
                        <a:cubicBezTo>
                          <a:pt x="18" y="0"/>
                          <a:pt x="11" y="0"/>
                          <a:pt x="10" y="0"/>
                        </a:cubicBezTo>
                        <a:cubicBezTo>
                          <a:pt x="8" y="0"/>
                          <a:pt x="1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7" name="Freeform 17">
                    <a:extLst>
                      <a:ext uri="{FF2B5EF4-FFF2-40B4-BE49-F238E27FC236}">
                        <a16:creationId xmlns:a16="http://schemas.microsoft.com/office/drawing/2014/main" id="{FE24824E-E90E-C5CA-351F-31B3F157F60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143250" y="2339976"/>
                    <a:ext cx="38100" cy="138113"/>
                  </a:xfrm>
                  <a:custGeom>
                    <a:avLst/>
                    <a:gdLst>
                      <a:gd name="T0" fmla="*/ 0 w 21"/>
                      <a:gd name="T1" fmla="*/ 74 h 75"/>
                      <a:gd name="T2" fmla="*/ 8 w 21"/>
                      <a:gd name="T3" fmla="*/ 75 h 75"/>
                      <a:gd name="T4" fmla="*/ 21 w 21"/>
                      <a:gd name="T5" fmla="*/ 1 h 75"/>
                      <a:gd name="T6" fmla="*/ 13 w 21"/>
                      <a:gd name="T7" fmla="*/ 0 h 75"/>
                      <a:gd name="T8" fmla="*/ 0 w 21"/>
                      <a:gd name="T9" fmla="*/ 74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5">
                        <a:moveTo>
                          <a:pt x="0" y="74"/>
                        </a:moveTo>
                        <a:cubicBezTo>
                          <a:pt x="2" y="75"/>
                          <a:pt x="5" y="75"/>
                          <a:pt x="8" y="75"/>
                        </a:cubicBezTo>
                        <a:cubicBezTo>
                          <a:pt x="21" y="1"/>
                          <a:pt x="21" y="1"/>
                          <a:pt x="21" y="1"/>
                        </a:cubicBezTo>
                        <a:cubicBezTo>
                          <a:pt x="18" y="0"/>
                          <a:pt x="15" y="0"/>
                          <a:pt x="13" y="0"/>
                        </a:cubicBezTo>
                        <a:lnTo>
                          <a:pt x="0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8" name="Freeform 18">
                    <a:extLst>
                      <a:ext uri="{FF2B5EF4-FFF2-40B4-BE49-F238E27FC236}">
                        <a16:creationId xmlns:a16="http://schemas.microsoft.com/office/drawing/2014/main" id="{935F2914-8ED8-FF4D-90CB-034E14952FB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959100" y="2314576"/>
                    <a:ext cx="26988" cy="139700"/>
                  </a:xfrm>
                  <a:custGeom>
                    <a:avLst/>
                    <a:gdLst>
                      <a:gd name="T0" fmla="*/ 0 w 15"/>
                      <a:gd name="T1" fmla="*/ 76 h 76"/>
                      <a:gd name="T2" fmla="*/ 8 w 15"/>
                      <a:gd name="T3" fmla="*/ 76 h 76"/>
                      <a:gd name="T4" fmla="*/ 15 w 15"/>
                      <a:gd name="T5" fmla="*/ 1 h 76"/>
                      <a:gd name="T6" fmla="*/ 7 w 15"/>
                      <a:gd name="T7" fmla="*/ 0 h 76"/>
                      <a:gd name="T8" fmla="*/ 0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0" y="76"/>
                        </a:moveTo>
                        <a:cubicBezTo>
                          <a:pt x="3" y="76"/>
                          <a:pt x="5" y="76"/>
                          <a:pt x="8" y="76"/>
                        </a:cubicBezTo>
                        <a:cubicBezTo>
                          <a:pt x="15" y="1"/>
                          <a:pt x="15" y="1"/>
                          <a:pt x="15" y="1"/>
                        </a:cubicBezTo>
                        <a:cubicBezTo>
                          <a:pt x="12" y="1"/>
                          <a:pt x="9" y="0"/>
                          <a:pt x="7" y="0"/>
                        </a:cubicBezTo>
                        <a:lnTo>
                          <a:pt x="0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9" name="Freeform 19">
                    <a:extLst>
                      <a:ext uri="{FF2B5EF4-FFF2-40B4-BE49-F238E27FC236}">
                        <a16:creationId xmlns:a16="http://schemas.microsoft.com/office/drawing/2014/main" id="{4C9C130A-F772-9408-F6F2-FE6B682FF62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27100" y="3265488"/>
                    <a:ext cx="123825" cy="92075"/>
                  </a:xfrm>
                  <a:custGeom>
                    <a:avLst/>
                    <a:gdLst>
                      <a:gd name="T0" fmla="*/ 63 w 67"/>
                      <a:gd name="T1" fmla="*/ 50 h 50"/>
                      <a:gd name="T2" fmla="*/ 67 w 67"/>
                      <a:gd name="T3" fmla="*/ 43 h 50"/>
                      <a:gd name="T4" fmla="*/ 5 w 67"/>
                      <a:gd name="T5" fmla="*/ 0 h 50"/>
                      <a:gd name="T6" fmla="*/ 0 w 67"/>
                      <a:gd name="T7" fmla="*/ 6 h 50"/>
                      <a:gd name="T8" fmla="*/ 63 w 67"/>
                      <a:gd name="T9" fmla="*/ 5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7" h="50">
                        <a:moveTo>
                          <a:pt x="63" y="50"/>
                        </a:moveTo>
                        <a:cubicBezTo>
                          <a:pt x="64" y="48"/>
                          <a:pt x="66" y="46"/>
                          <a:pt x="67" y="43"/>
                        </a:cubicBezTo>
                        <a:cubicBezTo>
                          <a:pt x="5" y="0"/>
                          <a:pt x="5" y="0"/>
                          <a:pt x="5" y="0"/>
                        </a:cubicBezTo>
                        <a:cubicBezTo>
                          <a:pt x="3" y="2"/>
                          <a:pt x="2" y="4"/>
                          <a:pt x="0" y="6"/>
                        </a:cubicBezTo>
                        <a:lnTo>
                          <a:pt x="63" y="5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0" name="Freeform 20">
                    <a:extLst>
                      <a:ext uri="{FF2B5EF4-FFF2-40B4-BE49-F238E27FC236}">
                        <a16:creationId xmlns:a16="http://schemas.microsoft.com/office/drawing/2014/main" id="{C85ACE69-462D-4AD0-50C2-5E9193F7F5B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0738" y="3430588"/>
                    <a:ext cx="130175" cy="82550"/>
                  </a:xfrm>
                  <a:custGeom>
                    <a:avLst/>
                    <a:gdLst>
                      <a:gd name="T0" fmla="*/ 66 w 70"/>
                      <a:gd name="T1" fmla="*/ 45 h 45"/>
                      <a:gd name="T2" fmla="*/ 70 w 70"/>
                      <a:gd name="T3" fmla="*/ 38 h 45"/>
                      <a:gd name="T4" fmla="*/ 4 w 70"/>
                      <a:gd name="T5" fmla="*/ 0 h 45"/>
                      <a:gd name="T6" fmla="*/ 0 w 70"/>
                      <a:gd name="T7" fmla="*/ 7 h 45"/>
                      <a:gd name="T8" fmla="*/ 66 w 70"/>
                      <a:gd name="T9" fmla="*/ 45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66" y="45"/>
                        </a:moveTo>
                        <a:cubicBezTo>
                          <a:pt x="68" y="43"/>
                          <a:pt x="69" y="41"/>
                          <a:pt x="70" y="38"/>
                        </a:cubicBez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3" y="3"/>
                          <a:pt x="2" y="5"/>
                          <a:pt x="0" y="7"/>
                        </a:cubicBezTo>
                        <a:lnTo>
                          <a:pt x="66" y="4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1" name="Freeform 21">
                    <a:extLst>
                      <a:ext uri="{FF2B5EF4-FFF2-40B4-BE49-F238E27FC236}">
                        <a16:creationId xmlns:a16="http://schemas.microsoft.com/office/drawing/2014/main" id="{927D5355-4C13-7632-1D85-274F09C91BB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1838" y="3606801"/>
                    <a:ext cx="133350" cy="71438"/>
                  </a:xfrm>
                  <a:custGeom>
                    <a:avLst/>
                    <a:gdLst>
                      <a:gd name="T0" fmla="*/ 69 w 72"/>
                      <a:gd name="T1" fmla="*/ 39 h 39"/>
                      <a:gd name="T2" fmla="*/ 72 w 72"/>
                      <a:gd name="T3" fmla="*/ 32 h 39"/>
                      <a:gd name="T4" fmla="*/ 3 w 72"/>
                      <a:gd name="T5" fmla="*/ 0 h 39"/>
                      <a:gd name="T6" fmla="*/ 0 w 72"/>
                      <a:gd name="T7" fmla="*/ 7 h 39"/>
                      <a:gd name="T8" fmla="*/ 69 w 72"/>
                      <a:gd name="T9" fmla="*/ 39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69" y="39"/>
                        </a:moveTo>
                        <a:cubicBezTo>
                          <a:pt x="70" y="37"/>
                          <a:pt x="71" y="34"/>
                          <a:pt x="72" y="32"/>
                        </a:cubicBezTo>
                        <a:cubicBezTo>
                          <a:pt x="3" y="0"/>
                          <a:pt x="3" y="0"/>
                          <a:pt x="3" y="0"/>
                        </a:cubicBezTo>
                        <a:cubicBezTo>
                          <a:pt x="2" y="2"/>
                          <a:pt x="1" y="4"/>
                          <a:pt x="0" y="7"/>
                        </a:cubicBezTo>
                        <a:lnTo>
                          <a:pt x="69" y="3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2" name="Freeform 22">
                    <a:extLst>
                      <a:ext uri="{FF2B5EF4-FFF2-40B4-BE49-F238E27FC236}">
                        <a16:creationId xmlns:a16="http://schemas.microsoft.com/office/drawing/2014/main" id="{B55D61BB-C93A-6B8D-D4E2-29B1BB1E67A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498850" y="2438401"/>
                    <a:ext cx="60325" cy="138113"/>
                  </a:xfrm>
                  <a:custGeom>
                    <a:avLst/>
                    <a:gdLst>
                      <a:gd name="T0" fmla="*/ 0 w 33"/>
                      <a:gd name="T1" fmla="*/ 72 h 75"/>
                      <a:gd name="T2" fmla="*/ 7 w 33"/>
                      <a:gd name="T3" fmla="*/ 75 h 75"/>
                      <a:gd name="T4" fmla="*/ 33 w 33"/>
                      <a:gd name="T5" fmla="*/ 3 h 75"/>
                      <a:gd name="T6" fmla="*/ 26 w 33"/>
                      <a:gd name="T7" fmla="*/ 0 h 75"/>
                      <a:gd name="T8" fmla="*/ 0 w 33"/>
                      <a:gd name="T9" fmla="*/ 72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3" h="75">
                        <a:moveTo>
                          <a:pt x="0" y="72"/>
                        </a:moveTo>
                        <a:cubicBezTo>
                          <a:pt x="2" y="73"/>
                          <a:pt x="5" y="74"/>
                          <a:pt x="7" y="75"/>
                        </a:cubicBezTo>
                        <a:cubicBezTo>
                          <a:pt x="33" y="3"/>
                          <a:pt x="33" y="3"/>
                          <a:pt x="33" y="3"/>
                        </a:cubicBezTo>
                        <a:cubicBezTo>
                          <a:pt x="31" y="2"/>
                          <a:pt x="28" y="1"/>
                          <a:pt x="26" y="0"/>
                        </a:cubicBezTo>
                        <a:lnTo>
                          <a:pt x="0" y="7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3" name="Freeform 23">
                    <a:extLst>
                      <a:ext uri="{FF2B5EF4-FFF2-40B4-BE49-F238E27FC236}">
                        <a16:creationId xmlns:a16="http://schemas.microsoft.com/office/drawing/2014/main" id="{BD740CBE-9B6F-A7FF-5BAB-4BD69ED37FB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649413" y="2601913"/>
                    <a:ext cx="84138" cy="130175"/>
                  </a:xfrm>
                  <a:custGeom>
                    <a:avLst/>
                    <a:gdLst>
                      <a:gd name="T0" fmla="*/ 38 w 45"/>
                      <a:gd name="T1" fmla="*/ 70 h 70"/>
                      <a:gd name="T2" fmla="*/ 45 w 45"/>
                      <a:gd name="T3" fmla="*/ 66 h 70"/>
                      <a:gd name="T4" fmla="*/ 7 w 45"/>
                      <a:gd name="T5" fmla="*/ 0 h 70"/>
                      <a:gd name="T6" fmla="*/ 0 w 45"/>
                      <a:gd name="T7" fmla="*/ 4 h 70"/>
                      <a:gd name="T8" fmla="*/ 38 w 45"/>
                      <a:gd name="T9" fmla="*/ 70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38" y="70"/>
                        </a:moveTo>
                        <a:cubicBezTo>
                          <a:pt x="41" y="68"/>
                          <a:pt x="43" y="67"/>
                          <a:pt x="45" y="66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3" y="2"/>
                          <a:pt x="0" y="4"/>
                        </a:cubicBezTo>
                        <a:lnTo>
                          <a:pt x="38" y="7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4" name="Freeform 24">
                    <a:extLst>
                      <a:ext uri="{FF2B5EF4-FFF2-40B4-BE49-F238E27FC236}">
                        <a16:creationId xmlns:a16="http://schemas.microsoft.com/office/drawing/2014/main" id="{82D3E90C-6713-9871-AB1B-0470FF277DB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323975" y="2832101"/>
                    <a:ext cx="101600" cy="117475"/>
                  </a:xfrm>
                  <a:custGeom>
                    <a:avLst/>
                    <a:gdLst>
                      <a:gd name="T0" fmla="*/ 49 w 55"/>
                      <a:gd name="T1" fmla="*/ 63 h 63"/>
                      <a:gd name="T2" fmla="*/ 55 w 55"/>
                      <a:gd name="T3" fmla="*/ 58 h 63"/>
                      <a:gd name="T4" fmla="*/ 6 w 55"/>
                      <a:gd name="T5" fmla="*/ 0 h 63"/>
                      <a:gd name="T6" fmla="*/ 0 w 55"/>
                      <a:gd name="T7" fmla="*/ 5 h 63"/>
                      <a:gd name="T8" fmla="*/ 49 w 55"/>
                      <a:gd name="T9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49" y="63"/>
                        </a:moveTo>
                        <a:cubicBezTo>
                          <a:pt x="51" y="61"/>
                          <a:pt x="53" y="60"/>
                          <a:pt x="55" y="58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5"/>
                        </a:cubicBezTo>
                        <a:lnTo>
                          <a:pt x="49" y="6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5" name="Freeform 25">
                    <a:extLst>
                      <a:ext uri="{FF2B5EF4-FFF2-40B4-BE49-F238E27FC236}">
                        <a16:creationId xmlns:a16="http://schemas.microsoft.com/office/drawing/2014/main" id="{AA15257F-67C2-2740-E3EF-C811B09CDC7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479550" y="2711451"/>
                    <a:ext cx="92075" cy="123825"/>
                  </a:xfrm>
                  <a:custGeom>
                    <a:avLst/>
                    <a:gdLst>
                      <a:gd name="T0" fmla="*/ 44 w 50"/>
                      <a:gd name="T1" fmla="*/ 67 h 67"/>
                      <a:gd name="T2" fmla="*/ 50 w 50"/>
                      <a:gd name="T3" fmla="*/ 62 h 67"/>
                      <a:gd name="T4" fmla="*/ 6 w 50"/>
                      <a:gd name="T5" fmla="*/ 0 h 67"/>
                      <a:gd name="T6" fmla="*/ 0 w 50"/>
                      <a:gd name="T7" fmla="*/ 4 h 67"/>
                      <a:gd name="T8" fmla="*/ 44 w 50"/>
                      <a:gd name="T9" fmla="*/ 67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0" h="67">
                        <a:moveTo>
                          <a:pt x="44" y="67"/>
                        </a:moveTo>
                        <a:cubicBezTo>
                          <a:pt x="46" y="65"/>
                          <a:pt x="48" y="64"/>
                          <a:pt x="50" y="62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4"/>
                        </a:cubicBezTo>
                        <a:lnTo>
                          <a:pt x="44" y="6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6" name="Freeform 26">
                    <a:extLst>
                      <a:ext uri="{FF2B5EF4-FFF2-40B4-BE49-F238E27FC236}">
                        <a16:creationId xmlns:a16="http://schemas.microsoft.com/office/drawing/2014/main" id="{BFF79095-C001-0EE3-5EFA-125E444AC98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271963" y="2960688"/>
                    <a:ext cx="109538" cy="111125"/>
                  </a:xfrm>
                  <a:custGeom>
                    <a:avLst/>
                    <a:gdLst>
                      <a:gd name="T0" fmla="*/ 5 w 59"/>
                      <a:gd name="T1" fmla="*/ 60 h 60"/>
                      <a:gd name="T2" fmla="*/ 59 w 59"/>
                      <a:gd name="T3" fmla="*/ 6 h 60"/>
                      <a:gd name="T4" fmla="*/ 56 w 59"/>
                      <a:gd name="T5" fmla="*/ 3 h 60"/>
                      <a:gd name="T6" fmla="*/ 54 w 59"/>
                      <a:gd name="T7" fmla="*/ 0 h 60"/>
                      <a:gd name="T8" fmla="*/ 0 w 59"/>
                      <a:gd name="T9" fmla="*/ 54 h 60"/>
                      <a:gd name="T10" fmla="*/ 5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" y="60"/>
                        </a:moveTo>
                        <a:cubicBezTo>
                          <a:pt x="59" y="6"/>
                          <a:pt x="59" y="6"/>
                          <a:pt x="59" y="6"/>
                        </a:cubicBezTo>
                        <a:cubicBezTo>
                          <a:pt x="58" y="5"/>
                          <a:pt x="57" y="4"/>
                          <a:pt x="56" y="3"/>
                        </a:cubicBezTo>
                        <a:cubicBezTo>
                          <a:pt x="55" y="2"/>
                          <a:pt x="55" y="1"/>
                          <a:pt x="54" y="0"/>
                        </a:cubicBezTo>
                        <a:cubicBezTo>
                          <a:pt x="0" y="54"/>
                          <a:pt x="0" y="54"/>
                          <a:pt x="0" y="54"/>
                        </a:cubicBezTo>
                        <a:cubicBezTo>
                          <a:pt x="2" y="56"/>
                          <a:pt x="4" y="58"/>
                          <a:pt x="5" y="6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7" name="Freeform 27">
                    <a:extLst>
                      <a:ext uri="{FF2B5EF4-FFF2-40B4-BE49-F238E27FC236}">
                        <a16:creationId xmlns:a16="http://schemas.microsoft.com/office/drawing/2014/main" id="{A5A9FB0F-054D-1552-0AF5-7DB5FA91552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79513" y="2963863"/>
                    <a:ext cx="109538" cy="111125"/>
                  </a:xfrm>
                  <a:custGeom>
                    <a:avLst/>
                    <a:gdLst>
                      <a:gd name="T0" fmla="*/ 54 w 59"/>
                      <a:gd name="T1" fmla="*/ 60 h 60"/>
                      <a:gd name="T2" fmla="*/ 59 w 59"/>
                      <a:gd name="T3" fmla="*/ 54 h 60"/>
                      <a:gd name="T4" fmla="*/ 6 w 59"/>
                      <a:gd name="T5" fmla="*/ 0 h 60"/>
                      <a:gd name="T6" fmla="*/ 5 w 59"/>
                      <a:gd name="T7" fmla="*/ 1 h 60"/>
                      <a:gd name="T8" fmla="*/ 0 w 59"/>
                      <a:gd name="T9" fmla="*/ 6 h 60"/>
                      <a:gd name="T10" fmla="*/ 54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4" y="60"/>
                        </a:moveTo>
                        <a:cubicBezTo>
                          <a:pt x="56" y="58"/>
                          <a:pt x="57" y="56"/>
                          <a:pt x="59" y="54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5" y="1"/>
                          <a:pt x="5" y="1"/>
                          <a:pt x="5" y="1"/>
                        </a:cubicBezTo>
                        <a:cubicBezTo>
                          <a:pt x="3" y="3"/>
                          <a:pt x="2" y="4"/>
                          <a:pt x="0" y="6"/>
                        </a:cubicBezTo>
                        <a:lnTo>
                          <a:pt x="54" y="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8" name="Freeform 28">
                    <a:extLst>
                      <a:ext uri="{FF2B5EF4-FFF2-40B4-BE49-F238E27FC236}">
                        <a16:creationId xmlns:a16="http://schemas.microsoft.com/office/drawing/2014/main" id="{CF02ADD5-142C-7FBA-69D0-59DDBA8AFA6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28638" y="4557713"/>
                    <a:ext cx="138113" cy="14288"/>
                  </a:xfrm>
                  <a:custGeom>
                    <a:avLst/>
                    <a:gdLst>
                      <a:gd name="T0" fmla="*/ 75 w 75"/>
                      <a:gd name="T1" fmla="*/ 0 h 8"/>
                      <a:gd name="T2" fmla="*/ 0 w 75"/>
                      <a:gd name="T3" fmla="*/ 0 h 8"/>
                      <a:gd name="T4" fmla="*/ 0 w 75"/>
                      <a:gd name="T5" fmla="*/ 8 h 8"/>
                      <a:gd name="T6" fmla="*/ 75 w 75"/>
                      <a:gd name="T7" fmla="*/ 8 h 8"/>
                      <a:gd name="T8" fmla="*/ 75 w 75"/>
                      <a:gd name="T9" fmla="*/ 0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8">
                        <a:moveTo>
                          <a:pt x="75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cubicBezTo>
                          <a:pt x="75" y="8"/>
                          <a:pt x="75" y="8"/>
                          <a:pt x="75" y="8"/>
                        </a:cubicBezTo>
                        <a:cubicBezTo>
                          <a:pt x="75" y="5"/>
                          <a:pt x="75" y="3"/>
                          <a:pt x="75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9" name="Freeform 29">
                    <a:extLst>
                      <a:ext uri="{FF2B5EF4-FFF2-40B4-BE49-F238E27FC236}">
                        <a16:creationId xmlns:a16="http://schemas.microsoft.com/office/drawing/2014/main" id="{CF42FE4F-8756-FECA-A12C-6D65F11E8A6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133850" y="2828926"/>
                    <a:ext cx="103188" cy="115888"/>
                  </a:xfrm>
                  <a:custGeom>
                    <a:avLst/>
                    <a:gdLst>
                      <a:gd name="T0" fmla="*/ 0 w 55"/>
                      <a:gd name="T1" fmla="*/ 58 h 63"/>
                      <a:gd name="T2" fmla="*/ 6 w 55"/>
                      <a:gd name="T3" fmla="*/ 63 h 63"/>
                      <a:gd name="T4" fmla="*/ 55 w 55"/>
                      <a:gd name="T5" fmla="*/ 5 h 63"/>
                      <a:gd name="T6" fmla="*/ 49 w 55"/>
                      <a:gd name="T7" fmla="*/ 0 h 63"/>
                      <a:gd name="T8" fmla="*/ 0 w 55"/>
                      <a:gd name="T9" fmla="*/ 58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0" y="58"/>
                        </a:moveTo>
                        <a:cubicBezTo>
                          <a:pt x="2" y="60"/>
                          <a:pt x="4" y="62"/>
                          <a:pt x="6" y="63"/>
                        </a:cubicBezTo>
                        <a:cubicBezTo>
                          <a:pt x="55" y="5"/>
                          <a:pt x="55" y="5"/>
                          <a:pt x="55" y="5"/>
                        </a:cubicBezTo>
                        <a:cubicBezTo>
                          <a:pt x="53" y="3"/>
                          <a:pt x="51" y="2"/>
                          <a:pt x="49" y="0"/>
                        </a:cubicBezTo>
                        <a:lnTo>
                          <a:pt x="0" y="58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0" name="Freeform 30">
                    <a:extLst>
                      <a:ext uri="{FF2B5EF4-FFF2-40B4-BE49-F238E27FC236}">
                        <a16:creationId xmlns:a16="http://schemas.microsoft.com/office/drawing/2014/main" id="{26C3E9D6-270D-4389-D39D-098A8408500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58813" y="3787776"/>
                    <a:ext cx="136525" cy="60325"/>
                  </a:xfrm>
                  <a:custGeom>
                    <a:avLst/>
                    <a:gdLst>
                      <a:gd name="T0" fmla="*/ 71 w 74"/>
                      <a:gd name="T1" fmla="*/ 33 h 33"/>
                      <a:gd name="T2" fmla="*/ 74 w 74"/>
                      <a:gd name="T3" fmla="*/ 26 h 33"/>
                      <a:gd name="T4" fmla="*/ 2 w 74"/>
                      <a:gd name="T5" fmla="*/ 0 h 33"/>
                      <a:gd name="T6" fmla="*/ 0 w 74"/>
                      <a:gd name="T7" fmla="*/ 7 h 33"/>
                      <a:gd name="T8" fmla="*/ 71 w 74"/>
                      <a:gd name="T9" fmla="*/ 33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4" h="33">
                        <a:moveTo>
                          <a:pt x="71" y="33"/>
                        </a:moveTo>
                        <a:cubicBezTo>
                          <a:pt x="72" y="31"/>
                          <a:pt x="73" y="28"/>
                          <a:pt x="74" y="26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2" y="2"/>
                          <a:pt x="1" y="5"/>
                          <a:pt x="0" y="7"/>
                        </a:cubicBezTo>
                        <a:lnTo>
                          <a:pt x="71" y="3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1" name="Freeform 31">
                    <a:extLst>
                      <a:ext uri="{FF2B5EF4-FFF2-40B4-BE49-F238E27FC236}">
                        <a16:creationId xmlns:a16="http://schemas.microsoft.com/office/drawing/2014/main" id="{B6007C4A-AD22-B30B-4917-D1087DEB308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832225" y="2605088"/>
                    <a:ext cx="84138" cy="128588"/>
                  </a:xfrm>
                  <a:custGeom>
                    <a:avLst/>
                    <a:gdLst>
                      <a:gd name="T0" fmla="*/ 0 w 45"/>
                      <a:gd name="T1" fmla="*/ 65 h 70"/>
                      <a:gd name="T2" fmla="*/ 7 w 45"/>
                      <a:gd name="T3" fmla="*/ 70 h 70"/>
                      <a:gd name="T4" fmla="*/ 45 w 45"/>
                      <a:gd name="T5" fmla="*/ 4 h 70"/>
                      <a:gd name="T6" fmla="*/ 38 w 45"/>
                      <a:gd name="T7" fmla="*/ 0 h 70"/>
                      <a:gd name="T8" fmla="*/ 0 w 45"/>
                      <a:gd name="T9" fmla="*/ 65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0" y="65"/>
                        </a:moveTo>
                        <a:cubicBezTo>
                          <a:pt x="3" y="67"/>
                          <a:pt x="5" y="68"/>
                          <a:pt x="7" y="70"/>
                        </a:cubicBezTo>
                        <a:cubicBezTo>
                          <a:pt x="45" y="4"/>
                          <a:pt x="45" y="4"/>
                          <a:pt x="45" y="4"/>
                        </a:cubicBezTo>
                        <a:cubicBezTo>
                          <a:pt x="43" y="2"/>
                          <a:pt x="41" y="1"/>
                          <a:pt x="38" y="0"/>
                        </a:cubicBezTo>
                        <a:lnTo>
                          <a:pt x="0" y="65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2" name="Freeform 32">
                    <a:extLst>
                      <a:ext uri="{FF2B5EF4-FFF2-40B4-BE49-F238E27FC236}">
                        <a16:creationId xmlns:a16="http://schemas.microsoft.com/office/drawing/2014/main" id="{759AEE56-F621-A262-9E22-5C95C92DF12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987800" y="2708276"/>
                    <a:ext cx="95250" cy="123825"/>
                  </a:xfrm>
                  <a:custGeom>
                    <a:avLst/>
                    <a:gdLst>
                      <a:gd name="T0" fmla="*/ 0 w 51"/>
                      <a:gd name="T1" fmla="*/ 63 h 67"/>
                      <a:gd name="T2" fmla="*/ 7 w 51"/>
                      <a:gd name="T3" fmla="*/ 67 h 67"/>
                      <a:gd name="T4" fmla="*/ 51 w 51"/>
                      <a:gd name="T5" fmla="*/ 5 h 67"/>
                      <a:gd name="T6" fmla="*/ 44 w 51"/>
                      <a:gd name="T7" fmla="*/ 0 h 67"/>
                      <a:gd name="T8" fmla="*/ 0 w 51"/>
                      <a:gd name="T9" fmla="*/ 63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1" h="67">
                        <a:moveTo>
                          <a:pt x="0" y="63"/>
                        </a:moveTo>
                        <a:cubicBezTo>
                          <a:pt x="2" y="64"/>
                          <a:pt x="5" y="66"/>
                          <a:pt x="7" y="67"/>
                        </a:cubicBezTo>
                        <a:cubicBezTo>
                          <a:pt x="51" y="5"/>
                          <a:pt x="51" y="5"/>
                          <a:pt x="51" y="5"/>
                        </a:cubicBezTo>
                        <a:cubicBezTo>
                          <a:pt x="48" y="3"/>
                          <a:pt x="46" y="2"/>
                          <a:pt x="44" y="0"/>
                        </a:cubicBezTo>
                        <a:lnTo>
                          <a:pt x="0" y="63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3" name="Freeform 33">
                    <a:extLst>
                      <a:ext uri="{FF2B5EF4-FFF2-40B4-BE49-F238E27FC236}">
                        <a16:creationId xmlns:a16="http://schemas.microsoft.com/office/drawing/2014/main" id="{07CF18B0-D768-1F71-DD78-853A4A421C1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61988" y="5280026"/>
                    <a:ext cx="139700" cy="60325"/>
                  </a:xfrm>
                  <a:custGeom>
                    <a:avLst/>
                    <a:gdLst>
                      <a:gd name="T0" fmla="*/ 75 w 75"/>
                      <a:gd name="T1" fmla="*/ 7 h 33"/>
                      <a:gd name="T2" fmla="*/ 72 w 75"/>
                      <a:gd name="T3" fmla="*/ 0 h 33"/>
                      <a:gd name="T4" fmla="*/ 0 w 75"/>
                      <a:gd name="T5" fmla="*/ 26 h 33"/>
                      <a:gd name="T6" fmla="*/ 3 w 75"/>
                      <a:gd name="T7" fmla="*/ 33 h 33"/>
                      <a:gd name="T8" fmla="*/ 75 w 75"/>
                      <a:gd name="T9" fmla="*/ 7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33">
                        <a:moveTo>
                          <a:pt x="75" y="7"/>
                        </a:moveTo>
                        <a:cubicBezTo>
                          <a:pt x="74" y="5"/>
                          <a:pt x="73" y="2"/>
                          <a:pt x="72" y="0"/>
                        </a:cubicBezTo>
                        <a:cubicBezTo>
                          <a:pt x="0" y="26"/>
                          <a:pt x="0" y="26"/>
                          <a:pt x="0" y="26"/>
                        </a:cubicBezTo>
                        <a:cubicBezTo>
                          <a:pt x="1" y="28"/>
                          <a:pt x="2" y="31"/>
                          <a:pt x="3" y="33"/>
                        </a:cubicBezTo>
                        <a:lnTo>
                          <a:pt x="75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4" name="Freeform 34">
                    <a:extLst>
                      <a:ext uri="{FF2B5EF4-FFF2-40B4-BE49-F238E27FC236}">
                        <a16:creationId xmlns:a16="http://schemas.microsoft.com/office/drawing/2014/main" id="{F47A6CB4-46F0-B617-9CFD-B5DF4E9D679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04838" y="5103813"/>
                    <a:ext cx="138113" cy="50800"/>
                  </a:xfrm>
                  <a:custGeom>
                    <a:avLst/>
                    <a:gdLst>
                      <a:gd name="T0" fmla="*/ 75 w 75"/>
                      <a:gd name="T1" fmla="*/ 8 h 27"/>
                      <a:gd name="T2" fmla="*/ 73 w 75"/>
                      <a:gd name="T3" fmla="*/ 0 h 27"/>
                      <a:gd name="T4" fmla="*/ 0 w 75"/>
                      <a:gd name="T5" fmla="*/ 20 h 27"/>
                      <a:gd name="T6" fmla="*/ 2 w 75"/>
                      <a:gd name="T7" fmla="*/ 27 h 27"/>
                      <a:gd name="T8" fmla="*/ 75 w 75"/>
                      <a:gd name="T9" fmla="*/ 8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27">
                        <a:moveTo>
                          <a:pt x="75" y="8"/>
                        </a:moveTo>
                        <a:cubicBezTo>
                          <a:pt x="74" y="5"/>
                          <a:pt x="74" y="3"/>
                          <a:pt x="73" y="0"/>
                        </a:cubicBezTo>
                        <a:cubicBezTo>
                          <a:pt x="0" y="20"/>
                          <a:pt x="0" y="20"/>
                          <a:pt x="0" y="20"/>
                        </a:cubicBezTo>
                        <a:cubicBezTo>
                          <a:pt x="0" y="22"/>
                          <a:pt x="1" y="25"/>
                          <a:pt x="2" y="27"/>
                        </a:cubicBezTo>
                        <a:lnTo>
                          <a:pt x="75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5" name="Freeform 35">
                    <a:extLst>
                      <a:ext uri="{FF2B5EF4-FFF2-40B4-BE49-F238E27FC236}">
                        <a16:creationId xmlns:a16="http://schemas.microsoft.com/office/drawing/2014/main" id="{913241D4-D08A-8B82-F5DD-0C4D8153B3C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8675" y="5613401"/>
                    <a:ext cx="130175" cy="82550"/>
                  </a:xfrm>
                  <a:custGeom>
                    <a:avLst/>
                    <a:gdLst>
                      <a:gd name="T0" fmla="*/ 70 w 70"/>
                      <a:gd name="T1" fmla="*/ 7 h 45"/>
                      <a:gd name="T2" fmla="*/ 66 w 70"/>
                      <a:gd name="T3" fmla="*/ 0 h 45"/>
                      <a:gd name="T4" fmla="*/ 0 w 70"/>
                      <a:gd name="T5" fmla="*/ 38 h 45"/>
                      <a:gd name="T6" fmla="*/ 4 w 70"/>
                      <a:gd name="T7" fmla="*/ 45 h 45"/>
                      <a:gd name="T8" fmla="*/ 70 w 70"/>
                      <a:gd name="T9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70" y="7"/>
                        </a:moveTo>
                        <a:cubicBezTo>
                          <a:pt x="69" y="4"/>
                          <a:pt x="67" y="2"/>
                          <a:pt x="66" y="0"/>
                        </a:cubicBezTo>
                        <a:cubicBezTo>
                          <a:pt x="0" y="38"/>
                          <a:pt x="0" y="38"/>
                          <a:pt x="0" y="38"/>
                        </a:cubicBezTo>
                        <a:cubicBezTo>
                          <a:pt x="1" y="40"/>
                          <a:pt x="3" y="42"/>
                          <a:pt x="4" y="45"/>
                        </a:cubicBezTo>
                        <a:lnTo>
                          <a:pt x="70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6" name="Freeform 36">
                    <a:extLst>
                      <a:ext uri="{FF2B5EF4-FFF2-40B4-BE49-F238E27FC236}">
                        <a16:creationId xmlns:a16="http://schemas.microsoft.com/office/drawing/2014/main" id="{6435B5A8-39E9-6786-3DBF-AE47FB410AD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61975" y="4924426"/>
                    <a:ext cx="141288" cy="38100"/>
                  </a:xfrm>
                  <a:custGeom>
                    <a:avLst/>
                    <a:gdLst>
                      <a:gd name="T0" fmla="*/ 76 w 76"/>
                      <a:gd name="T1" fmla="*/ 8 h 21"/>
                      <a:gd name="T2" fmla="*/ 74 w 76"/>
                      <a:gd name="T3" fmla="*/ 0 h 21"/>
                      <a:gd name="T4" fmla="*/ 0 w 76"/>
                      <a:gd name="T5" fmla="*/ 13 h 21"/>
                      <a:gd name="T6" fmla="*/ 1 w 76"/>
                      <a:gd name="T7" fmla="*/ 21 h 21"/>
                      <a:gd name="T8" fmla="*/ 76 w 76"/>
                      <a:gd name="T9" fmla="*/ 8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21">
                        <a:moveTo>
                          <a:pt x="76" y="8"/>
                        </a:moveTo>
                        <a:cubicBezTo>
                          <a:pt x="75" y="5"/>
                          <a:pt x="75" y="3"/>
                          <a:pt x="74" y="0"/>
                        </a:cubicBez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0" y="16"/>
                          <a:pt x="1" y="18"/>
                          <a:pt x="1" y="21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7" name="Freeform 37">
                    <a:extLst>
                      <a:ext uri="{FF2B5EF4-FFF2-40B4-BE49-F238E27FC236}">
                        <a16:creationId xmlns:a16="http://schemas.microsoft.com/office/drawing/2014/main" id="{57CDF5D9-E5F6-0EAF-ACFC-0DCB3C5C6DF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8188" y="5449888"/>
                    <a:ext cx="133350" cy="73025"/>
                  </a:xfrm>
                  <a:custGeom>
                    <a:avLst/>
                    <a:gdLst>
                      <a:gd name="T0" fmla="*/ 72 w 72"/>
                      <a:gd name="T1" fmla="*/ 7 h 39"/>
                      <a:gd name="T2" fmla="*/ 69 w 72"/>
                      <a:gd name="T3" fmla="*/ 0 h 39"/>
                      <a:gd name="T4" fmla="*/ 0 w 72"/>
                      <a:gd name="T5" fmla="*/ 32 h 39"/>
                      <a:gd name="T6" fmla="*/ 3 w 72"/>
                      <a:gd name="T7" fmla="*/ 39 h 39"/>
                      <a:gd name="T8" fmla="*/ 72 w 72"/>
                      <a:gd name="T9" fmla="*/ 7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72" y="7"/>
                        </a:moveTo>
                        <a:cubicBezTo>
                          <a:pt x="71" y="4"/>
                          <a:pt x="70" y="2"/>
                          <a:pt x="69" y="0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1" y="34"/>
                          <a:pt x="2" y="37"/>
                          <a:pt x="3" y="39"/>
                        </a:cubicBezTo>
                        <a:lnTo>
                          <a:pt x="72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8" name="Freeform 39">
                    <a:extLst>
                      <a:ext uri="{FF2B5EF4-FFF2-40B4-BE49-F238E27FC236}">
                        <a16:creationId xmlns:a16="http://schemas.microsoft.com/office/drawing/2014/main" id="{1D0B0F93-38E1-1B86-AB20-A970A20D38D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740276"/>
                    <a:ext cx="139700" cy="28575"/>
                  </a:xfrm>
                  <a:custGeom>
                    <a:avLst/>
                    <a:gdLst>
                      <a:gd name="T0" fmla="*/ 76 w 76"/>
                      <a:gd name="T1" fmla="*/ 8 h 15"/>
                      <a:gd name="T2" fmla="*/ 75 w 76"/>
                      <a:gd name="T3" fmla="*/ 0 h 15"/>
                      <a:gd name="T4" fmla="*/ 0 w 76"/>
                      <a:gd name="T5" fmla="*/ 7 h 15"/>
                      <a:gd name="T6" fmla="*/ 1 w 76"/>
                      <a:gd name="T7" fmla="*/ 15 h 15"/>
                      <a:gd name="T8" fmla="*/ 76 w 76"/>
                      <a:gd name="T9" fmla="*/ 8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15">
                        <a:moveTo>
                          <a:pt x="76" y="8"/>
                        </a:moveTo>
                        <a:cubicBezTo>
                          <a:pt x="76" y="6"/>
                          <a:pt x="76" y="3"/>
                          <a:pt x="75" y="0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10"/>
                          <a:pt x="1" y="12"/>
                          <a:pt x="1" y="15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9" name="Freeform 40">
                    <a:extLst>
                      <a:ext uri="{FF2B5EF4-FFF2-40B4-BE49-F238E27FC236}">
                        <a16:creationId xmlns:a16="http://schemas.microsoft.com/office/drawing/2014/main" id="{23F1B5D7-0513-AAFB-2528-A0634BE1756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360863"/>
                    <a:ext cx="138113" cy="28575"/>
                  </a:xfrm>
                  <a:custGeom>
                    <a:avLst/>
                    <a:gdLst>
                      <a:gd name="T0" fmla="*/ 75 w 75"/>
                      <a:gd name="T1" fmla="*/ 15 h 15"/>
                      <a:gd name="T2" fmla="*/ 75 w 75"/>
                      <a:gd name="T3" fmla="*/ 7 h 15"/>
                      <a:gd name="T4" fmla="*/ 0 w 75"/>
                      <a:gd name="T5" fmla="*/ 0 h 15"/>
                      <a:gd name="T6" fmla="*/ 0 w 75"/>
                      <a:gd name="T7" fmla="*/ 8 h 15"/>
                      <a:gd name="T8" fmla="*/ 75 w 75"/>
                      <a:gd name="T9" fmla="*/ 15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5">
                        <a:moveTo>
                          <a:pt x="75" y="15"/>
                        </a:moveTo>
                        <a:cubicBezTo>
                          <a:pt x="75" y="12"/>
                          <a:pt x="75" y="9"/>
                          <a:pt x="75" y="7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lnTo>
                          <a:pt x="75" y="1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0" name="Freeform 41">
                    <a:extLst>
                      <a:ext uri="{FF2B5EF4-FFF2-40B4-BE49-F238E27FC236}">
                        <a16:creationId xmlns:a16="http://schemas.microsoft.com/office/drawing/2014/main" id="{AA3DF4BC-B715-16FD-321F-DBB856CA903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644900" y="2508251"/>
                    <a:ext cx="107950" cy="171450"/>
                  </a:xfrm>
                  <a:custGeom>
                    <a:avLst/>
                    <a:gdLst>
                      <a:gd name="T0" fmla="*/ 39 w 58"/>
                      <a:gd name="T1" fmla="*/ 0 h 93"/>
                      <a:gd name="T2" fmla="*/ 0 w 58"/>
                      <a:gd name="T3" fmla="*/ 85 h 93"/>
                      <a:gd name="T4" fmla="*/ 10 w 58"/>
                      <a:gd name="T5" fmla="*/ 89 h 93"/>
                      <a:gd name="T6" fmla="*/ 19 w 58"/>
                      <a:gd name="T7" fmla="*/ 93 h 93"/>
                      <a:gd name="T8" fmla="*/ 58 w 58"/>
                      <a:gd name="T9" fmla="*/ 8 h 93"/>
                      <a:gd name="T10" fmla="*/ 49 w 58"/>
                      <a:gd name="T11" fmla="*/ 4 h 93"/>
                      <a:gd name="T12" fmla="*/ 39 w 58"/>
                      <a:gd name="T13" fmla="*/ 0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39" y="0"/>
                        </a:moveTo>
                        <a:cubicBezTo>
                          <a:pt x="0" y="85"/>
                          <a:pt x="0" y="85"/>
                          <a:pt x="0" y="85"/>
                        </a:cubicBezTo>
                        <a:cubicBezTo>
                          <a:pt x="2" y="85"/>
                          <a:pt x="8" y="88"/>
                          <a:pt x="10" y="89"/>
                        </a:cubicBezTo>
                        <a:cubicBezTo>
                          <a:pt x="11" y="90"/>
                          <a:pt x="17" y="93"/>
                          <a:pt x="19" y="93"/>
                        </a:cubicBezTo>
                        <a:cubicBezTo>
                          <a:pt x="58" y="8"/>
                          <a:pt x="58" y="8"/>
                          <a:pt x="58" y="8"/>
                        </a:cubicBezTo>
                        <a:cubicBezTo>
                          <a:pt x="56" y="8"/>
                          <a:pt x="50" y="4"/>
                          <a:pt x="49" y="4"/>
                        </a:cubicBezTo>
                        <a:cubicBezTo>
                          <a:pt x="47" y="3"/>
                          <a:pt x="41" y="0"/>
                          <a:pt x="39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1" name="Freeform 42">
                    <a:extLst>
                      <a:ext uri="{FF2B5EF4-FFF2-40B4-BE49-F238E27FC236}">
                        <a16:creationId xmlns:a16="http://schemas.microsoft.com/office/drawing/2014/main" id="{64025E8D-DBA3-0258-D88C-B9E28C11FB9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364038" y="3095626"/>
                    <a:ext cx="157163" cy="139700"/>
                  </a:xfrm>
                  <a:custGeom>
                    <a:avLst/>
                    <a:gdLst>
                      <a:gd name="T0" fmla="*/ 72 w 85"/>
                      <a:gd name="T1" fmla="*/ 0 h 76"/>
                      <a:gd name="T2" fmla="*/ 0 w 85"/>
                      <a:gd name="T3" fmla="*/ 60 h 76"/>
                      <a:gd name="T4" fmla="*/ 6 w 85"/>
                      <a:gd name="T5" fmla="*/ 68 h 76"/>
                      <a:gd name="T6" fmla="*/ 13 w 85"/>
                      <a:gd name="T7" fmla="*/ 76 h 76"/>
                      <a:gd name="T8" fmla="*/ 85 w 85"/>
                      <a:gd name="T9" fmla="*/ 16 h 76"/>
                      <a:gd name="T10" fmla="*/ 78 w 85"/>
                      <a:gd name="T11" fmla="*/ 8 h 76"/>
                      <a:gd name="T12" fmla="*/ 72 w 85"/>
                      <a:gd name="T13" fmla="*/ 0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6">
                        <a:moveTo>
                          <a:pt x="72" y="0"/>
                        </a:move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1" y="61"/>
                          <a:pt x="6" y="67"/>
                          <a:pt x="6" y="68"/>
                        </a:cubicBezTo>
                        <a:cubicBezTo>
                          <a:pt x="7" y="69"/>
                          <a:pt x="12" y="75"/>
                          <a:pt x="13" y="76"/>
                        </a:cubicBezTo>
                        <a:cubicBezTo>
                          <a:pt x="85" y="16"/>
                          <a:pt x="85" y="16"/>
                          <a:pt x="85" y="16"/>
                        </a:cubicBezTo>
                        <a:cubicBezTo>
                          <a:pt x="84" y="15"/>
                          <a:pt x="79" y="9"/>
                          <a:pt x="78" y="8"/>
                        </a:cubicBezTo>
                        <a:cubicBezTo>
                          <a:pt x="78" y="7"/>
                          <a:pt x="73" y="1"/>
                          <a:pt x="72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2" name="Freeform 43">
                    <a:extLst>
                      <a:ext uri="{FF2B5EF4-FFF2-40B4-BE49-F238E27FC236}">
                        <a16:creationId xmlns:a16="http://schemas.microsoft.com/office/drawing/2014/main" id="{18233648-2895-AA9B-3811-E44873D7810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814513" y="2506663"/>
                    <a:ext cx="107950" cy="171450"/>
                  </a:xfrm>
                  <a:custGeom>
                    <a:avLst/>
                    <a:gdLst>
                      <a:gd name="T0" fmla="*/ 0 w 58"/>
                      <a:gd name="T1" fmla="*/ 9 h 93"/>
                      <a:gd name="T2" fmla="*/ 40 w 58"/>
                      <a:gd name="T3" fmla="*/ 93 h 93"/>
                      <a:gd name="T4" fmla="*/ 49 w 58"/>
                      <a:gd name="T5" fmla="*/ 89 h 93"/>
                      <a:gd name="T6" fmla="*/ 58 w 58"/>
                      <a:gd name="T7" fmla="*/ 85 h 93"/>
                      <a:gd name="T8" fmla="*/ 18 w 58"/>
                      <a:gd name="T9" fmla="*/ 0 h 93"/>
                      <a:gd name="T10" fmla="*/ 9 w 58"/>
                      <a:gd name="T11" fmla="*/ 4 h 93"/>
                      <a:gd name="T12" fmla="*/ 0 w 58"/>
                      <a:gd name="T13" fmla="*/ 9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0" y="9"/>
                        </a:moveTo>
                        <a:cubicBezTo>
                          <a:pt x="40" y="93"/>
                          <a:pt x="40" y="93"/>
                          <a:pt x="40" y="93"/>
                        </a:cubicBezTo>
                        <a:cubicBezTo>
                          <a:pt x="41" y="93"/>
                          <a:pt x="47" y="90"/>
                          <a:pt x="49" y="89"/>
                        </a:cubicBezTo>
                        <a:cubicBezTo>
                          <a:pt x="50" y="88"/>
                          <a:pt x="57" y="85"/>
                          <a:pt x="58" y="85"/>
                        </a:cubicBezTo>
                        <a:cubicBezTo>
                          <a:pt x="18" y="0"/>
                          <a:pt x="18" y="0"/>
                          <a:pt x="18" y="0"/>
                        </a:cubicBezTo>
                        <a:cubicBezTo>
                          <a:pt x="17" y="1"/>
                          <a:pt x="10" y="4"/>
                          <a:pt x="9" y="4"/>
                        </a:cubicBezTo>
                        <a:cubicBezTo>
                          <a:pt x="7" y="5"/>
                          <a:pt x="1" y="8"/>
                          <a:pt x="0" y="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3" name="Freeform 44">
                    <a:extLst>
                      <a:ext uri="{FF2B5EF4-FFF2-40B4-BE49-F238E27FC236}">
                        <a16:creationId xmlns:a16="http://schemas.microsoft.com/office/drawing/2014/main" id="{84F84CA3-0A11-E4CC-BA5F-6A96D4D464B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225" y="3100388"/>
                    <a:ext cx="157163" cy="139700"/>
                  </a:xfrm>
                  <a:custGeom>
                    <a:avLst/>
                    <a:gdLst>
                      <a:gd name="T0" fmla="*/ 0 w 85"/>
                      <a:gd name="T1" fmla="*/ 16 h 75"/>
                      <a:gd name="T2" fmla="*/ 72 w 85"/>
                      <a:gd name="T3" fmla="*/ 75 h 75"/>
                      <a:gd name="T4" fmla="*/ 78 w 85"/>
                      <a:gd name="T5" fmla="*/ 67 h 75"/>
                      <a:gd name="T6" fmla="*/ 85 w 85"/>
                      <a:gd name="T7" fmla="*/ 59 h 75"/>
                      <a:gd name="T8" fmla="*/ 12 w 85"/>
                      <a:gd name="T9" fmla="*/ 0 h 75"/>
                      <a:gd name="T10" fmla="*/ 6 w 85"/>
                      <a:gd name="T11" fmla="*/ 8 h 75"/>
                      <a:gd name="T12" fmla="*/ 0 w 85"/>
                      <a:gd name="T13" fmla="*/ 16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5">
                        <a:moveTo>
                          <a:pt x="0" y="16"/>
                        </a:moveTo>
                        <a:cubicBezTo>
                          <a:pt x="72" y="75"/>
                          <a:pt x="72" y="75"/>
                          <a:pt x="72" y="75"/>
                        </a:cubicBezTo>
                        <a:cubicBezTo>
                          <a:pt x="73" y="74"/>
                          <a:pt x="78" y="68"/>
                          <a:pt x="78" y="67"/>
                        </a:cubicBezTo>
                        <a:cubicBezTo>
                          <a:pt x="79" y="66"/>
                          <a:pt x="84" y="60"/>
                          <a:pt x="85" y="59"/>
                        </a:cubicBezTo>
                        <a:cubicBezTo>
                          <a:pt x="12" y="0"/>
                          <a:pt x="12" y="0"/>
                          <a:pt x="12" y="0"/>
                        </a:cubicBezTo>
                        <a:cubicBezTo>
                          <a:pt x="11" y="1"/>
                          <a:pt x="7" y="7"/>
                          <a:pt x="6" y="8"/>
                        </a:cubicBezTo>
                        <a:cubicBezTo>
                          <a:pt x="5" y="9"/>
                          <a:pt x="0" y="14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4" name="Freeform 46">
                    <a:extLst>
                      <a:ext uri="{FF2B5EF4-FFF2-40B4-BE49-F238E27FC236}">
                        <a16:creationId xmlns:a16="http://schemas.microsoft.com/office/drawing/2014/main" id="{67D3EF4A-7E88-A8AB-B65E-526D9002AD8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58800" y="4906963"/>
                    <a:ext cx="177800" cy="69850"/>
                  </a:xfrm>
                  <a:custGeom>
                    <a:avLst/>
                    <a:gdLst>
                      <a:gd name="T0" fmla="*/ 4 w 96"/>
                      <a:gd name="T1" fmla="*/ 37 h 37"/>
                      <a:gd name="T2" fmla="*/ 96 w 96"/>
                      <a:gd name="T3" fmla="*/ 20 h 37"/>
                      <a:gd name="T4" fmla="*/ 94 w 96"/>
                      <a:gd name="T5" fmla="*/ 10 h 37"/>
                      <a:gd name="T6" fmla="*/ 92 w 96"/>
                      <a:gd name="T7" fmla="*/ 0 h 37"/>
                      <a:gd name="T8" fmla="*/ 0 w 96"/>
                      <a:gd name="T9" fmla="*/ 17 h 37"/>
                      <a:gd name="T10" fmla="*/ 2 w 96"/>
                      <a:gd name="T11" fmla="*/ 27 h 37"/>
                      <a:gd name="T12" fmla="*/ 4 w 96"/>
                      <a:gd name="T13" fmla="*/ 37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6" h="37">
                        <a:moveTo>
                          <a:pt x="4" y="37"/>
                        </a:moveTo>
                        <a:cubicBezTo>
                          <a:pt x="96" y="20"/>
                          <a:pt x="96" y="20"/>
                          <a:pt x="96" y="20"/>
                        </a:cubicBezTo>
                        <a:cubicBezTo>
                          <a:pt x="96" y="19"/>
                          <a:pt x="94" y="12"/>
                          <a:pt x="94" y="10"/>
                        </a:cubicBezTo>
                        <a:cubicBezTo>
                          <a:pt x="94" y="9"/>
                          <a:pt x="93" y="2"/>
                          <a:pt x="92" y="0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1" y="18"/>
                          <a:pt x="2" y="25"/>
                          <a:pt x="2" y="27"/>
                        </a:cubicBezTo>
                        <a:cubicBezTo>
                          <a:pt x="2" y="28"/>
                          <a:pt x="4" y="35"/>
                          <a:pt x="4" y="3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98" name="Group 1019">
                <a:extLst>
                  <a:ext uri="{FF2B5EF4-FFF2-40B4-BE49-F238E27FC236}">
                    <a16:creationId xmlns:a16="http://schemas.microsoft.com/office/drawing/2014/main" id="{82526A4C-C610-D974-6C43-0BEB19A4CB1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486427" y="2263024"/>
                <a:ext cx="1699667" cy="2477857"/>
                <a:chOff x="1866900" y="3224213"/>
                <a:chExt cx="2184400" cy="3184525"/>
              </a:xfrm>
            </p:grpSpPr>
            <p:sp>
              <p:nvSpPr>
                <p:cNvPr id="223" name="Freeform 47">
                  <a:extLst>
                    <a:ext uri="{FF2B5EF4-FFF2-40B4-BE49-F238E27FC236}">
                      <a16:creationId xmlns:a16="http://schemas.microsoft.com/office/drawing/2014/main" id="{D53E081E-A9AD-F4C0-2E29-1CD51C1AB70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933575" y="3373438"/>
                  <a:ext cx="2117725" cy="3035300"/>
                </a:xfrm>
                <a:custGeom>
                  <a:avLst/>
                  <a:gdLst>
                    <a:gd name="T0" fmla="*/ 1142 w 1142"/>
                    <a:gd name="T1" fmla="*/ 0 h 1640"/>
                    <a:gd name="T2" fmla="*/ 883 w 1142"/>
                    <a:gd name="T3" fmla="*/ 142 h 1640"/>
                    <a:gd name="T4" fmla="*/ 947 w 1142"/>
                    <a:gd name="T5" fmla="*/ 186 h 1640"/>
                    <a:gd name="T6" fmla="*/ 619 w 1142"/>
                    <a:gd name="T7" fmla="*/ 667 h 1640"/>
                    <a:gd name="T8" fmla="*/ 588 w 1142"/>
                    <a:gd name="T9" fmla="*/ 663 h 1640"/>
                    <a:gd name="T10" fmla="*/ 465 w 1142"/>
                    <a:gd name="T11" fmla="*/ 729 h 1640"/>
                    <a:gd name="T12" fmla="*/ 463 w 1142"/>
                    <a:gd name="T13" fmla="*/ 895 h 1640"/>
                    <a:gd name="T14" fmla="*/ 0 w 1142"/>
                    <a:gd name="T15" fmla="*/ 1576 h 1640"/>
                    <a:gd name="T16" fmla="*/ 93 w 1142"/>
                    <a:gd name="T17" fmla="*/ 1640 h 1640"/>
                    <a:gd name="T18" fmla="*/ 558 w 1142"/>
                    <a:gd name="T19" fmla="*/ 959 h 1640"/>
                    <a:gd name="T20" fmla="*/ 588 w 1142"/>
                    <a:gd name="T21" fmla="*/ 963 h 1640"/>
                    <a:gd name="T22" fmla="*/ 712 w 1142"/>
                    <a:gd name="T23" fmla="*/ 897 h 1640"/>
                    <a:gd name="T24" fmla="*/ 713 w 1142"/>
                    <a:gd name="T25" fmla="*/ 731 h 1640"/>
                    <a:gd name="T26" fmla="*/ 1041 w 1142"/>
                    <a:gd name="T27" fmla="*/ 250 h 1640"/>
                    <a:gd name="T28" fmla="*/ 1105 w 1142"/>
                    <a:gd name="T29" fmla="*/ 293 h 1640"/>
                    <a:gd name="T30" fmla="*/ 1142 w 1142"/>
                    <a:gd name="T31" fmla="*/ 0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142" h="1640">
                      <a:moveTo>
                        <a:pt x="1142" y="0"/>
                      </a:move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619" y="667"/>
                        <a:pt x="619" y="667"/>
                        <a:pt x="619" y="667"/>
                      </a:cubicBezTo>
                      <a:cubicBezTo>
                        <a:pt x="609" y="665"/>
                        <a:pt x="599" y="663"/>
                        <a:pt x="588" y="663"/>
                      </a:cubicBezTo>
                      <a:cubicBezTo>
                        <a:pt x="541" y="663"/>
                        <a:pt x="494" y="686"/>
                        <a:pt x="465" y="729"/>
                      </a:cubicBezTo>
                      <a:cubicBezTo>
                        <a:pt x="430" y="780"/>
                        <a:pt x="431" y="846"/>
                        <a:pt x="463" y="895"/>
                      </a:cubicBezTo>
                      <a:cubicBezTo>
                        <a:pt x="463" y="895"/>
                        <a:pt x="56" y="1493"/>
                        <a:pt x="0" y="1576"/>
                      </a:cubicBezTo>
                      <a:cubicBezTo>
                        <a:pt x="93" y="1640"/>
                        <a:pt x="93" y="1640"/>
                        <a:pt x="93" y="1640"/>
                      </a:cubicBezTo>
                      <a:cubicBezTo>
                        <a:pt x="153" y="1551"/>
                        <a:pt x="558" y="959"/>
                        <a:pt x="558" y="959"/>
                      </a:cubicBezTo>
                      <a:cubicBezTo>
                        <a:pt x="568" y="961"/>
                        <a:pt x="578" y="963"/>
                        <a:pt x="588" y="963"/>
                      </a:cubicBezTo>
                      <a:cubicBezTo>
                        <a:pt x="636" y="963"/>
                        <a:pt x="683" y="940"/>
                        <a:pt x="712" y="897"/>
                      </a:cubicBezTo>
                      <a:cubicBezTo>
                        <a:pt x="747" y="846"/>
                        <a:pt x="745" y="780"/>
                        <a:pt x="713" y="731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142" y="0"/>
                        <a:pt x="1142" y="0"/>
                        <a:pt x="1142" y="0"/>
                      </a:cubicBezTo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 48">
                  <a:extLst>
                    <a:ext uri="{FF2B5EF4-FFF2-40B4-BE49-F238E27FC236}">
                      <a16:creationId xmlns:a16="http://schemas.microsoft.com/office/drawing/2014/main" id="{6AB906D7-35F5-0083-EA0F-569EBE5F80F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866900" y="3224213"/>
                  <a:ext cx="2117725" cy="3036888"/>
                </a:xfrm>
                <a:custGeom>
                  <a:avLst/>
                  <a:gdLst>
                    <a:gd name="T0" fmla="*/ 0 w 1142"/>
                    <a:gd name="T1" fmla="*/ 1576 h 1640"/>
                    <a:gd name="T2" fmla="*/ 463 w 1142"/>
                    <a:gd name="T3" fmla="*/ 895 h 1640"/>
                    <a:gd name="T4" fmla="*/ 465 w 1142"/>
                    <a:gd name="T5" fmla="*/ 729 h 1640"/>
                    <a:gd name="T6" fmla="*/ 619 w 1142"/>
                    <a:gd name="T7" fmla="*/ 667 h 1640"/>
                    <a:gd name="T8" fmla="*/ 947 w 1142"/>
                    <a:gd name="T9" fmla="*/ 186 h 1640"/>
                    <a:gd name="T10" fmla="*/ 883 w 1142"/>
                    <a:gd name="T11" fmla="*/ 142 h 1640"/>
                    <a:gd name="T12" fmla="*/ 1142 w 1142"/>
                    <a:gd name="T13" fmla="*/ 0 h 1640"/>
                    <a:gd name="T14" fmla="*/ 1105 w 1142"/>
                    <a:gd name="T15" fmla="*/ 293 h 1640"/>
                    <a:gd name="T16" fmla="*/ 1041 w 1142"/>
                    <a:gd name="T17" fmla="*/ 250 h 1640"/>
                    <a:gd name="T18" fmla="*/ 713 w 1142"/>
                    <a:gd name="T19" fmla="*/ 731 h 1640"/>
                    <a:gd name="T20" fmla="*/ 712 w 1142"/>
                    <a:gd name="T21" fmla="*/ 897 h 1640"/>
                    <a:gd name="T22" fmla="*/ 558 w 1142"/>
                    <a:gd name="T23" fmla="*/ 959 h 1640"/>
                    <a:gd name="T24" fmla="*/ 93 w 1142"/>
                    <a:gd name="T25" fmla="*/ 1640 h 1640"/>
                    <a:gd name="T26" fmla="*/ 0 w 1142"/>
                    <a:gd name="T27" fmla="*/ 1576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42" h="1640">
                      <a:moveTo>
                        <a:pt x="0" y="1576"/>
                      </a:moveTo>
                      <a:cubicBezTo>
                        <a:pt x="56" y="1493"/>
                        <a:pt x="463" y="895"/>
                        <a:pt x="463" y="895"/>
                      </a:cubicBezTo>
                      <a:cubicBezTo>
                        <a:pt x="431" y="846"/>
                        <a:pt x="430" y="780"/>
                        <a:pt x="465" y="729"/>
                      </a:cubicBezTo>
                      <a:cubicBezTo>
                        <a:pt x="500" y="677"/>
                        <a:pt x="562" y="655"/>
                        <a:pt x="619" y="667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1142" y="0"/>
                        <a:pt x="1142" y="0"/>
                        <a:pt x="1142" y="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713" y="731"/>
                        <a:pt x="713" y="731"/>
                        <a:pt x="713" y="731"/>
                      </a:cubicBezTo>
                      <a:cubicBezTo>
                        <a:pt x="745" y="780"/>
                        <a:pt x="747" y="846"/>
                        <a:pt x="712" y="897"/>
                      </a:cubicBezTo>
                      <a:cubicBezTo>
                        <a:pt x="677" y="949"/>
                        <a:pt x="615" y="971"/>
                        <a:pt x="558" y="959"/>
                      </a:cubicBezTo>
                      <a:cubicBezTo>
                        <a:pt x="558" y="959"/>
                        <a:pt x="153" y="1551"/>
                        <a:pt x="93" y="1640"/>
                      </a:cubicBezTo>
                      <a:lnTo>
                        <a:pt x="0" y="157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 49">
                  <a:extLst>
                    <a:ext uri="{FF2B5EF4-FFF2-40B4-BE49-F238E27FC236}">
                      <a16:creationId xmlns:a16="http://schemas.microsoft.com/office/drawing/2014/main" id="{F5AEB769-6C1C-3457-4C30-BDC65E2F022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849563" y="4622801"/>
                  <a:ext cx="215900" cy="214313"/>
                </a:xfrm>
                <a:custGeom>
                  <a:avLst/>
                  <a:gdLst>
                    <a:gd name="T0" fmla="*/ 100 w 116"/>
                    <a:gd name="T1" fmla="*/ 87 h 116"/>
                    <a:gd name="T2" fmla="*/ 30 w 116"/>
                    <a:gd name="T3" fmla="*/ 100 h 116"/>
                    <a:gd name="T4" fmla="*/ 16 w 116"/>
                    <a:gd name="T5" fmla="*/ 29 h 116"/>
                    <a:gd name="T6" fmla="*/ 87 w 116"/>
                    <a:gd name="T7" fmla="*/ 16 h 116"/>
                    <a:gd name="T8" fmla="*/ 100 w 116"/>
                    <a:gd name="T9" fmla="*/ 87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" h="116">
                      <a:moveTo>
                        <a:pt x="100" y="87"/>
                      </a:moveTo>
                      <a:cubicBezTo>
                        <a:pt x="85" y="110"/>
                        <a:pt x="53" y="116"/>
                        <a:pt x="30" y="100"/>
                      </a:cubicBezTo>
                      <a:cubicBezTo>
                        <a:pt x="6" y="84"/>
                        <a:pt x="0" y="53"/>
                        <a:pt x="16" y="29"/>
                      </a:cubicBezTo>
                      <a:cubicBezTo>
                        <a:pt x="32" y="6"/>
                        <a:pt x="64" y="0"/>
                        <a:pt x="87" y="16"/>
                      </a:cubicBezTo>
                      <a:cubicBezTo>
                        <a:pt x="110" y="32"/>
                        <a:pt x="116" y="63"/>
                        <a:pt x="100" y="87"/>
                      </a:cubicBezTo>
                      <a:close/>
                    </a:path>
                  </a:pathLst>
                </a:custGeom>
                <a:solidFill>
                  <a:srgbClr val="002B6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Oval 50">
                  <a:extLst>
                    <a:ext uri="{FF2B5EF4-FFF2-40B4-BE49-F238E27FC236}">
                      <a16:creationId xmlns:a16="http://schemas.microsoft.com/office/drawing/2014/main" id="{96AA68C1-21F8-67BE-5DDE-19AE34DD224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2919413" y="4694238"/>
                  <a:ext cx="73025" cy="73025"/>
                </a:xfrm>
                <a:prstGeom prst="ellipse">
                  <a:avLst/>
                </a:prstGeom>
                <a:solidFill>
                  <a:srgbClr val="56B9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99" name="Group 1020">
                <a:extLst>
                  <a:ext uri="{FF2B5EF4-FFF2-40B4-BE49-F238E27FC236}">
                    <a16:creationId xmlns:a16="http://schemas.microsoft.com/office/drawing/2014/main" id="{48DF3735-32AD-FF2C-C311-AAEC401278D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163860" y="3516775"/>
                <a:ext cx="839952" cy="104994"/>
                <a:chOff x="4022725" y="4835526"/>
                <a:chExt cx="1079500" cy="134938"/>
              </a:xfrm>
            </p:grpSpPr>
            <p:sp>
              <p:nvSpPr>
                <p:cNvPr id="100" name="Rectangle 53">
                  <a:extLst>
                    <a:ext uri="{FF2B5EF4-FFF2-40B4-BE49-F238E27FC236}">
                      <a16:creationId xmlns:a16="http://schemas.microsoft.com/office/drawing/2014/main" id="{DFB6ACA3-E3E5-32A6-1892-C481CCE1ADB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Rectangle 54">
                  <a:extLst>
                    <a:ext uri="{FF2B5EF4-FFF2-40B4-BE49-F238E27FC236}">
                      <a16:creationId xmlns:a16="http://schemas.microsoft.com/office/drawing/2014/main" id="{C6B30C87-597C-14A0-66A8-3BE8E1EDA83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Rectangle 55">
                  <a:extLst>
                    <a:ext uri="{FF2B5EF4-FFF2-40B4-BE49-F238E27FC236}">
                      <a16:creationId xmlns:a16="http://schemas.microsoft.com/office/drawing/2014/main" id="{A25553BF-62BD-A2A7-91B1-D36B9E6F9EA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Rectangle 56">
                  <a:extLst>
                    <a:ext uri="{FF2B5EF4-FFF2-40B4-BE49-F238E27FC236}">
                      <a16:creationId xmlns:a16="http://schemas.microsoft.com/office/drawing/2014/main" id="{4164A1E0-2D24-1315-F14B-D78B4C70242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Rectangle 57">
                  <a:extLst>
                    <a:ext uri="{FF2B5EF4-FFF2-40B4-BE49-F238E27FC236}">
                      <a16:creationId xmlns:a16="http://schemas.microsoft.com/office/drawing/2014/main" id="{16FBC38D-3992-02FA-C41B-5AABF551FB0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Rectangle 58">
                  <a:extLst>
                    <a:ext uri="{FF2B5EF4-FFF2-40B4-BE49-F238E27FC236}">
                      <a16:creationId xmlns:a16="http://schemas.microsoft.com/office/drawing/2014/main" id="{AAED0709-C0EB-89F0-ABA7-D713D87C003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 59">
                  <a:extLst>
                    <a:ext uri="{FF2B5EF4-FFF2-40B4-BE49-F238E27FC236}">
                      <a16:creationId xmlns:a16="http://schemas.microsoft.com/office/drawing/2014/main" id="{95510591-1301-35B3-0C7F-4F0718EC1D4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 60">
                  <a:extLst>
                    <a:ext uri="{FF2B5EF4-FFF2-40B4-BE49-F238E27FC236}">
                      <a16:creationId xmlns:a16="http://schemas.microsoft.com/office/drawing/2014/main" id="{F680FA00-82D9-1CE4-F522-3BAC1C66DB9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reeform 61">
                  <a:extLst>
                    <a:ext uri="{FF2B5EF4-FFF2-40B4-BE49-F238E27FC236}">
                      <a16:creationId xmlns:a16="http://schemas.microsoft.com/office/drawing/2014/main" id="{65B2EA8A-37E5-A1C8-4B7B-D82FCFDFE0A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 62">
                  <a:extLst>
                    <a:ext uri="{FF2B5EF4-FFF2-40B4-BE49-F238E27FC236}">
                      <a16:creationId xmlns:a16="http://schemas.microsoft.com/office/drawing/2014/main" id="{AFB6DDFE-F955-AB43-EABE-6B13E396FE0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Rectangle 63">
                  <a:extLst>
                    <a:ext uri="{FF2B5EF4-FFF2-40B4-BE49-F238E27FC236}">
                      <a16:creationId xmlns:a16="http://schemas.microsoft.com/office/drawing/2014/main" id="{2C2454E8-E661-A122-149B-0E9B0D5386F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Rectangle 64">
                  <a:extLst>
                    <a:ext uri="{FF2B5EF4-FFF2-40B4-BE49-F238E27FC236}">
                      <a16:creationId xmlns:a16="http://schemas.microsoft.com/office/drawing/2014/main" id="{921CAC25-F017-5B00-362B-986E385E51A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Rectangle 65">
                  <a:extLst>
                    <a:ext uri="{FF2B5EF4-FFF2-40B4-BE49-F238E27FC236}">
                      <a16:creationId xmlns:a16="http://schemas.microsoft.com/office/drawing/2014/main" id="{67B0AD9E-1172-2C22-C34A-26313E543AA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Rectangle 66">
                  <a:extLst>
                    <a:ext uri="{FF2B5EF4-FFF2-40B4-BE49-F238E27FC236}">
                      <a16:creationId xmlns:a16="http://schemas.microsoft.com/office/drawing/2014/main" id="{B72BECE7-097E-7895-CA60-04DDED24340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4" name="Rectangle 67">
                  <a:extLst>
                    <a:ext uri="{FF2B5EF4-FFF2-40B4-BE49-F238E27FC236}">
                      <a16:creationId xmlns:a16="http://schemas.microsoft.com/office/drawing/2014/main" id="{0859BF90-4DDB-2D76-B499-8CB110A139B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Rectangle 68">
                  <a:extLst>
                    <a:ext uri="{FF2B5EF4-FFF2-40B4-BE49-F238E27FC236}">
                      <a16:creationId xmlns:a16="http://schemas.microsoft.com/office/drawing/2014/main" id="{620433B2-95C6-E75A-865F-EF3FE1CD882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Rectangle 69">
                  <a:extLst>
                    <a:ext uri="{FF2B5EF4-FFF2-40B4-BE49-F238E27FC236}">
                      <a16:creationId xmlns:a16="http://schemas.microsoft.com/office/drawing/2014/main" id="{98D4A819-C9AB-FF04-D070-D1F7AF41C34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Rectangle 70">
                  <a:extLst>
                    <a:ext uri="{FF2B5EF4-FFF2-40B4-BE49-F238E27FC236}">
                      <a16:creationId xmlns:a16="http://schemas.microsoft.com/office/drawing/2014/main" id="{D0D10C51-AE25-9E60-A65C-D37ADB85130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Rectangle 71">
                  <a:extLst>
                    <a:ext uri="{FF2B5EF4-FFF2-40B4-BE49-F238E27FC236}">
                      <a16:creationId xmlns:a16="http://schemas.microsoft.com/office/drawing/2014/main" id="{87F346C6-5B92-8E79-4DE6-E098940314D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Rectangle 72">
                  <a:extLst>
                    <a:ext uri="{FF2B5EF4-FFF2-40B4-BE49-F238E27FC236}">
                      <a16:creationId xmlns:a16="http://schemas.microsoft.com/office/drawing/2014/main" id="{C9C23C14-8E76-AA74-FFB1-04139D325ED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Rectangle 73">
                  <a:extLst>
                    <a:ext uri="{FF2B5EF4-FFF2-40B4-BE49-F238E27FC236}">
                      <a16:creationId xmlns:a16="http://schemas.microsoft.com/office/drawing/2014/main" id="{7946A07F-D2FD-5935-4E99-7F8D415BB09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Rectangle 74">
                  <a:extLst>
                    <a:ext uri="{FF2B5EF4-FFF2-40B4-BE49-F238E27FC236}">
                      <a16:creationId xmlns:a16="http://schemas.microsoft.com/office/drawing/2014/main" id="{51E1827D-A5D2-51E3-8773-913C8000CD6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Rectangle 75">
                  <a:extLst>
                    <a:ext uri="{FF2B5EF4-FFF2-40B4-BE49-F238E27FC236}">
                      <a16:creationId xmlns:a16="http://schemas.microsoft.com/office/drawing/2014/main" id="{862FD545-072B-6FB5-43CF-896B8D8FBF8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Rectangle 76">
                  <a:extLst>
                    <a:ext uri="{FF2B5EF4-FFF2-40B4-BE49-F238E27FC236}">
                      <a16:creationId xmlns:a16="http://schemas.microsoft.com/office/drawing/2014/main" id="{F3D3FC80-0F28-0F57-DB8E-FC50A35CFED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Rectangle 77">
                  <a:extLst>
                    <a:ext uri="{FF2B5EF4-FFF2-40B4-BE49-F238E27FC236}">
                      <a16:creationId xmlns:a16="http://schemas.microsoft.com/office/drawing/2014/main" id="{AC602700-2882-840B-56FB-9185527D634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Rectangle 78">
                  <a:extLst>
                    <a:ext uri="{FF2B5EF4-FFF2-40B4-BE49-F238E27FC236}">
                      <a16:creationId xmlns:a16="http://schemas.microsoft.com/office/drawing/2014/main" id="{519F63FB-7AE4-0942-DD28-0450D67D40C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Rectangle 79">
                  <a:extLst>
                    <a:ext uri="{FF2B5EF4-FFF2-40B4-BE49-F238E27FC236}">
                      <a16:creationId xmlns:a16="http://schemas.microsoft.com/office/drawing/2014/main" id="{F7993C7D-F92F-6824-F3DC-737973D1FAE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Rectangle 80">
                  <a:extLst>
                    <a:ext uri="{FF2B5EF4-FFF2-40B4-BE49-F238E27FC236}">
                      <a16:creationId xmlns:a16="http://schemas.microsoft.com/office/drawing/2014/main" id="{DF047929-EF8E-DB8D-8D80-5E00CC233B9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Rectangle 81">
                  <a:extLst>
                    <a:ext uri="{FF2B5EF4-FFF2-40B4-BE49-F238E27FC236}">
                      <a16:creationId xmlns:a16="http://schemas.microsoft.com/office/drawing/2014/main" id="{0662028C-F389-58DA-31E2-E2A5E0AE6FD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Rectangle 82">
                  <a:extLst>
                    <a:ext uri="{FF2B5EF4-FFF2-40B4-BE49-F238E27FC236}">
                      <a16:creationId xmlns:a16="http://schemas.microsoft.com/office/drawing/2014/main" id="{7A58B084-5EAF-2703-655F-C35B7544543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Rectangle 83">
                  <a:extLst>
                    <a:ext uri="{FF2B5EF4-FFF2-40B4-BE49-F238E27FC236}">
                      <a16:creationId xmlns:a16="http://schemas.microsoft.com/office/drawing/2014/main" id="{E71B9E3E-2037-C7F2-DF46-6A7E4E71E9C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Rectangle 84">
                  <a:extLst>
                    <a:ext uri="{FF2B5EF4-FFF2-40B4-BE49-F238E27FC236}">
                      <a16:creationId xmlns:a16="http://schemas.microsoft.com/office/drawing/2014/main" id="{253E252D-7EAE-59DB-79DF-A50579FE02A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Rectangle 85">
                  <a:extLst>
                    <a:ext uri="{FF2B5EF4-FFF2-40B4-BE49-F238E27FC236}">
                      <a16:creationId xmlns:a16="http://schemas.microsoft.com/office/drawing/2014/main" id="{AC51C98B-CD08-2895-944D-10A8D45C53C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Rectangle 86">
                  <a:extLst>
                    <a:ext uri="{FF2B5EF4-FFF2-40B4-BE49-F238E27FC236}">
                      <a16:creationId xmlns:a16="http://schemas.microsoft.com/office/drawing/2014/main" id="{1760FF79-1CE9-927C-005B-0BCE6452D60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Rectangle 87">
                  <a:extLst>
                    <a:ext uri="{FF2B5EF4-FFF2-40B4-BE49-F238E27FC236}">
                      <a16:creationId xmlns:a16="http://schemas.microsoft.com/office/drawing/2014/main" id="{5B703714-F060-EAF5-F154-8393956BB4E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Rectangle 88">
                  <a:extLst>
                    <a:ext uri="{FF2B5EF4-FFF2-40B4-BE49-F238E27FC236}">
                      <a16:creationId xmlns:a16="http://schemas.microsoft.com/office/drawing/2014/main" id="{B9944D82-7A1B-A85D-4C79-1CD31A5EBCA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 89">
                  <a:extLst>
                    <a:ext uri="{FF2B5EF4-FFF2-40B4-BE49-F238E27FC236}">
                      <a16:creationId xmlns:a16="http://schemas.microsoft.com/office/drawing/2014/main" id="{475A7A84-B420-F1FD-669F-09DD200F582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Freeform 90">
                  <a:extLst>
                    <a:ext uri="{FF2B5EF4-FFF2-40B4-BE49-F238E27FC236}">
                      <a16:creationId xmlns:a16="http://schemas.microsoft.com/office/drawing/2014/main" id="{D77F633E-5F7B-AC4B-7645-E19345C08D5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Freeform 91">
                  <a:extLst>
                    <a:ext uri="{FF2B5EF4-FFF2-40B4-BE49-F238E27FC236}">
                      <a16:creationId xmlns:a16="http://schemas.microsoft.com/office/drawing/2014/main" id="{3CB8B0AB-7CFE-95EB-3D10-5BC340BD745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951413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Rectangle 92">
                  <a:extLst>
                    <a:ext uri="{FF2B5EF4-FFF2-40B4-BE49-F238E27FC236}">
                      <a16:creationId xmlns:a16="http://schemas.microsoft.com/office/drawing/2014/main" id="{B957164E-AD05-B78A-61A6-204E8CCBD08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Rectangle 93">
                  <a:extLst>
                    <a:ext uri="{FF2B5EF4-FFF2-40B4-BE49-F238E27FC236}">
                      <a16:creationId xmlns:a16="http://schemas.microsoft.com/office/drawing/2014/main" id="{FD25B6BB-CFB2-52A3-2F77-33E6F70371B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Rectangle 94">
                  <a:extLst>
                    <a:ext uri="{FF2B5EF4-FFF2-40B4-BE49-F238E27FC236}">
                      <a16:creationId xmlns:a16="http://schemas.microsoft.com/office/drawing/2014/main" id="{30B58955-2941-669A-E9E0-8DE60934F88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Rectangle 95">
                  <a:extLst>
                    <a:ext uri="{FF2B5EF4-FFF2-40B4-BE49-F238E27FC236}">
                      <a16:creationId xmlns:a16="http://schemas.microsoft.com/office/drawing/2014/main" id="{CCEE1AD1-4D29-0290-08C1-6D740885F54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3" name="Freeform 96">
                  <a:extLst>
                    <a:ext uri="{FF2B5EF4-FFF2-40B4-BE49-F238E27FC236}">
                      <a16:creationId xmlns:a16="http://schemas.microsoft.com/office/drawing/2014/main" id="{6632EF4C-27B6-7125-565B-C8220E1C7AD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Freeform 97">
                  <a:extLst>
                    <a:ext uri="{FF2B5EF4-FFF2-40B4-BE49-F238E27FC236}">
                      <a16:creationId xmlns:a16="http://schemas.microsoft.com/office/drawing/2014/main" id="{3E8854FD-BF4B-76A1-6D62-38502EE242A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Rectangle 98">
                  <a:extLst>
                    <a:ext uri="{FF2B5EF4-FFF2-40B4-BE49-F238E27FC236}">
                      <a16:creationId xmlns:a16="http://schemas.microsoft.com/office/drawing/2014/main" id="{FD6F4B3A-E7DD-AAD7-DBAC-B41366DB3C0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Rectangle 99">
                  <a:extLst>
                    <a:ext uri="{FF2B5EF4-FFF2-40B4-BE49-F238E27FC236}">
                      <a16:creationId xmlns:a16="http://schemas.microsoft.com/office/drawing/2014/main" id="{920490C9-E50B-039E-B18C-A2602608CCE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eform 100">
                  <a:extLst>
                    <a:ext uri="{FF2B5EF4-FFF2-40B4-BE49-F238E27FC236}">
                      <a16:creationId xmlns:a16="http://schemas.microsoft.com/office/drawing/2014/main" id="{6CD30881-425E-3686-84A5-53A51FB4861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 101">
                  <a:extLst>
                    <a:ext uri="{FF2B5EF4-FFF2-40B4-BE49-F238E27FC236}">
                      <a16:creationId xmlns:a16="http://schemas.microsoft.com/office/drawing/2014/main" id="{6F721CE1-B14B-3DA0-6FC8-7C563194B7E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 102">
                  <a:extLst>
                    <a:ext uri="{FF2B5EF4-FFF2-40B4-BE49-F238E27FC236}">
                      <a16:creationId xmlns:a16="http://schemas.microsoft.com/office/drawing/2014/main" id="{CA33DEAD-D971-E29F-2451-EC24874C5A9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Freeform 103">
                  <a:extLst>
                    <a:ext uri="{FF2B5EF4-FFF2-40B4-BE49-F238E27FC236}">
                      <a16:creationId xmlns:a16="http://schemas.microsoft.com/office/drawing/2014/main" id="{6CA0CF63-6B36-128C-304D-AD7FE0356D0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Rectangle 104">
                  <a:extLst>
                    <a:ext uri="{FF2B5EF4-FFF2-40B4-BE49-F238E27FC236}">
                      <a16:creationId xmlns:a16="http://schemas.microsoft.com/office/drawing/2014/main" id="{CAABF497-7D16-DB88-4607-B13E44D64CE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Rectangle 105">
                  <a:extLst>
                    <a:ext uri="{FF2B5EF4-FFF2-40B4-BE49-F238E27FC236}">
                      <a16:creationId xmlns:a16="http://schemas.microsoft.com/office/drawing/2014/main" id="{C1787B71-0552-B85F-CA50-0716821C1F1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Rectangle 106">
                  <a:extLst>
                    <a:ext uri="{FF2B5EF4-FFF2-40B4-BE49-F238E27FC236}">
                      <a16:creationId xmlns:a16="http://schemas.microsoft.com/office/drawing/2014/main" id="{E4489365-71EB-A17F-5E61-9CB413A593A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Rectangle 107">
                  <a:extLst>
                    <a:ext uri="{FF2B5EF4-FFF2-40B4-BE49-F238E27FC236}">
                      <a16:creationId xmlns:a16="http://schemas.microsoft.com/office/drawing/2014/main" id="{D87E50C4-141A-878D-3850-0AEF8270227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Rectangle 108">
                  <a:extLst>
                    <a:ext uri="{FF2B5EF4-FFF2-40B4-BE49-F238E27FC236}">
                      <a16:creationId xmlns:a16="http://schemas.microsoft.com/office/drawing/2014/main" id="{72299804-85B5-48D9-459B-292E490BB5F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Rectangle 109">
                  <a:extLst>
                    <a:ext uri="{FF2B5EF4-FFF2-40B4-BE49-F238E27FC236}">
                      <a16:creationId xmlns:a16="http://schemas.microsoft.com/office/drawing/2014/main" id="{360DB43C-3A71-8B9C-5E6A-0DD2CDD5322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reeform 110">
                  <a:extLst>
                    <a:ext uri="{FF2B5EF4-FFF2-40B4-BE49-F238E27FC236}">
                      <a16:creationId xmlns:a16="http://schemas.microsoft.com/office/drawing/2014/main" id="{649C6138-6EF8-7854-E647-9C206E7ECBB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 111">
                  <a:extLst>
                    <a:ext uri="{FF2B5EF4-FFF2-40B4-BE49-F238E27FC236}">
                      <a16:creationId xmlns:a16="http://schemas.microsoft.com/office/drawing/2014/main" id="{CCD1F04F-DC7E-992C-02F7-E4D1D027A81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Rectangle 112">
                  <a:extLst>
                    <a:ext uri="{FF2B5EF4-FFF2-40B4-BE49-F238E27FC236}">
                      <a16:creationId xmlns:a16="http://schemas.microsoft.com/office/drawing/2014/main" id="{671AB725-F4F8-6D7A-D1E4-48A251634FB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Rectangle 113">
                  <a:extLst>
                    <a:ext uri="{FF2B5EF4-FFF2-40B4-BE49-F238E27FC236}">
                      <a16:creationId xmlns:a16="http://schemas.microsoft.com/office/drawing/2014/main" id="{80B2D0A6-51A4-3C6D-1743-B5278FA4B7F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Rectangle 114">
                  <a:extLst>
                    <a:ext uri="{FF2B5EF4-FFF2-40B4-BE49-F238E27FC236}">
                      <a16:creationId xmlns:a16="http://schemas.microsoft.com/office/drawing/2014/main" id="{7667DC2E-64DA-8C1C-7752-DE7B5311E13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Rectangle 115">
                  <a:extLst>
                    <a:ext uri="{FF2B5EF4-FFF2-40B4-BE49-F238E27FC236}">
                      <a16:creationId xmlns:a16="http://schemas.microsoft.com/office/drawing/2014/main" id="{D5E4FD91-D7E1-DFB4-9922-655F280AC33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 116">
                  <a:extLst>
                    <a:ext uri="{FF2B5EF4-FFF2-40B4-BE49-F238E27FC236}">
                      <a16:creationId xmlns:a16="http://schemas.microsoft.com/office/drawing/2014/main" id="{762BF8A8-0454-C278-3B2D-9ABA1654AEE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 117">
                  <a:extLst>
                    <a:ext uri="{FF2B5EF4-FFF2-40B4-BE49-F238E27FC236}">
                      <a16:creationId xmlns:a16="http://schemas.microsoft.com/office/drawing/2014/main" id="{925F9812-DFD9-6EFC-EEEC-CCCFA79337C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Rectangle 118">
                  <a:extLst>
                    <a:ext uri="{FF2B5EF4-FFF2-40B4-BE49-F238E27FC236}">
                      <a16:creationId xmlns:a16="http://schemas.microsoft.com/office/drawing/2014/main" id="{E5974415-9F64-E1C7-750E-DEBDC3D3814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Rectangle 119">
                  <a:extLst>
                    <a:ext uri="{FF2B5EF4-FFF2-40B4-BE49-F238E27FC236}">
                      <a16:creationId xmlns:a16="http://schemas.microsoft.com/office/drawing/2014/main" id="{1BD61EB4-60AE-E04E-0087-461B85DBCF1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Rectangle 120">
                  <a:extLst>
                    <a:ext uri="{FF2B5EF4-FFF2-40B4-BE49-F238E27FC236}">
                      <a16:creationId xmlns:a16="http://schemas.microsoft.com/office/drawing/2014/main" id="{399B761C-786A-5A76-3ADA-F5A4979FBB5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Rectangle 121">
                  <a:extLst>
                    <a:ext uri="{FF2B5EF4-FFF2-40B4-BE49-F238E27FC236}">
                      <a16:creationId xmlns:a16="http://schemas.microsoft.com/office/drawing/2014/main" id="{C26D8400-3B13-10F0-4BB0-2B7FE474AA5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Rectangle 122">
                  <a:extLst>
                    <a:ext uri="{FF2B5EF4-FFF2-40B4-BE49-F238E27FC236}">
                      <a16:creationId xmlns:a16="http://schemas.microsoft.com/office/drawing/2014/main" id="{5276C6D7-F70A-E8A7-7EF4-E91A9A729D3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Rectangle 123">
                  <a:extLst>
                    <a:ext uri="{FF2B5EF4-FFF2-40B4-BE49-F238E27FC236}">
                      <a16:creationId xmlns:a16="http://schemas.microsoft.com/office/drawing/2014/main" id="{C16B1038-7674-DDD9-6E93-C56D8AD81A0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 124">
                  <a:extLst>
                    <a:ext uri="{FF2B5EF4-FFF2-40B4-BE49-F238E27FC236}">
                      <a16:creationId xmlns:a16="http://schemas.microsoft.com/office/drawing/2014/main" id="{4AD40396-E6B6-C1D8-B098-2B88139D1DA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Freeform 125">
                  <a:extLst>
                    <a:ext uri="{FF2B5EF4-FFF2-40B4-BE49-F238E27FC236}">
                      <a16:creationId xmlns:a16="http://schemas.microsoft.com/office/drawing/2014/main" id="{11F2FE5B-727C-B952-00D7-1E24B606545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Rectangle 126">
                  <a:extLst>
                    <a:ext uri="{FF2B5EF4-FFF2-40B4-BE49-F238E27FC236}">
                      <a16:creationId xmlns:a16="http://schemas.microsoft.com/office/drawing/2014/main" id="{B1C1FC49-E576-4FD5-995A-0A299D1D811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Rectangle 127">
                  <a:extLst>
                    <a:ext uri="{FF2B5EF4-FFF2-40B4-BE49-F238E27FC236}">
                      <a16:creationId xmlns:a16="http://schemas.microsoft.com/office/drawing/2014/main" id="{C500D7B5-C122-760D-B95E-15D4355DEA5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Rectangle 128">
                  <a:extLst>
                    <a:ext uri="{FF2B5EF4-FFF2-40B4-BE49-F238E27FC236}">
                      <a16:creationId xmlns:a16="http://schemas.microsoft.com/office/drawing/2014/main" id="{ADA1931E-FC87-A8BB-E6CB-4C95A9F003A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Rectangle 129">
                  <a:extLst>
                    <a:ext uri="{FF2B5EF4-FFF2-40B4-BE49-F238E27FC236}">
                      <a16:creationId xmlns:a16="http://schemas.microsoft.com/office/drawing/2014/main" id="{C3931DAA-9CC5-2FAF-1C3E-6A40220B9FF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 130">
                  <a:extLst>
                    <a:ext uri="{FF2B5EF4-FFF2-40B4-BE49-F238E27FC236}">
                      <a16:creationId xmlns:a16="http://schemas.microsoft.com/office/drawing/2014/main" id="{110822E9-BFF5-B575-61F2-35927DE0753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Freeform 131">
                  <a:extLst>
                    <a:ext uri="{FF2B5EF4-FFF2-40B4-BE49-F238E27FC236}">
                      <a16:creationId xmlns:a16="http://schemas.microsoft.com/office/drawing/2014/main" id="{B7F19B8B-8DAE-B3AA-C7D3-12E7A13B1B6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 132">
                  <a:extLst>
                    <a:ext uri="{FF2B5EF4-FFF2-40B4-BE49-F238E27FC236}">
                      <a16:creationId xmlns:a16="http://schemas.microsoft.com/office/drawing/2014/main" id="{4239F0B3-0A4E-8AAF-8629-B813D82CF6F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40288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Rectangle 133">
                  <a:extLst>
                    <a:ext uri="{FF2B5EF4-FFF2-40B4-BE49-F238E27FC236}">
                      <a16:creationId xmlns:a16="http://schemas.microsoft.com/office/drawing/2014/main" id="{4EF6EBC2-3891-4190-911D-EB32AB17D96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Rectangle 134">
                  <a:extLst>
                    <a:ext uri="{FF2B5EF4-FFF2-40B4-BE49-F238E27FC236}">
                      <a16:creationId xmlns:a16="http://schemas.microsoft.com/office/drawing/2014/main" id="{C1E7FBB6-5799-CFFA-1CF8-8D58C25553F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Rectangle 135">
                  <a:extLst>
                    <a:ext uri="{FF2B5EF4-FFF2-40B4-BE49-F238E27FC236}">
                      <a16:creationId xmlns:a16="http://schemas.microsoft.com/office/drawing/2014/main" id="{39AE4562-CDDD-DF8E-83D3-36CC1DB1674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Rectangle 136">
                  <a:extLst>
                    <a:ext uri="{FF2B5EF4-FFF2-40B4-BE49-F238E27FC236}">
                      <a16:creationId xmlns:a16="http://schemas.microsoft.com/office/drawing/2014/main" id="{DF94512E-E3E5-E174-0414-6A4285EA86A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Rectangle 137">
                  <a:extLst>
                    <a:ext uri="{FF2B5EF4-FFF2-40B4-BE49-F238E27FC236}">
                      <a16:creationId xmlns:a16="http://schemas.microsoft.com/office/drawing/2014/main" id="{FB42B4F5-146D-B35F-0179-4F7AFD94CAE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Rectangle 138">
                  <a:extLst>
                    <a:ext uri="{FF2B5EF4-FFF2-40B4-BE49-F238E27FC236}">
                      <a16:creationId xmlns:a16="http://schemas.microsoft.com/office/drawing/2014/main" id="{E97D4FF4-8587-F449-5417-3651D328E1B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Rectangle 139">
                  <a:extLst>
                    <a:ext uri="{FF2B5EF4-FFF2-40B4-BE49-F238E27FC236}">
                      <a16:creationId xmlns:a16="http://schemas.microsoft.com/office/drawing/2014/main" id="{2962A2DB-4A98-E704-5F9A-FB31EE940E8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Rectangle 140">
                  <a:extLst>
                    <a:ext uri="{FF2B5EF4-FFF2-40B4-BE49-F238E27FC236}">
                      <a16:creationId xmlns:a16="http://schemas.microsoft.com/office/drawing/2014/main" id="{37AECE8F-617B-9824-784D-082014C9BA8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Rectangle 141">
                  <a:extLst>
                    <a:ext uri="{FF2B5EF4-FFF2-40B4-BE49-F238E27FC236}">
                      <a16:creationId xmlns:a16="http://schemas.microsoft.com/office/drawing/2014/main" id="{A9267BF2-68A3-7B88-58D3-6183DC95761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Rectangle 142">
                  <a:extLst>
                    <a:ext uri="{FF2B5EF4-FFF2-40B4-BE49-F238E27FC236}">
                      <a16:creationId xmlns:a16="http://schemas.microsoft.com/office/drawing/2014/main" id="{4B739972-A7C8-81FA-73A5-E1D146E6D0E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Freeform 143">
                  <a:extLst>
                    <a:ext uri="{FF2B5EF4-FFF2-40B4-BE49-F238E27FC236}">
                      <a16:creationId xmlns:a16="http://schemas.microsoft.com/office/drawing/2014/main" id="{DD1CF5AC-2682-0370-3907-D58D22B854B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Freeform 144">
                  <a:extLst>
                    <a:ext uri="{FF2B5EF4-FFF2-40B4-BE49-F238E27FC236}">
                      <a16:creationId xmlns:a16="http://schemas.microsoft.com/office/drawing/2014/main" id="{B9011766-716E-5737-67B7-B60ACB3EBFC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Rectangle 145">
                  <a:extLst>
                    <a:ext uri="{FF2B5EF4-FFF2-40B4-BE49-F238E27FC236}">
                      <a16:creationId xmlns:a16="http://schemas.microsoft.com/office/drawing/2014/main" id="{90D91B19-9868-39A6-5214-DF1F195D224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Rectangle 146">
                  <a:extLst>
                    <a:ext uri="{FF2B5EF4-FFF2-40B4-BE49-F238E27FC236}">
                      <a16:creationId xmlns:a16="http://schemas.microsoft.com/office/drawing/2014/main" id="{C8D80D1E-AF76-ABC0-F088-B7BF3A3A5C7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4" name="Freeform 147">
                  <a:extLst>
                    <a:ext uri="{FF2B5EF4-FFF2-40B4-BE49-F238E27FC236}">
                      <a16:creationId xmlns:a16="http://schemas.microsoft.com/office/drawing/2014/main" id="{BDD7323D-0D04-CF79-CDAE-73020559C84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Freeform 148">
                  <a:extLst>
                    <a:ext uri="{FF2B5EF4-FFF2-40B4-BE49-F238E27FC236}">
                      <a16:creationId xmlns:a16="http://schemas.microsoft.com/office/drawing/2014/main" id="{D9BFFDB9-C482-9B72-577E-63F3D43435E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Freeform 149">
                  <a:extLst>
                    <a:ext uri="{FF2B5EF4-FFF2-40B4-BE49-F238E27FC236}">
                      <a16:creationId xmlns:a16="http://schemas.microsoft.com/office/drawing/2014/main" id="{5A07074D-A6EA-36F5-63D1-034EEDE3BEB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Freeform 150">
                  <a:extLst>
                    <a:ext uri="{FF2B5EF4-FFF2-40B4-BE49-F238E27FC236}">
                      <a16:creationId xmlns:a16="http://schemas.microsoft.com/office/drawing/2014/main" id="{8ED0A196-2EF5-9DA4-8ABF-8AB96BC2176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Rectangle 151">
                  <a:extLst>
                    <a:ext uri="{FF2B5EF4-FFF2-40B4-BE49-F238E27FC236}">
                      <a16:creationId xmlns:a16="http://schemas.microsoft.com/office/drawing/2014/main" id="{EE601C56-FB3E-81BF-5C17-025E009D14C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Rectangle 152">
                  <a:extLst>
                    <a:ext uri="{FF2B5EF4-FFF2-40B4-BE49-F238E27FC236}">
                      <a16:creationId xmlns:a16="http://schemas.microsoft.com/office/drawing/2014/main" id="{41FEDA87-4CC2-AEB1-212F-77C1456742A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Rectangle 153">
                  <a:extLst>
                    <a:ext uri="{FF2B5EF4-FFF2-40B4-BE49-F238E27FC236}">
                      <a16:creationId xmlns:a16="http://schemas.microsoft.com/office/drawing/2014/main" id="{27D3592B-5C23-E6B6-5888-04F251C9344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Rectangle 154">
                  <a:extLst>
                    <a:ext uri="{FF2B5EF4-FFF2-40B4-BE49-F238E27FC236}">
                      <a16:creationId xmlns:a16="http://schemas.microsoft.com/office/drawing/2014/main" id="{A9DF5654-333F-FEE6-3AF5-12EE93357F1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Rectangle 155">
                  <a:extLst>
                    <a:ext uri="{FF2B5EF4-FFF2-40B4-BE49-F238E27FC236}">
                      <a16:creationId xmlns:a16="http://schemas.microsoft.com/office/drawing/2014/main" id="{4BD6F71C-8033-253D-D333-6A7A4513C19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Rectangle 156">
                  <a:extLst>
                    <a:ext uri="{FF2B5EF4-FFF2-40B4-BE49-F238E27FC236}">
                      <a16:creationId xmlns:a16="http://schemas.microsoft.com/office/drawing/2014/main" id="{D5BC7C2F-B755-09C9-8A6C-C03F4F1AB46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Freeform 157">
                  <a:extLst>
                    <a:ext uri="{FF2B5EF4-FFF2-40B4-BE49-F238E27FC236}">
                      <a16:creationId xmlns:a16="http://schemas.microsoft.com/office/drawing/2014/main" id="{53FC7693-9286-5A71-4474-DEE1DE01AA6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Freeform 158">
                  <a:extLst>
                    <a:ext uri="{FF2B5EF4-FFF2-40B4-BE49-F238E27FC236}">
                      <a16:creationId xmlns:a16="http://schemas.microsoft.com/office/drawing/2014/main" id="{CE551DE6-2DAE-ED40-6091-E8663784CEB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6" name="Rectangle 159">
                  <a:extLst>
                    <a:ext uri="{FF2B5EF4-FFF2-40B4-BE49-F238E27FC236}">
                      <a16:creationId xmlns:a16="http://schemas.microsoft.com/office/drawing/2014/main" id="{3849745E-4758-799C-726B-893C2C2E9D6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7" name="Rectangle 160">
                  <a:extLst>
                    <a:ext uri="{FF2B5EF4-FFF2-40B4-BE49-F238E27FC236}">
                      <a16:creationId xmlns:a16="http://schemas.microsoft.com/office/drawing/2014/main" id="{9A3BE0F7-C126-E5CC-1936-6A7F9C15398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Rectangle 161">
                  <a:extLst>
                    <a:ext uri="{FF2B5EF4-FFF2-40B4-BE49-F238E27FC236}">
                      <a16:creationId xmlns:a16="http://schemas.microsoft.com/office/drawing/2014/main" id="{6B9ED372-81E4-A3DB-A7DF-66632C0BDAC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Rectangle 162">
                  <a:extLst>
                    <a:ext uri="{FF2B5EF4-FFF2-40B4-BE49-F238E27FC236}">
                      <a16:creationId xmlns:a16="http://schemas.microsoft.com/office/drawing/2014/main" id="{2B9BA00F-D554-2F3C-0936-9DEF6F9DBEB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Rectangle 163">
                  <a:extLst>
                    <a:ext uri="{FF2B5EF4-FFF2-40B4-BE49-F238E27FC236}">
                      <a16:creationId xmlns:a16="http://schemas.microsoft.com/office/drawing/2014/main" id="{4B94A682-9AB1-6C0D-56AA-3520A3184DC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Rectangle 164">
                  <a:extLst>
                    <a:ext uri="{FF2B5EF4-FFF2-40B4-BE49-F238E27FC236}">
                      <a16:creationId xmlns:a16="http://schemas.microsoft.com/office/drawing/2014/main" id="{10DF3B10-A93C-9839-D56C-0EB762D7408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Rectangle 165">
                  <a:extLst>
                    <a:ext uri="{FF2B5EF4-FFF2-40B4-BE49-F238E27FC236}">
                      <a16:creationId xmlns:a16="http://schemas.microsoft.com/office/drawing/2014/main" id="{FFC39E9C-1B0D-9A78-F1EB-4616A5B541A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Rectangle 166">
                  <a:extLst>
                    <a:ext uri="{FF2B5EF4-FFF2-40B4-BE49-F238E27FC236}">
                      <a16:creationId xmlns:a16="http://schemas.microsoft.com/office/drawing/2014/main" id="{67DA86A8-5709-3974-72F8-AFF4365C354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Rectangle 167">
                  <a:extLst>
                    <a:ext uri="{FF2B5EF4-FFF2-40B4-BE49-F238E27FC236}">
                      <a16:creationId xmlns:a16="http://schemas.microsoft.com/office/drawing/2014/main" id="{E67D5E82-E7FD-8895-C0A1-44C067997DA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Rectangle 168">
                  <a:extLst>
                    <a:ext uri="{FF2B5EF4-FFF2-40B4-BE49-F238E27FC236}">
                      <a16:creationId xmlns:a16="http://schemas.microsoft.com/office/drawing/2014/main" id="{08BD27B7-D9A5-619A-4FB7-65003C873BA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Rectangle 169">
                  <a:extLst>
                    <a:ext uri="{FF2B5EF4-FFF2-40B4-BE49-F238E27FC236}">
                      <a16:creationId xmlns:a16="http://schemas.microsoft.com/office/drawing/2014/main" id="{E066EF5D-D66D-8F9D-FB93-1018F0B8900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7" name="Rectangle 170">
                  <a:extLst>
                    <a:ext uri="{FF2B5EF4-FFF2-40B4-BE49-F238E27FC236}">
                      <a16:creationId xmlns:a16="http://schemas.microsoft.com/office/drawing/2014/main" id="{B8BC73B3-02DA-A19E-480F-244515086DE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8" name="Freeform 171">
                  <a:extLst>
                    <a:ext uri="{FF2B5EF4-FFF2-40B4-BE49-F238E27FC236}">
                      <a16:creationId xmlns:a16="http://schemas.microsoft.com/office/drawing/2014/main" id="{21A1D9B5-933F-2C55-70F6-8F66185A961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9" name="Freeform 172">
                  <a:extLst>
                    <a:ext uri="{FF2B5EF4-FFF2-40B4-BE49-F238E27FC236}">
                      <a16:creationId xmlns:a16="http://schemas.microsoft.com/office/drawing/2014/main" id="{B4204933-B8FB-5F62-0B04-BCDF194B28A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Rectangle 173">
                  <a:extLst>
                    <a:ext uri="{FF2B5EF4-FFF2-40B4-BE49-F238E27FC236}">
                      <a16:creationId xmlns:a16="http://schemas.microsoft.com/office/drawing/2014/main" id="{9AF8450D-ACC2-4C60-33BE-4FF6F6B4AD8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19563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Rectangle 174">
                  <a:extLst>
                    <a:ext uri="{FF2B5EF4-FFF2-40B4-BE49-F238E27FC236}">
                      <a16:creationId xmlns:a16="http://schemas.microsoft.com/office/drawing/2014/main" id="{89DB2AB4-1521-DDD0-2716-6F5B25B4A64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1938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 175">
                  <a:extLst>
                    <a:ext uri="{FF2B5EF4-FFF2-40B4-BE49-F238E27FC236}">
                      <a16:creationId xmlns:a16="http://schemas.microsoft.com/office/drawing/2014/main" id="{E4E9E6F9-6297-F7A5-6979-356F239ABF9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022725" y="4899026"/>
                  <a:ext cx="20638" cy="17463"/>
                </a:xfrm>
                <a:custGeom>
                  <a:avLst/>
                  <a:gdLst>
                    <a:gd name="T0" fmla="*/ 1 w 13"/>
                    <a:gd name="T1" fmla="*/ 11 h 11"/>
                    <a:gd name="T2" fmla="*/ 13 w 13"/>
                    <a:gd name="T3" fmla="*/ 11 h 11"/>
                    <a:gd name="T4" fmla="*/ 13 w 13"/>
                    <a:gd name="T5" fmla="*/ 0 h 11"/>
                    <a:gd name="T6" fmla="*/ 0 w 13"/>
                    <a:gd name="T7" fmla="*/ 0 h 11"/>
                    <a:gd name="T8" fmla="*/ 1 w 13"/>
                    <a:gd name="T9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1">
                      <a:moveTo>
                        <a:pt x="1" y="11"/>
                      </a:moveTo>
                      <a:lnTo>
                        <a:pt x="13" y="11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1" y="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8" name="Group 6">
              <a:extLst>
                <a:ext uri="{FF2B5EF4-FFF2-40B4-BE49-F238E27FC236}">
                  <a16:creationId xmlns:a16="http://schemas.microsoft.com/office/drawing/2014/main" id="{38D68877-F3AD-B5AF-C641-6983EF33B257}"/>
                </a:ext>
              </a:extLst>
            </p:cNvPr>
            <p:cNvGrpSpPr/>
            <p:nvPr/>
          </p:nvGrpSpPr>
          <p:grpSpPr>
            <a:xfrm>
              <a:off x="1868421" y="3874372"/>
              <a:ext cx="2908640" cy="1223224"/>
              <a:chOff x="1868421" y="3874372"/>
              <a:chExt cx="2908640" cy="1223224"/>
            </a:xfrm>
          </p:grpSpPr>
          <p:grpSp>
            <p:nvGrpSpPr>
              <p:cNvPr id="9" name="Group 2">
                <a:extLst>
                  <a:ext uri="{FF2B5EF4-FFF2-40B4-BE49-F238E27FC236}">
                    <a16:creationId xmlns:a16="http://schemas.microsoft.com/office/drawing/2014/main" id="{D50490F9-55C4-9318-CF27-F9DDA6E6FE89}"/>
                  </a:ext>
                </a:extLst>
              </p:cNvPr>
              <p:cNvGrpSpPr/>
              <p:nvPr/>
            </p:nvGrpSpPr>
            <p:grpSpPr>
              <a:xfrm>
                <a:off x="1868421" y="3874372"/>
                <a:ext cx="1112318" cy="1215895"/>
                <a:chOff x="1868421" y="3874372"/>
                <a:chExt cx="1112318" cy="1215895"/>
              </a:xfrm>
            </p:grpSpPr>
            <p:sp>
              <p:nvSpPr>
                <p:cNvPr id="72" name="Freeform 177">
                  <a:extLst>
                    <a:ext uri="{FF2B5EF4-FFF2-40B4-BE49-F238E27FC236}">
                      <a16:creationId xmlns:a16="http://schemas.microsoft.com/office/drawing/2014/main" id="{9581398A-34FF-B39B-2538-EAD0F0DB0D4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163948" y="4817283"/>
                  <a:ext cx="124002" cy="272984"/>
                </a:xfrm>
                <a:custGeom>
                  <a:avLst/>
                  <a:gdLst>
                    <a:gd name="T0" fmla="*/ 20 w 119"/>
                    <a:gd name="T1" fmla="*/ 0 h 262"/>
                    <a:gd name="T2" fmla="*/ 3 w 119"/>
                    <a:gd name="T3" fmla="*/ 0 h 262"/>
                    <a:gd name="T4" fmla="*/ 4 w 119"/>
                    <a:gd name="T5" fmla="*/ 6 h 262"/>
                    <a:gd name="T6" fmla="*/ 22 w 119"/>
                    <a:gd name="T7" fmla="*/ 13 h 262"/>
                    <a:gd name="T8" fmla="*/ 42 w 119"/>
                    <a:gd name="T9" fmla="*/ 23 h 262"/>
                    <a:gd name="T10" fmla="*/ 46 w 119"/>
                    <a:gd name="T11" fmla="*/ 26 h 262"/>
                    <a:gd name="T12" fmla="*/ 35 w 119"/>
                    <a:gd name="T13" fmla="*/ 28 h 262"/>
                    <a:gd name="T14" fmla="*/ 37 w 119"/>
                    <a:gd name="T15" fmla="*/ 262 h 262"/>
                    <a:gd name="T16" fmla="*/ 119 w 119"/>
                    <a:gd name="T17" fmla="*/ 262 h 262"/>
                    <a:gd name="T18" fmla="*/ 69 w 119"/>
                    <a:gd name="T19" fmla="*/ 23 h 262"/>
                    <a:gd name="T20" fmla="*/ 68 w 119"/>
                    <a:gd name="T21" fmla="*/ 23 h 262"/>
                    <a:gd name="T22" fmla="*/ 69 w 119"/>
                    <a:gd name="T23" fmla="*/ 1 h 262"/>
                    <a:gd name="T24" fmla="*/ 49 w 119"/>
                    <a:gd name="T25" fmla="*/ 1 h 262"/>
                    <a:gd name="T26" fmla="*/ 48 w 119"/>
                    <a:gd name="T27" fmla="*/ 9 h 262"/>
                    <a:gd name="T28" fmla="*/ 20 w 119"/>
                    <a:gd name="T29" fmla="*/ 0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9" h="262">
                      <a:moveTo>
                        <a:pt x="20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0" y="5"/>
                        <a:pt x="4" y="6"/>
                      </a:cubicBezTo>
                      <a:cubicBezTo>
                        <a:pt x="6" y="7"/>
                        <a:pt x="22" y="13"/>
                        <a:pt x="22" y="13"/>
                      </a:cubicBezTo>
                      <a:cubicBezTo>
                        <a:pt x="42" y="23"/>
                        <a:pt x="42" y="23"/>
                        <a:pt x="42" y="23"/>
                      </a:cubicBezTo>
                      <a:cubicBezTo>
                        <a:pt x="46" y="26"/>
                        <a:pt x="46" y="26"/>
                        <a:pt x="46" y="26"/>
                      </a:cubicBezTo>
                      <a:cubicBezTo>
                        <a:pt x="35" y="28"/>
                        <a:pt x="35" y="28"/>
                        <a:pt x="35" y="28"/>
                      </a:cubicBezTo>
                      <a:cubicBezTo>
                        <a:pt x="37" y="262"/>
                        <a:pt x="37" y="262"/>
                        <a:pt x="37" y="262"/>
                      </a:cubicBezTo>
                      <a:cubicBezTo>
                        <a:pt x="119" y="262"/>
                        <a:pt x="119" y="262"/>
                        <a:pt x="119" y="262"/>
                      </a:cubicBezTo>
                      <a:cubicBezTo>
                        <a:pt x="105" y="159"/>
                        <a:pt x="69" y="23"/>
                        <a:pt x="69" y="23"/>
                      </a:cubicBezTo>
                      <a:cubicBezTo>
                        <a:pt x="68" y="23"/>
                        <a:pt x="68" y="23"/>
                        <a:pt x="68" y="23"/>
                      </a:cubicBezTo>
                      <a:cubicBezTo>
                        <a:pt x="69" y="1"/>
                        <a:pt x="69" y="1"/>
                        <a:pt x="69" y="1"/>
                      </a:cubicBezTo>
                      <a:cubicBezTo>
                        <a:pt x="49" y="1"/>
                        <a:pt x="49" y="1"/>
                        <a:pt x="49" y="1"/>
                      </a:cubicBezTo>
                      <a:cubicBezTo>
                        <a:pt x="48" y="9"/>
                        <a:pt x="48" y="9"/>
                        <a:pt x="48" y="9"/>
                      </a:cubicBezTo>
                      <a:cubicBezTo>
                        <a:pt x="20" y="0"/>
                        <a:pt x="20" y="0"/>
                        <a:pt x="20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grpSp>
              <p:nvGrpSpPr>
                <p:cNvPr id="73" name="Group 1087">
                  <a:extLst>
                    <a:ext uri="{FF2B5EF4-FFF2-40B4-BE49-F238E27FC236}">
                      <a16:creationId xmlns:a16="http://schemas.microsoft.com/office/drawing/2014/main" id="{35F2F948-9477-15F1-8891-8C24AF822E5F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1868421" y="3874372"/>
                  <a:ext cx="1112318" cy="907889"/>
                  <a:chOff x="10205244" y="514350"/>
                  <a:chExt cx="1429544" cy="1166813"/>
                </a:xfrm>
              </p:grpSpPr>
              <p:sp>
                <p:nvSpPr>
                  <p:cNvPr id="74" name="Freeform 254">
                    <a:extLst>
                      <a:ext uri="{FF2B5EF4-FFF2-40B4-BE49-F238E27FC236}">
                        <a16:creationId xmlns:a16="http://schemas.microsoft.com/office/drawing/2014/main" id="{0DB38219-D9D4-2529-2DD1-800B9A8DB7D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05244" y="950913"/>
                    <a:ext cx="88900" cy="63500"/>
                  </a:xfrm>
                  <a:custGeom>
                    <a:avLst/>
                    <a:gdLst>
                      <a:gd name="T0" fmla="*/ 47 w 48"/>
                      <a:gd name="T1" fmla="*/ 8 h 35"/>
                      <a:gd name="T2" fmla="*/ 47 w 48"/>
                      <a:gd name="T3" fmla="*/ 0 h 35"/>
                      <a:gd name="T4" fmla="*/ 16 w 48"/>
                      <a:gd name="T5" fmla="*/ 3 h 35"/>
                      <a:gd name="T6" fmla="*/ 21 w 48"/>
                      <a:gd name="T7" fmla="*/ 6 h 35"/>
                      <a:gd name="T8" fmla="*/ 29 w 48"/>
                      <a:gd name="T9" fmla="*/ 7 h 35"/>
                      <a:gd name="T10" fmla="*/ 14 w 48"/>
                      <a:gd name="T11" fmla="*/ 24 h 35"/>
                      <a:gd name="T12" fmla="*/ 2 w 48"/>
                      <a:gd name="T13" fmla="*/ 24 h 35"/>
                      <a:gd name="T14" fmla="*/ 0 w 48"/>
                      <a:gd name="T15" fmla="*/ 28 h 35"/>
                      <a:gd name="T16" fmla="*/ 15 w 48"/>
                      <a:gd name="T17" fmla="*/ 29 h 35"/>
                      <a:gd name="T18" fmla="*/ 5 w 48"/>
                      <a:gd name="T19" fmla="*/ 33 h 35"/>
                      <a:gd name="T20" fmla="*/ 6 w 48"/>
                      <a:gd name="T21" fmla="*/ 35 h 35"/>
                      <a:gd name="T22" fmla="*/ 27 w 48"/>
                      <a:gd name="T23" fmla="*/ 31 h 35"/>
                      <a:gd name="T24" fmla="*/ 31 w 48"/>
                      <a:gd name="T25" fmla="*/ 27 h 35"/>
                      <a:gd name="T26" fmla="*/ 39 w 48"/>
                      <a:gd name="T27" fmla="*/ 19 h 35"/>
                      <a:gd name="T28" fmla="*/ 44 w 48"/>
                      <a:gd name="T29" fmla="*/ 14 h 35"/>
                      <a:gd name="T30" fmla="*/ 48 w 48"/>
                      <a:gd name="T31" fmla="*/ 14 h 35"/>
                      <a:gd name="T32" fmla="*/ 47 w 48"/>
                      <a:gd name="T33" fmla="*/ 8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48" h="35">
                        <a:moveTo>
                          <a:pt x="47" y="8"/>
                        </a:moveTo>
                        <a:cubicBezTo>
                          <a:pt x="47" y="4"/>
                          <a:pt x="47" y="2"/>
                          <a:pt x="47" y="0"/>
                        </a:cubicBezTo>
                        <a:cubicBezTo>
                          <a:pt x="36" y="0"/>
                          <a:pt x="16" y="3"/>
                          <a:pt x="16" y="3"/>
                        </a:cubicBezTo>
                        <a:cubicBezTo>
                          <a:pt x="16" y="3"/>
                          <a:pt x="16" y="6"/>
                          <a:pt x="21" y="6"/>
                        </a:cubicBezTo>
                        <a:cubicBezTo>
                          <a:pt x="26" y="6"/>
                          <a:pt x="29" y="7"/>
                          <a:pt x="29" y="7"/>
                        </a:cubicBezTo>
                        <a:cubicBezTo>
                          <a:pt x="14" y="24"/>
                          <a:pt x="14" y="24"/>
                          <a:pt x="14" y="24"/>
                        </a:cubicBezTo>
                        <a:cubicBezTo>
                          <a:pt x="14" y="24"/>
                          <a:pt x="4" y="24"/>
                          <a:pt x="2" y="24"/>
                        </a:cubicBezTo>
                        <a:cubicBezTo>
                          <a:pt x="1" y="25"/>
                          <a:pt x="0" y="27"/>
                          <a:pt x="0" y="28"/>
                        </a:cubicBezTo>
                        <a:cubicBezTo>
                          <a:pt x="4" y="28"/>
                          <a:pt x="15" y="29"/>
                          <a:pt x="15" y="29"/>
                        </a:cubicBezTo>
                        <a:cubicBezTo>
                          <a:pt x="15" y="29"/>
                          <a:pt x="7" y="31"/>
                          <a:pt x="5" y="33"/>
                        </a:cubicBezTo>
                        <a:cubicBezTo>
                          <a:pt x="5" y="33"/>
                          <a:pt x="4" y="35"/>
                          <a:pt x="6" y="35"/>
                        </a:cubicBezTo>
                        <a:cubicBezTo>
                          <a:pt x="15" y="34"/>
                          <a:pt x="26" y="32"/>
                          <a:pt x="27" y="31"/>
                        </a:cubicBezTo>
                        <a:cubicBezTo>
                          <a:pt x="29" y="29"/>
                          <a:pt x="31" y="27"/>
                          <a:pt x="31" y="27"/>
                        </a:cubicBezTo>
                        <a:cubicBezTo>
                          <a:pt x="31" y="27"/>
                          <a:pt x="35" y="23"/>
                          <a:pt x="39" y="19"/>
                        </a:cubicBezTo>
                        <a:cubicBezTo>
                          <a:pt x="43" y="16"/>
                          <a:pt x="44" y="14"/>
                          <a:pt x="44" y="14"/>
                        </a:cubicBezTo>
                        <a:cubicBezTo>
                          <a:pt x="48" y="14"/>
                          <a:pt x="48" y="14"/>
                          <a:pt x="48" y="14"/>
                        </a:cubicBezTo>
                        <a:cubicBezTo>
                          <a:pt x="48" y="14"/>
                          <a:pt x="47" y="11"/>
                          <a:pt x="47" y="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" name="Freeform 235">
                    <a:extLst>
                      <a:ext uri="{FF2B5EF4-FFF2-40B4-BE49-F238E27FC236}">
                        <a16:creationId xmlns:a16="http://schemas.microsoft.com/office/drawing/2014/main" id="{F424BD86-4DC0-4CE6-7C92-90A96F6D50C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20438" y="976313"/>
                    <a:ext cx="206375" cy="155575"/>
                  </a:xfrm>
                  <a:custGeom>
                    <a:avLst/>
                    <a:gdLst>
                      <a:gd name="T0" fmla="*/ 112 w 112"/>
                      <a:gd name="T1" fmla="*/ 84 h 84"/>
                      <a:gd name="T2" fmla="*/ 30 w 112"/>
                      <a:gd name="T3" fmla="*/ 73 h 84"/>
                      <a:gd name="T4" fmla="*/ 0 w 112"/>
                      <a:gd name="T5" fmla="*/ 0 h 84"/>
                      <a:gd name="T6" fmla="*/ 68 w 112"/>
                      <a:gd name="T7" fmla="*/ 23 h 84"/>
                      <a:gd name="T8" fmla="*/ 112 w 112"/>
                      <a:gd name="T9" fmla="*/ 84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2" h="84">
                        <a:moveTo>
                          <a:pt x="112" y="84"/>
                        </a:moveTo>
                        <a:cubicBezTo>
                          <a:pt x="112" y="84"/>
                          <a:pt x="80" y="48"/>
                          <a:pt x="30" y="73"/>
                        </a:cubicBezTo>
                        <a:cubicBezTo>
                          <a:pt x="9" y="83"/>
                          <a:pt x="0" y="0"/>
                          <a:pt x="0" y="0"/>
                        </a:cubicBezTo>
                        <a:cubicBezTo>
                          <a:pt x="0" y="0"/>
                          <a:pt x="11" y="5"/>
                          <a:pt x="68" y="23"/>
                        </a:cubicBezTo>
                        <a:cubicBezTo>
                          <a:pt x="83" y="28"/>
                          <a:pt x="112" y="84"/>
                          <a:pt x="112" y="84"/>
                        </a:cubicBezTo>
                        <a:close/>
                      </a:path>
                    </a:pathLst>
                  </a:custGeom>
                  <a:solidFill>
                    <a:srgbClr val="5D819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Freeform 236">
                    <a:extLst>
                      <a:ext uri="{FF2B5EF4-FFF2-40B4-BE49-F238E27FC236}">
                        <a16:creationId xmlns:a16="http://schemas.microsoft.com/office/drawing/2014/main" id="{4E5FCEAC-6F1F-4B43-5A57-585C0CBF71E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555413" y="1190625"/>
                    <a:ext cx="79375" cy="52388"/>
                  </a:xfrm>
                  <a:custGeom>
                    <a:avLst/>
                    <a:gdLst>
                      <a:gd name="T0" fmla="*/ 0 w 43"/>
                      <a:gd name="T1" fmla="*/ 12 h 28"/>
                      <a:gd name="T2" fmla="*/ 7 w 43"/>
                      <a:gd name="T3" fmla="*/ 0 h 28"/>
                      <a:gd name="T4" fmla="*/ 19 w 43"/>
                      <a:gd name="T5" fmla="*/ 7 h 28"/>
                      <a:gd name="T6" fmla="*/ 16 w 43"/>
                      <a:gd name="T7" fmla="*/ 12 h 28"/>
                      <a:gd name="T8" fmla="*/ 35 w 43"/>
                      <a:gd name="T9" fmla="*/ 18 h 28"/>
                      <a:gd name="T10" fmla="*/ 43 w 43"/>
                      <a:gd name="T11" fmla="*/ 24 h 28"/>
                      <a:gd name="T12" fmla="*/ 40 w 43"/>
                      <a:gd name="T13" fmla="*/ 27 h 28"/>
                      <a:gd name="T14" fmla="*/ 29 w 43"/>
                      <a:gd name="T15" fmla="*/ 25 h 28"/>
                      <a:gd name="T16" fmla="*/ 12 w 43"/>
                      <a:gd name="T17" fmla="*/ 24 h 28"/>
                      <a:gd name="T18" fmla="*/ 0 w 43"/>
                      <a:gd name="T19" fmla="*/ 12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3" h="28">
                        <a:moveTo>
                          <a:pt x="0" y="12"/>
                        </a:move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19" y="7"/>
                          <a:pt x="19" y="7"/>
                          <a:pt x="19" y="7"/>
                        </a:cubicBezTo>
                        <a:cubicBezTo>
                          <a:pt x="16" y="12"/>
                          <a:pt x="16" y="12"/>
                          <a:pt x="16" y="12"/>
                        </a:cubicBezTo>
                        <a:cubicBezTo>
                          <a:pt x="35" y="18"/>
                          <a:pt x="35" y="18"/>
                          <a:pt x="35" y="18"/>
                        </a:cubicBezTo>
                        <a:cubicBezTo>
                          <a:pt x="43" y="24"/>
                          <a:pt x="43" y="24"/>
                          <a:pt x="43" y="24"/>
                        </a:cubicBezTo>
                        <a:cubicBezTo>
                          <a:pt x="43" y="24"/>
                          <a:pt x="43" y="28"/>
                          <a:pt x="40" y="27"/>
                        </a:cubicBezTo>
                        <a:cubicBezTo>
                          <a:pt x="39" y="27"/>
                          <a:pt x="29" y="25"/>
                          <a:pt x="29" y="25"/>
                        </a:cubicBezTo>
                        <a:cubicBezTo>
                          <a:pt x="12" y="24"/>
                          <a:pt x="12" y="24"/>
                          <a:pt x="12" y="24"/>
                        </a:cubicBez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" name="Freeform 237">
                    <a:extLst>
                      <a:ext uri="{FF2B5EF4-FFF2-40B4-BE49-F238E27FC236}">
                        <a16:creationId xmlns:a16="http://schemas.microsoft.com/office/drawing/2014/main" id="{93A2A2B4-A937-DCCC-1A70-FF54F67DBF4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049000" y="1157288"/>
                    <a:ext cx="534988" cy="444500"/>
                  </a:xfrm>
                  <a:custGeom>
                    <a:avLst/>
                    <a:gdLst>
                      <a:gd name="T0" fmla="*/ 13 w 288"/>
                      <a:gd name="T1" fmla="*/ 30 h 240"/>
                      <a:gd name="T2" fmla="*/ 97 w 288"/>
                      <a:gd name="T3" fmla="*/ 29 h 240"/>
                      <a:gd name="T4" fmla="*/ 121 w 288"/>
                      <a:gd name="T5" fmla="*/ 154 h 240"/>
                      <a:gd name="T6" fmla="*/ 269 w 288"/>
                      <a:gd name="T7" fmla="*/ 26 h 240"/>
                      <a:gd name="T8" fmla="*/ 288 w 288"/>
                      <a:gd name="T9" fmla="*/ 44 h 240"/>
                      <a:gd name="T10" fmla="*/ 145 w 288"/>
                      <a:gd name="T11" fmla="*/ 206 h 240"/>
                      <a:gd name="T12" fmla="*/ 78 w 288"/>
                      <a:gd name="T13" fmla="*/ 202 h 240"/>
                      <a:gd name="T14" fmla="*/ 0 w 288"/>
                      <a:gd name="T15" fmla="*/ 68 h 240"/>
                      <a:gd name="T16" fmla="*/ 13 w 288"/>
                      <a:gd name="T17" fmla="*/ 30 h 2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88" h="240">
                        <a:moveTo>
                          <a:pt x="13" y="30"/>
                        </a:moveTo>
                        <a:cubicBezTo>
                          <a:pt x="13" y="30"/>
                          <a:pt x="86" y="0"/>
                          <a:pt x="97" y="29"/>
                        </a:cubicBezTo>
                        <a:cubicBezTo>
                          <a:pt x="114" y="69"/>
                          <a:pt x="119" y="127"/>
                          <a:pt x="121" y="154"/>
                        </a:cubicBezTo>
                        <a:cubicBezTo>
                          <a:pt x="269" y="26"/>
                          <a:pt x="269" y="26"/>
                          <a:pt x="269" y="26"/>
                        </a:cubicBezTo>
                        <a:cubicBezTo>
                          <a:pt x="288" y="44"/>
                          <a:pt x="288" y="44"/>
                          <a:pt x="288" y="44"/>
                        </a:cubicBezTo>
                        <a:cubicBezTo>
                          <a:pt x="288" y="44"/>
                          <a:pt x="154" y="192"/>
                          <a:pt x="145" y="206"/>
                        </a:cubicBezTo>
                        <a:cubicBezTo>
                          <a:pt x="135" y="220"/>
                          <a:pt x="102" y="240"/>
                          <a:pt x="78" y="202"/>
                        </a:cubicBezTo>
                        <a:cubicBezTo>
                          <a:pt x="55" y="163"/>
                          <a:pt x="14" y="93"/>
                          <a:pt x="0" y="68"/>
                        </a:cubicBezTo>
                        <a:cubicBezTo>
                          <a:pt x="107" y="63"/>
                          <a:pt x="13" y="30"/>
                          <a:pt x="13" y="3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" name="Freeform 238">
                    <a:extLst>
                      <a:ext uri="{FF2B5EF4-FFF2-40B4-BE49-F238E27FC236}">
                        <a16:creationId xmlns:a16="http://schemas.microsoft.com/office/drawing/2014/main" id="{FA3A102D-601E-A969-7B8D-FC88FA77169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50513" y="677863"/>
                    <a:ext cx="373063" cy="328613"/>
                  </a:xfrm>
                  <a:custGeom>
                    <a:avLst/>
                    <a:gdLst>
                      <a:gd name="T0" fmla="*/ 179 w 201"/>
                      <a:gd name="T1" fmla="*/ 0 h 177"/>
                      <a:gd name="T2" fmla="*/ 134 w 201"/>
                      <a:gd name="T3" fmla="*/ 67 h 177"/>
                      <a:gd name="T4" fmla="*/ 99 w 201"/>
                      <a:gd name="T5" fmla="*/ 122 h 177"/>
                      <a:gd name="T6" fmla="*/ 9 w 201"/>
                      <a:gd name="T7" fmla="*/ 39 h 177"/>
                      <a:gd name="T8" fmla="*/ 0 w 201"/>
                      <a:gd name="T9" fmla="*/ 48 h 177"/>
                      <a:gd name="T10" fmla="*/ 65 w 201"/>
                      <a:gd name="T11" fmla="*/ 141 h 177"/>
                      <a:gd name="T12" fmla="*/ 116 w 201"/>
                      <a:gd name="T13" fmla="*/ 177 h 177"/>
                      <a:gd name="T14" fmla="*/ 201 w 201"/>
                      <a:gd name="T15" fmla="*/ 87 h 177"/>
                      <a:gd name="T16" fmla="*/ 179 w 201"/>
                      <a:gd name="T17" fmla="*/ 0 h 1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1" h="177">
                        <a:moveTo>
                          <a:pt x="179" y="0"/>
                        </a:moveTo>
                        <a:cubicBezTo>
                          <a:pt x="179" y="0"/>
                          <a:pt x="155" y="11"/>
                          <a:pt x="134" y="67"/>
                        </a:cubicBezTo>
                        <a:cubicBezTo>
                          <a:pt x="121" y="98"/>
                          <a:pt x="99" y="122"/>
                          <a:pt x="99" y="122"/>
                        </a:cubicBezTo>
                        <a:cubicBezTo>
                          <a:pt x="9" y="39"/>
                          <a:pt x="9" y="39"/>
                          <a:pt x="9" y="39"/>
                        </a:cubicBezTo>
                        <a:cubicBezTo>
                          <a:pt x="0" y="48"/>
                          <a:pt x="0" y="48"/>
                          <a:pt x="0" y="48"/>
                        </a:cubicBezTo>
                        <a:cubicBezTo>
                          <a:pt x="0" y="48"/>
                          <a:pt x="41" y="108"/>
                          <a:pt x="65" y="141"/>
                        </a:cubicBezTo>
                        <a:cubicBezTo>
                          <a:pt x="86" y="172"/>
                          <a:pt x="116" y="177"/>
                          <a:pt x="116" y="177"/>
                        </a:cubicBezTo>
                        <a:cubicBezTo>
                          <a:pt x="201" y="87"/>
                          <a:pt x="201" y="87"/>
                          <a:pt x="201" y="87"/>
                        </a:cubicBezTo>
                        <a:lnTo>
                          <a:pt x="179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" name="Freeform 239">
                    <a:extLst>
                      <a:ext uri="{FF2B5EF4-FFF2-40B4-BE49-F238E27FC236}">
                        <a16:creationId xmlns:a16="http://schemas.microsoft.com/office/drawing/2014/main" id="{586C7B1B-A10F-E0E1-1AC7-F2866586D93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7525" y="700088"/>
                    <a:ext cx="284163" cy="404813"/>
                  </a:xfrm>
                  <a:custGeom>
                    <a:avLst/>
                    <a:gdLst>
                      <a:gd name="T0" fmla="*/ 154 w 154"/>
                      <a:gd name="T1" fmla="*/ 219 h 219"/>
                      <a:gd name="T2" fmla="*/ 32 w 154"/>
                      <a:gd name="T3" fmla="*/ 117 h 219"/>
                      <a:gd name="T4" fmla="*/ 43 w 154"/>
                      <a:gd name="T5" fmla="*/ 0 h 219"/>
                      <a:gd name="T6" fmla="*/ 154 w 154"/>
                      <a:gd name="T7" fmla="*/ 219 h 2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54" h="219">
                        <a:moveTo>
                          <a:pt x="154" y="219"/>
                        </a:moveTo>
                        <a:cubicBezTo>
                          <a:pt x="154" y="219"/>
                          <a:pt x="59" y="173"/>
                          <a:pt x="32" y="117"/>
                        </a:cubicBezTo>
                        <a:cubicBezTo>
                          <a:pt x="0" y="47"/>
                          <a:pt x="43" y="0"/>
                          <a:pt x="43" y="0"/>
                        </a:cubicBezTo>
                        <a:cubicBezTo>
                          <a:pt x="154" y="219"/>
                          <a:pt x="154" y="219"/>
                          <a:pt x="154" y="219"/>
                        </a:cubicBezTo>
                      </a:path>
                    </a:pathLst>
                  </a:custGeom>
                  <a:solidFill>
                    <a:srgbClr val="9FCDD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" name="Freeform 240">
                    <a:extLst>
                      <a:ext uri="{FF2B5EF4-FFF2-40B4-BE49-F238E27FC236}">
                        <a16:creationId xmlns:a16="http://schemas.microsoft.com/office/drawing/2014/main" id="{C9E90173-C1A4-749C-5472-78709CBF6D8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18800" y="666750"/>
                    <a:ext cx="525463" cy="481013"/>
                  </a:xfrm>
                  <a:custGeom>
                    <a:avLst/>
                    <a:gdLst>
                      <a:gd name="T0" fmla="*/ 135 w 283"/>
                      <a:gd name="T1" fmla="*/ 260 h 260"/>
                      <a:gd name="T2" fmla="*/ 32 w 283"/>
                      <a:gd name="T3" fmla="*/ 116 h 260"/>
                      <a:gd name="T4" fmla="*/ 13 w 283"/>
                      <a:gd name="T5" fmla="*/ 25 h 260"/>
                      <a:gd name="T6" fmla="*/ 45 w 283"/>
                      <a:gd name="T7" fmla="*/ 0 h 260"/>
                      <a:gd name="T8" fmla="*/ 174 w 283"/>
                      <a:gd name="T9" fmla="*/ 74 h 260"/>
                      <a:gd name="T10" fmla="*/ 283 w 283"/>
                      <a:gd name="T11" fmla="*/ 245 h 260"/>
                      <a:gd name="T12" fmla="*/ 135 w 283"/>
                      <a:gd name="T13" fmla="*/ 26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3" h="260">
                        <a:moveTo>
                          <a:pt x="135" y="260"/>
                        </a:moveTo>
                        <a:cubicBezTo>
                          <a:pt x="135" y="260"/>
                          <a:pt x="85" y="180"/>
                          <a:pt x="32" y="116"/>
                        </a:cubicBezTo>
                        <a:cubicBezTo>
                          <a:pt x="0" y="76"/>
                          <a:pt x="13" y="25"/>
                          <a:pt x="13" y="25"/>
                        </a:cubicBezTo>
                        <a:cubicBezTo>
                          <a:pt x="13" y="25"/>
                          <a:pt x="30" y="1"/>
                          <a:pt x="45" y="0"/>
                        </a:cubicBezTo>
                        <a:cubicBezTo>
                          <a:pt x="71" y="7"/>
                          <a:pt x="133" y="22"/>
                          <a:pt x="174" y="74"/>
                        </a:cubicBezTo>
                        <a:cubicBezTo>
                          <a:pt x="232" y="148"/>
                          <a:pt x="283" y="245"/>
                          <a:pt x="283" y="245"/>
                        </a:cubicBezTo>
                        <a:cubicBezTo>
                          <a:pt x="135" y="260"/>
                          <a:pt x="135" y="260"/>
                          <a:pt x="135" y="260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" name="Freeform 241">
                    <a:extLst>
                      <a:ext uri="{FF2B5EF4-FFF2-40B4-BE49-F238E27FC236}">
                        <a16:creationId xmlns:a16="http://schemas.microsoft.com/office/drawing/2014/main" id="{E636290A-A58C-B36D-8B8A-8D2658864A9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01350" y="911225"/>
                    <a:ext cx="23813" cy="30163"/>
                  </a:xfrm>
                  <a:custGeom>
                    <a:avLst/>
                    <a:gdLst>
                      <a:gd name="T0" fmla="*/ 0 w 13"/>
                      <a:gd name="T1" fmla="*/ 0 h 16"/>
                      <a:gd name="T2" fmla="*/ 13 w 13"/>
                      <a:gd name="T3" fmla="*/ 16 h 16"/>
                      <a:gd name="T4" fmla="*/ 6 w 13"/>
                      <a:gd name="T5" fmla="*/ 5 h 16"/>
                      <a:gd name="T6" fmla="*/ 0 w 13"/>
                      <a:gd name="T7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3" h="16">
                        <a:moveTo>
                          <a:pt x="0" y="0"/>
                        </a:moveTo>
                        <a:cubicBezTo>
                          <a:pt x="0" y="0"/>
                          <a:pt x="5" y="7"/>
                          <a:pt x="13" y="16"/>
                        </a:cubicBezTo>
                        <a:cubicBezTo>
                          <a:pt x="11" y="12"/>
                          <a:pt x="8" y="9"/>
                          <a:pt x="6" y="5"/>
                        </a:cubicBezTo>
                        <a:cubicBezTo>
                          <a:pt x="2" y="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" name="Freeform 242">
                    <a:extLst>
                      <a:ext uri="{FF2B5EF4-FFF2-40B4-BE49-F238E27FC236}">
                        <a16:creationId xmlns:a16="http://schemas.microsoft.com/office/drawing/2014/main" id="{CA870F96-85EA-6612-8A60-76F1FDDD63E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2463" y="920750"/>
                    <a:ext cx="252413" cy="200025"/>
                  </a:xfrm>
                  <a:custGeom>
                    <a:avLst/>
                    <a:gdLst>
                      <a:gd name="T0" fmla="*/ 0 w 136"/>
                      <a:gd name="T1" fmla="*/ 0 h 108"/>
                      <a:gd name="T2" fmla="*/ 7 w 136"/>
                      <a:gd name="T3" fmla="*/ 11 h 108"/>
                      <a:gd name="T4" fmla="*/ 63 w 136"/>
                      <a:gd name="T5" fmla="*/ 48 h 108"/>
                      <a:gd name="T6" fmla="*/ 124 w 136"/>
                      <a:gd name="T7" fmla="*/ 107 h 108"/>
                      <a:gd name="T8" fmla="*/ 136 w 136"/>
                      <a:gd name="T9" fmla="*/ 108 h 108"/>
                      <a:gd name="T10" fmla="*/ 62 w 136"/>
                      <a:gd name="T11" fmla="*/ 43 h 108"/>
                      <a:gd name="T12" fmla="*/ 0 w 136"/>
                      <a:gd name="T13" fmla="*/ 0 h 1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36" h="108">
                        <a:moveTo>
                          <a:pt x="0" y="0"/>
                        </a:moveTo>
                        <a:cubicBezTo>
                          <a:pt x="2" y="4"/>
                          <a:pt x="5" y="7"/>
                          <a:pt x="7" y="11"/>
                        </a:cubicBezTo>
                        <a:cubicBezTo>
                          <a:pt x="20" y="24"/>
                          <a:pt x="40" y="41"/>
                          <a:pt x="63" y="48"/>
                        </a:cubicBezTo>
                        <a:cubicBezTo>
                          <a:pt x="97" y="58"/>
                          <a:pt x="124" y="107"/>
                          <a:pt x="124" y="107"/>
                        </a:cubicBezTo>
                        <a:cubicBezTo>
                          <a:pt x="136" y="108"/>
                          <a:pt x="136" y="108"/>
                          <a:pt x="136" y="108"/>
                        </a:cubicBezTo>
                        <a:cubicBezTo>
                          <a:pt x="136" y="108"/>
                          <a:pt x="100" y="63"/>
                          <a:pt x="62" y="43"/>
                        </a:cubicBezTo>
                        <a:cubicBezTo>
                          <a:pt x="33" y="29"/>
                          <a:pt x="10" y="1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" name="Freeform 243">
                    <a:extLst>
                      <a:ext uri="{FF2B5EF4-FFF2-40B4-BE49-F238E27FC236}">
                        <a16:creationId xmlns:a16="http://schemas.microsoft.com/office/drawing/2014/main" id="{7E6384F7-D0A6-02A9-E594-2F4180DB301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9438" y="730250"/>
                    <a:ext cx="211138" cy="368300"/>
                  </a:xfrm>
                  <a:custGeom>
                    <a:avLst/>
                    <a:gdLst>
                      <a:gd name="T0" fmla="*/ 5 w 114"/>
                      <a:gd name="T1" fmla="*/ 0 h 199"/>
                      <a:gd name="T2" fmla="*/ 2 w 114"/>
                      <a:gd name="T3" fmla="*/ 9 h 199"/>
                      <a:gd name="T4" fmla="*/ 8 w 114"/>
                      <a:gd name="T5" fmla="*/ 18 h 199"/>
                      <a:gd name="T6" fmla="*/ 17 w 114"/>
                      <a:gd name="T7" fmla="*/ 94 h 199"/>
                      <a:gd name="T8" fmla="*/ 83 w 114"/>
                      <a:gd name="T9" fmla="*/ 194 h 199"/>
                      <a:gd name="T10" fmla="*/ 114 w 114"/>
                      <a:gd name="T11" fmla="*/ 199 h 199"/>
                      <a:gd name="T12" fmla="*/ 111 w 114"/>
                      <a:gd name="T13" fmla="*/ 166 h 199"/>
                      <a:gd name="T14" fmla="*/ 33 w 114"/>
                      <a:gd name="T15" fmla="*/ 84 h 199"/>
                      <a:gd name="T16" fmla="*/ 14 w 114"/>
                      <a:gd name="T17" fmla="*/ 17 h 199"/>
                      <a:gd name="T18" fmla="*/ 17 w 114"/>
                      <a:gd name="T19" fmla="*/ 7 h 199"/>
                      <a:gd name="T20" fmla="*/ 5 w 114"/>
                      <a:gd name="T21" fmla="*/ 0 h 1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14" h="199">
                        <a:moveTo>
                          <a:pt x="5" y="0"/>
                        </a:moveTo>
                        <a:cubicBezTo>
                          <a:pt x="5" y="0"/>
                          <a:pt x="2" y="4"/>
                          <a:pt x="2" y="9"/>
                        </a:cubicBezTo>
                        <a:cubicBezTo>
                          <a:pt x="3" y="14"/>
                          <a:pt x="8" y="18"/>
                          <a:pt x="8" y="18"/>
                        </a:cubicBezTo>
                        <a:cubicBezTo>
                          <a:pt x="8" y="18"/>
                          <a:pt x="0" y="55"/>
                          <a:pt x="17" y="94"/>
                        </a:cubicBezTo>
                        <a:cubicBezTo>
                          <a:pt x="43" y="154"/>
                          <a:pt x="83" y="194"/>
                          <a:pt x="83" y="194"/>
                        </a:cubicBezTo>
                        <a:cubicBezTo>
                          <a:pt x="114" y="199"/>
                          <a:pt x="114" y="199"/>
                          <a:pt x="114" y="199"/>
                        </a:cubicBezTo>
                        <a:cubicBezTo>
                          <a:pt x="111" y="166"/>
                          <a:pt x="111" y="166"/>
                          <a:pt x="111" y="166"/>
                        </a:cubicBezTo>
                        <a:cubicBezTo>
                          <a:pt x="111" y="166"/>
                          <a:pt x="65" y="139"/>
                          <a:pt x="33" y="84"/>
                        </a:cubicBezTo>
                        <a:cubicBezTo>
                          <a:pt x="11" y="46"/>
                          <a:pt x="14" y="17"/>
                          <a:pt x="14" y="17"/>
                        </a:cubicBezTo>
                        <a:cubicBezTo>
                          <a:pt x="14" y="17"/>
                          <a:pt x="15" y="12"/>
                          <a:pt x="17" y="7"/>
                        </a:cubicBezTo>
                        <a:cubicBezTo>
                          <a:pt x="9" y="4"/>
                          <a:pt x="5" y="0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" name="Freeform 244">
                    <a:extLst>
                      <a:ext uri="{FF2B5EF4-FFF2-40B4-BE49-F238E27FC236}">
                        <a16:creationId xmlns:a16="http://schemas.microsoft.com/office/drawing/2014/main" id="{A004B86B-8AE6-780D-6CBE-0ED5FDEC02A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80700" y="617538"/>
                    <a:ext cx="131763" cy="107950"/>
                  </a:xfrm>
                  <a:custGeom>
                    <a:avLst/>
                    <a:gdLst>
                      <a:gd name="T0" fmla="*/ 70 w 71"/>
                      <a:gd name="T1" fmla="*/ 28 h 59"/>
                      <a:gd name="T2" fmla="*/ 71 w 71"/>
                      <a:gd name="T3" fmla="*/ 24 h 59"/>
                      <a:gd name="T4" fmla="*/ 62 w 71"/>
                      <a:gd name="T5" fmla="*/ 0 h 59"/>
                      <a:gd name="T6" fmla="*/ 42 w 71"/>
                      <a:gd name="T7" fmla="*/ 17 h 59"/>
                      <a:gd name="T8" fmla="*/ 21 w 71"/>
                      <a:gd name="T9" fmla="*/ 23 h 59"/>
                      <a:gd name="T10" fmla="*/ 0 w 71"/>
                      <a:gd name="T11" fmla="*/ 11 h 59"/>
                      <a:gd name="T12" fmla="*/ 36 w 71"/>
                      <a:gd name="T13" fmla="*/ 59 h 59"/>
                      <a:gd name="T14" fmla="*/ 70 w 71"/>
                      <a:gd name="T15" fmla="*/ 28 h 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1" h="59">
                        <a:moveTo>
                          <a:pt x="70" y="28"/>
                        </a:moveTo>
                        <a:cubicBezTo>
                          <a:pt x="69" y="26"/>
                          <a:pt x="71" y="24"/>
                          <a:pt x="71" y="24"/>
                        </a:cubicBezTo>
                        <a:cubicBezTo>
                          <a:pt x="62" y="0"/>
                          <a:pt x="62" y="0"/>
                          <a:pt x="62" y="0"/>
                        </a:cubicBezTo>
                        <a:cubicBezTo>
                          <a:pt x="62" y="0"/>
                          <a:pt x="48" y="10"/>
                          <a:pt x="42" y="17"/>
                        </a:cubicBezTo>
                        <a:cubicBezTo>
                          <a:pt x="36" y="24"/>
                          <a:pt x="25" y="24"/>
                          <a:pt x="21" y="23"/>
                        </a:cubicBezTo>
                        <a:cubicBezTo>
                          <a:pt x="13" y="19"/>
                          <a:pt x="0" y="11"/>
                          <a:pt x="0" y="11"/>
                        </a:cubicBezTo>
                        <a:cubicBezTo>
                          <a:pt x="0" y="11"/>
                          <a:pt x="24" y="28"/>
                          <a:pt x="36" y="59"/>
                        </a:cubicBezTo>
                        <a:cubicBezTo>
                          <a:pt x="60" y="44"/>
                          <a:pt x="67" y="33"/>
                          <a:pt x="70" y="2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5" name="Freeform 245">
                    <a:extLst>
                      <a:ext uri="{FF2B5EF4-FFF2-40B4-BE49-F238E27FC236}">
                        <a16:creationId xmlns:a16="http://schemas.microsoft.com/office/drawing/2014/main" id="{50CFE253-558B-63B2-EBB1-C61B2BD1984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9113" y="541338"/>
                    <a:ext cx="138113" cy="127000"/>
                  </a:xfrm>
                  <a:custGeom>
                    <a:avLst/>
                    <a:gdLst>
                      <a:gd name="T0" fmla="*/ 1 w 75"/>
                      <a:gd name="T1" fmla="*/ 52 h 69"/>
                      <a:gd name="T2" fmla="*/ 25 w 75"/>
                      <a:gd name="T3" fmla="*/ 65 h 69"/>
                      <a:gd name="T4" fmla="*/ 39 w 75"/>
                      <a:gd name="T5" fmla="*/ 62 h 69"/>
                      <a:gd name="T6" fmla="*/ 52 w 75"/>
                      <a:gd name="T7" fmla="*/ 51 h 69"/>
                      <a:gd name="T8" fmla="*/ 60 w 75"/>
                      <a:gd name="T9" fmla="*/ 50 h 69"/>
                      <a:gd name="T10" fmla="*/ 62 w 75"/>
                      <a:gd name="T11" fmla="*/ 39 h 69"/>
                      <a:gd name="T12" fmla="*/ 75 w 75"/>
                      <a:gd name="T13" fmla="*/ 12 h 69"/>
                      <a:gd name="T14" fmla="*/ 65 w 75"/>
                      <a:gd name="T15" fmla="*/ 1 h 69"/>
                      <a:gd name="T16" fmla="*/ 50 w 75"/>
                      <a:gd name="T17" fmla="*/ 0 h 69"/>
                      <a:gd name="T18" fmla="*/ 12 w 75"/>
                      <a:gd name="T19" fmla="*/ 20 h 69"/>
                      <a:gd name="T20" fmla="*/ 13 w 75"/>
                      <a:gd name="T21" fmla="*/ 23 h 69"/>
                      <a:gd name="T22" fmla="*/ 18 w 75"/>
                      <a:gd name="T23" fmla="*/ 27 h 69"/>
                      <a:gd name="T24" fmla="*/ 1 w 75"/>
                      <a:gd name="T25" fmla="*/ 51 h 69"/>
                      <a:gd name="T26" fmla="*/ 1 w 75"/>
                      <a:gd name="T27" fmla="*/ 52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75" h="69">
                        <a:moveTo>
                          <a:pt x="1" y="52"/>
                        </a:moveTo>
                        <a:cubicBezTo>
                          <a:pt x="7" y="56"/>
                          <a:pt x="19" y="63"/>
                          <a:pt x="25" y="65"/>
                        </a:cubicBezTo>
                        <a:cubicBezTo>
                          <a:pt x="33" y="69"/>
                          <a:pt x="39" y="62"/>
                          <a:pt x="39" y="62"/>
                        </a:cubicBezTo>
                        <a:cubicBezTo>
                          <a:pt x="52" y="51"/>
                          <a:pt x="52" y="51"/>
                          <a:pt x="52" y="51"/>
                        </a:cubicBezTo>
                        <a:cubicBezTo>
                          <a:pt x="52" y="51"/>
                          <a:pt x="56" y="51"/>
                          <a:pt x="60" y="50"/>
                        </a:cubicBezTo>
                        <a:cubicBezTo>
                          <a:pt x="62" y="49"/>
                          <a:pt x="66" y="45"/>
                          <a:pt x="62" y="39"/>
                        </a:cubicBezTo>
                        <a:cubicBezTo>
                          <a:pt x="54" y="30"/>
                          <a:pt x="75" y="12"/>
                          <a:pt x="75" y="12"/>
                        </a:cubicBezTo>
                        <a:cubicBezTo>
                          <a:pt x="65" y="1"/>
                          <a:pt x="65" y="1"/>
                          <a:pt x="65" y="1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12" y="20"/>
                          <a:pt x="12" y="20"/>
                          <a:pt x="12" y="20"/>
                        </a:cubicBezTo>
                        <a:cubicBezTo>
                          <a:pt x="12" y="20"/>
                          <a:pt x="11" y="22"/>
                          <a:pt x="13" y="23"/>
                        </a:cubicBezTo>
                        <a:cubicBezTo>
                          <a:pt x="15" y="25"/>
                          <a:pt x="18" y="27"/>
                          <a:pt x="18" y="27"/>
                        </a:cubicBezTo>
                        <a:cubicBezTo>
                          <a:pt x="18" y="27"/>
                          <a:pt x="2" y="50"/>
                          <a:pt x="1" y="51"/>
                        </a:cubicBezTo>
                        <a:cubicBezTo>
                          <a:pt x="0" y="52"/>
                          <a:pt x="1" y="52"/>
                          <a:pt x="1" y="52"/>
                        </a:cubicBezTo>
                        <a:close/>
                      </a:path>
                    </a:pathLst>
                  </a:custGeom>
                  <a:solidFill>
                    <a:srgbClr val="E9F6F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" name="Freeform 246">
                    <a:extLst>
                      <a:ext uri="{FF2B5EF4-FFF2-40B4-BE49-F238E27FC236}">
                        <a16:creationId xmlns:a16="http://schemas.microsoft.com/office/drawing/2014/main" id="{7F970B79-FA8B-7D84-ADF3-EBBD02CFC63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6263" y="563563"/>
                    <a:ext cx="19050" cy="22225"/>
                  </a:xfrm>
                  <a:custGeom>
                    <a:avLst/>
                    <a:gdLst>
                      <a:gd name="T0" fmla="*/ 1 w 10"/>
                      <a:gd name="T1" fmla="*/ 4 h 12"/>
                      <a:gd name="T2" fmla="*/ 2 w 10"/>
                      <a:gd name="T3" fmla="*/ 7 h 12"/>
                      <a:gd name="T4" fmla="*/ 9 w 10"/>
                      <a:gd name="T5" fmla="*/ 11 h 12"/>
                      <a:gd name="T6" fmla="*/ 4 w 10"/>
                      <a:gd name="T7" fmla="*/ 2 h 12"/>
                      <a:gd name="T8" fmla="*/ 1 w 10"/>
                      <a:gd name="T9" fmla="*/ 4 h 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" h="12">
                        <a:moveTo>
                          <a:pt x="1" y="4"/>
                        </a:moveTo>
                        <a:cubicBezTo>
                          <a:pt x="0" y="6"/>
                          <a:pt x="1" y="6"/>
                          <a:pt x="2" y="7"/>
                        </a:cubicBezTo>
                        <a:cubicBezTo>
                          <a:pt x="4" y="8"/>
                          <a:pt x="10" y="12"/>
                          <a:pt x="9" y="11"/>
                        </a:cubicBezTo>
                        <a:cubicBezTo>
                          <a:pt x="9" y="10"/>
                          <a:pt x="7" y="7"/>
                          <a:pt x="4" y="2"/>
                        </a:cubicBezTo>
                        <a:cubicBezTo>
                          <a:pt x="3" y="0"/>
                          <a:pt x="2" y="2"/>
                          <a:pt x="1" y="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7" name="Freeform 247">
                    <a:extLst>
                      <a:ext uri="{FF2B5EF4-FFF2-40B4-BE49-F238E27FC236}">
                        <a16:creationId xmlns:a16="http://schemas.microsoft.com/office/drawing/2014/main" id="{5A06B26E-810B-F923-C156-DE915BC444F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514350"/>
                    <a:ext cx="103188" cy="147638"/>
                  </a:xfrm>
                  <a:custGeom>
                    <a:avLst/>
                    <a:gdLst>
                      <a:gd name="T0" fmla="*/ 56 w 56"/>
                      <a:gd name="T1" fmla="*/ 44 h 79"/>
                      <a:gd name="T2" fmla="*/ 15 w 56"/>
                      <a:gd name="T3" fmla="*/ 6 h 79"/>
                      <a:gd name="T4" fmla="*/ 12 w 56"/>
                      <a:gd name="T5" fmla="*/ 14 h 79"/>
                      <a:gd name="T6" fmla="*/ 26 w 56"/>
                      <a:gd name="T7" fmla="*/ 30 h 79"/>
                      <a:gd name="T8" fmla="*/ 8 w 56"/>
                      <a:gd name="T9" fmla="*/ 55 h 79"/>
                      <a:gd name="T10" fmla="*/ 25 w 56"/>
                      <a:gd name="T11" fmla="*/ 55 h 79"/>
                      <a:gd name="T12" fmla="*/ 34 w 56"/>
                      <a:gd name="T13" fmla="*/ 79 h 79"/>
                      <a:gd name="T14" fmla="*/ 56 w 56"/>
                      <a:gd name="T15" fmla="*/ 44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6" h="79">
                        <a:moveTo>
                          <a:pt x="56" y="44"/>
                        </a:moveTo>
                        <a:cubicBezTo>
                          <a:pt x="35" y="8"/>
                          <a:pt x="23" y="0"/>
                          <a:pt x="15" y="6"/>
                        </a:cubicBezTo>
                        <a:cubicBezTo>
                          <a:pt x="13" y="7"/>
                          <a:pt x="11" y="11"/>
                          <a:pt x="12" y="14"/>
                        </a:cubicBezTo>
                        <a:cubicBezTo>
                          <a:pt x="23" y="19"/>
                          <a:pt x="33" y="25"/>
                          <a:pt x="26" y="30"/>
                        </a:cubicBezTo>
                        <a:cubicBezTo>
                          <a:pt x="24" y="32"/>
                          <a:pt x="0" y="50"/>
                          <a:pt x="8" y="55"/>
                        </a:cubicBezTo>
                        <a:cubicBezTo>
                          <a:pt x="12" y="53"/>
                          <a:pt x="21" y="48"/>
                          <a:pt x="25" y="55"/>
                        </a:cubicBezTo>
                        <a:cubicBezTo>
                          <a:pt x="28" y="60"/>
                          <a:pt x="19" y="66"/>
                          <a:pt x="34" y="79"/>
                        </a:cubicBezTo>
                        <a:cubicBezTo>
                          <a:pt x="43" y="66"/>
                          <a:pt x="55" y="51"/>
                          <a:pt x="56" y="4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8" name="Freeform 248">
                    <a:extLst>
                      <a:ext uri="{FF2B5EF4-FFF2-40B4-BE49-F238E27FC236}">
                        <a16:creationId xmlns:a16="http://schemas.microsoft.com/office/drawing/2014/main" id="{7C186BC5-8FD9-7A6C-90D1-FA0993AFB44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87038" y="1652588"/>
                    <a:ext cx="85725" cy="28575"/>
                  </a:xfrm>
                  <a:custGeom>
                    <a:avLst/>
                    <a:gdLst>
                      <a:gd name="T0" fmla="*/ 46 w 46"/>
                      <a:gd name="T1" fmla="*/ 0 h 16"/>
                      <a:gd name="T2" fmla="*/ 46 w 46"/>
                      <a:gd name="T3" fmla="*/ 15 h 16"/>
                      <a:gd name="T4" fmla="*/ 33 w 46"/>
                      <a:gd name="T5" fmla="*/ 15 h 16"/>
                      <a:gd name="T6" fmla="*/ 32 w 46"/>
                      <a:gd name="T7" fmla="*/ 10 h 16"/>
                      <a:gd name="T8" fmla="*/ 14 w 46"/>
                      <a:gd name="T9" fmla="*/ 16 h 16"/>
                      <a:gd name="T10" fmla="*/ 2 w 46"/>
                      <a:gd name="T11" fmla="*/ 15 h 16"/>
                      <a:gd name="T12" fmla="*/ 3 w 46"/>
                      <a:gd name="T13" fmla="*/ 11 h 16"/>
                      <a:gd name="T14" fmla="*/ 15 w 46"/>
                      <a:gd name="T15" fmla="*/ 7 h 16"/>
                      <a:gd name="T16" fmla="*/ 28 w 46"/>
                      <a:gd name="T17" fmla="*/ 0 h 16"/>
                      <a:gd name="T18" fmla="*/ 46 w 46"/>
                      <a:gd name="T19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6" h="16">
                        <a:moveTo>
                          <a:pt x="46" y="0"/>
                        </a:moveTo>
                        <a:cubicBezTo>
                          <a:pt x="46" y="15"/>
                          <a:pt x="46" y="15"/>
                          <a:pt x="46" y="15"/>
                        </a:cubicBezTo>
                        <a:cubicBezTo>
                          <a:pt x="33" y="15"/>
                          <a:pt x="33" y="15"/>
                          <a:pt x="33" y="15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14" y="16"/>
                          <a:pt x="14" y="16"/>
                          <a:pt x="14" y="16"/>
                        </a:cubicBezTo>
                        <a:cubicBezTo>
                          <a:pt x="2" y="15"/>
                          <a:pt x="2" y="15"/>
                          <a:pt x="2" y="15"/>
                        </a:cubicBezTo>
                        <a:cubicBezTo>
                          <a:pt x="2" y="15"/>
                          <a:pt x="0" y="12"/>
                          <a:pt x="3" y="11"/>
                        </a:cubicBezTo>
                        <a:cubicBezTo>
                          <a:pt x="4" y="11"/>
                          <a:pt x="15" y="7"/>
                          <a:pt x="15" y="7"/>
                        </a:cubicBezTo>
                        <a:cubicBezTo>
                          <a:pt x="28" y="0"/>
                          <a:pt x="28" y="0"/>
                          <a:pt x="28" y="0"/>
                        </a:cubicBez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9" name="Freeform 249">
                    <a:extLst>
                      <a:ext uri="{FF2B5EF4-FFF2-40B4-BE49-F238E27FC236}">
                        <a16:creationId xmlns:a16="http://schemas.microsoft.com/office/drawing/2014/main" id="{C75F7BDB-F49C-3FCC-207F-BC4F069DC7F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31488" y="1119188"/>
                    <a:ext cx="693738" cy="533400"/>
                  </a:xfrm>
                  <a:custGeom>
                    <a:avLst/>
                    <a:gdLst>
                      <a:gd name="T0" fmla="*/ 0 w 374"/>
                      <a:gd name="T1" fmla="*/ 285 h 288"/>
                      <a:gd name="T2" fmla="*/ 1 w 374"/>
                      <a:gd name="T3" fmla="*/ 52 h 288"/>
                      <a:gd name="T4" fmla="*/ 50 w 374"/>
                      <a:gd name="T5" fmla="*/ 0 h 288"/>
                      <a:gd name="T6" fmla="*/ 330 w 374"/>
                      <a:gd name="T7" fmla="*/ 1 h 288"/>
                      <a:gd name="T8" fmla="*/ 207 w 374"/>
                      <a:gd name="T9" fmla="*/ 81 h 288"/>
                      <a:gd name="T10" fmla="*/ 56 w 374"/>
                      <a:gd name="T11" fmla="*/ 59 h 288"/>
                      <a:gd name="T12" fmla="*/ 22 w 374"/>
                      <a:gd name="T13" fmla="*/ 288 h 288"/>
                      <a:gd name="T14" fmla="*/ 0 w 374"/>
                      <a:gd name="T15" fmla="*/ 285 h 2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74" h="288">
                        <a:moveTo>
                          <a:pt x="0" y="285"/>
                        </a:moveTo>
                        <a:cubicBezTo>
                          <a:pt x="1" y="52"/>
                          <a:pt x="1" y="52"/>
                          <a:pt x="1" y="52"/>
                        </a:cubicBezTo>
                        <a:cubicBezTo>
                          <a:pt x="0" y="11"/>
                          <a:pt x="39" y="0"/>
                          <a:pt x="50" y="0"/>
                        </a:cubicBezTo>
                        <a:cubicBezTo>
                          <a:pt x="61" y="0"/>
                          <a:pt x="330" y="1"/>
                          <a:pt x="330" y="1"/>
                        </a:cubicBezTo>
                        <a:cubicBezTo>
                          <a:pt x="330" y="1"/>
                          <a:pt x="374" y="98"/>
                          <a:pt x="207" y="81"/>
                        </a:cubicBezTo>
                        <a:cubicBezTo>
                          <a:pt x="166" y="77"/>
                          <a:pt x="165" y="71"/>
                          <a:pt x="56" y="59"/>
                        </a:cubicBezTo>
                        <a:cubicBezTo>
                          <a:pt x="72" y="103"/>
                          <a:pt x="22" y="288"/>
                          <a:pt x="22" y="288"/>
                        </a:cubicBezTo>
                        <a:lnTo>
                          <a:pt x="0" y="28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0" name="Freeform 250">
                    <a:extLst>
                      <a:ext uri="{FF2B5EF4-FFF2-40B4-BE49-F238E27FC236}">
                        <a16:creationId xmlns:a16="http://schemas.microsoft.com/office/drawing/2014/main" id="{A279CDB0-1847-AAEC-5417-05F59D100AE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668338"/>
                    <a:ext cx="65088" cy="76200"/>
                  </a:xfrm>
                  <a:custGeom>
                    <a:avLst/>
                    <a:gdLst>
                      <a:gd name="T0" fmla="*/ 33 w 35"/>
                      <a:gd name="T1" fmla="*/ 0 h 41"/>
                      <a:gd name="T2" fmla="*/ 35 w 35"/>
                      <a:gd name="T3" fmla="*/ 1 h 41"/>
                      <a:gd name="T4" fmla="*/ 21 w 35"/>
                      <a:gd name="T5" fmla="*/ 41 h 41"/>
                      <a:gd name="T6" fmla="*/ 0 w 35"/>
                      <a:gd name="T7" fmla="*/ 31 h 41"/>
                      <a:gd name="T8" fmla="*/ 33 w 35"/>
                      <a:gd name="T9" fmla="*/ 0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5" h="41">
                        <a:moveTo>
                          <a:pt x="33" y="0"/>
                        </a:moveTo>
                        <a:cubicBezTo>
                          <a:pt x="35" y="1"/>
                          <a:pt x="35" y="1"/>
                          <a:pt x="35" y="1"/>
                        </a:cubicBezTo>
                        <a:cubicBezTo>
                          <a:pt x="21" y="41"/>
                          <a:pt x="21" y="41"/>
                          <a:pt x="21" y="41"/>
                        </a:cubicBezTo>
                        <a:cubicBezTo>
                          <a:pt x="21" y="41"/>
                          <a:pt x="11" y="41"/>
                          <a:pt x="0" y="31"/>
                        </a:cubicBezTo>
                        <a:cubicBezTo>
                          <a:pt x="28" y="12"/>
                          <a:pt x="33" y="0"/>
                          <a:pt x="33" y="0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1" name="Freeform 251">
                    <a:extLst>
                      <a:ext uri="{FF2B5EF4-FFF2-40B4-BE49-F238E27FC236}">
                        <a16:creationId xmlns:a16="http://schemas.microsoft.com/office/drawing/2014/main" id="{761AE9FD-1805-1BA2-72C9-0D0489C9418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8813" y="673100"/>
                    <a:ext cx="574675" cy="481013"/>
                  </a:xfrm>
                  <a:custGeom>
                    <a:avLst/>
                    <a:gdLst>
                      <a:gd name="T0" fmla="*/ 0 w 310"/>
                      <a:gd name="T1" fmla="*/ 0 h 260"/>
                      <a:gd name="T2" fmla="*/ 134 w 310"/>
                      <a:gd name="T3" fmla="*/ 182 h 260"/>
                      <a:gd name="T4" fmla="*/ 274 w 310"/>
                      <a:gd name="T5" fmla="*/ 260 h 260"/>
                      <a:gd name="T6" fmla="*/ 194 w 310"/>
                      <a:gd name="T7" fmla="*/ 161 h 260"/>
                      <a:gd name="T8" fmla="*/ 0 w 310"/>
                      <a:gd name="T9" fmla="*/ 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10" h="260">
                        <a:moveTo>
                          <a:pt x="0" y="0"/>
                        </a:moveTo>
                        <a:cubicBezTo>
                          <a:pt x="0" y="0"/>
                          <a:pt x="14" y="153"/>
                          <a:pt x="134" y="182"/>
                        </a:cubicBezTo>
                        <a:cubicBezTo>
                          <a:pt x="250" y="210"/>
                          <a:pt x="274" y="260"/>
                          <a:pt x="274" y="260"/>
                        </a:cubicBezTo>
                        <a:cubicBezTo>
                          <a:pt x="274" y="260"/>
                          <a:pt x="310" y="203"/>
                          <a:pt x="194" y="161"/>
                        </a:cubicBezTo>
                        <a:cubicBezTo>
                          <a:pt x="77" y="118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2" name="Freeform 252">
                    <a:extLst>
                      <a:ext uri="{FF2B5EF4-FFF2-40B4-BE49-F238E27FC236}">
                        <a16:creationId xmlns:a16="http://schemas.microsoft.com/office/drawing/2014/main" id="{0C521CBB-2B12-34B6-6438-FC28777F25C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93413" y="666750"/>
                    <a:ext cx="369888" cy="306388"/>
                  </a:xfrm>
                  <a:custGeom>
                    <a:avLst/>
                    <a:gdLst>
                      <a:gd name="T0" fmla="*/ 199 w 199"/>
                      <a:gd name="T1" fmla="*/ 165 h 165"/>
                      <a:gd name="T2" fmla="*/ 108 w 199"/>
                      <a:gd name="T3" fmla="*/ 43 h 165"/>
                      <a:gd name="T4" fmla="*/ 9 w 199"/>
                      <a:gd name="T5" fmla="*/ 0 h 165"/>
                      <a:gd name="T6" fmla="*/ 75 w 199"/>
                      <a:gd name="T7" fmla="*/ 119 h 165"/>
                      <a:gd name="T8" fmla="*/ 199 w 199"/>
                      <a:gd name="T9" fmla="*/ 165 h 1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99" h="165">
                        <a:moveTo>
                          <a:pt x="199" y="165"/>
                        </a:moveTo>
                        <a:cubicBezTo>
                          <a:pt x="199" y="165"/>
                          <a:pt x="134" y="65"/>
                          <a:pt x="108" y="43"/>
                        </a:cubicBezTo>
                        <a:cubicBezTo>
                          <a:pt x="82" y="21"/>
                          <a:pt x="9" y="0"/>
                          <a:pt x="9" y="0"/>
                        </a:cubicBezTo>
                        <a:cubicBezTo>
                          <a:pt x="9" y="0"/>
                          <a:pt x="0" y="87"/>
                          <a:pt x="75" y="119"/>
                        </a:cubicBezTo>
                        <a:cubicBezTo>
                          <a:pt x="150" y="151"/>
                          <a:pt x="199" y="165"/>
                          <a:pt x="199" y="165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3" name="Freeform 253">
                    <a:extLst>
                      <a:ext uri="{FF2B5EF4-FFF2-40B4-BE49-F238E27FC236}">
                        <a16:creationId xmlns:a16="http://schemas.microsoft.com/office/drawing/2014/main" id="{9B8536DC-5C9B-52BD-0D3A-E6A322327CA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91763" y="669925"/>
                    <a:ext cx="630238" cy="344488"/>
                  </a:xfrm>
                  <a:custGeom>
                    <a:avLst/>
                    <a:gdLst>
                      <a:gd name="T0" fmla="*/ 337 w 340"/>
                      <a:gd name="T1" fmla="*/ 78 h 186"/>
                      <a:gd name="T2" fmla="*/ 196 w 340"/>
                      <a:gd name="T3" fmla="*/ 184 h 186"/>
                      <a:gd name="T4" fmla="*/ 2 w 340"/>
                      <a:gd name="T5" fmla="*/ 166 h 186"/>
                      <a:gd name="T6" fmla="*/ 0 w 340"/>
                      <a:gd name="T7" fmla="*/ 151 h 186"/>
                      <a:gd name="T8" fmla="*/ 189 w 340"/>
                      <a:gd name="T9" fmla="*/ 144 h 186"/>
                      <a:gd name="T10" fmla="*/ 266 w 340"/>
                      <a:gd name="T11" fmla="*/ 49 h 186"/>
                      <a:gd name="T12" fmla="*/ 337 w 340"/>
                      <a:gd name="T13" fmla="*/ 78 h 1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0" h="186">
                        <a:moveTo>
                          <a:pt x="337" y="78"/>
                        </a:moveTo>
                        <a:cubicBezTo>
                          <a:pt x="301" y="123"/>
                          <a:pt x="230" y="173"/>
                          <a:pt x="196" y="184"/>
                        </a:cubicBezTo>
                        <a:cubicBezTo>
                          <a:pt x="125" y="186"/>
                          <a:pt x="2" y="166"/>
                          <a:pt x="2" y="166"/>
                        </a:cubicBezTo>
                        <a:cubicBezTo>
                          <a:pt x="2" y="166"/>
                          <a:pt x="0" y="159"/>
                          <a:pt x="0" y="151"/>
                        </a:cubicBezTo>
                        <a:cubicBezTo>
                          <a:pt x="52" y="147"/>
                          <a:pt x="159" y="142"/>
                          <a:pt x="189" y="144"/>
                        </a:cubicBezTo>
                        <a:cubicBezTo>
                          <a:pt x="223" y="116"/>
                          <a:pt x="255" y="98"/>
                          <a:pt x="266" y="49"/>
                        </a:cubicBezTo>
                        <a:cubicBezTo>
                          <a:pt x="278" y="0"/>
                          <a:pt x="340" y="16"/>
                          <a:pt x="337" y="78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4" name="Freeform 255">
                    <a:extLst>
                      <a:ext uri="{FF2B5EF4-FFF2-40B4-BE49-F238E27FC236}">
                        <a16:creationId xmlns:a16="http://schemas.microsoft.com/office/drawing/2014/main" id="{E914F95E-B3C3-28CA-8B6F-05FCE08AC442}"/>
                      </a:ext>
                    </a:extLst>
                  </p:cNvPr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10396538" y="666750"/>
                    <a:ext cx="66675" cy="95250"/>
                  </a:xfrm>
                  <a:custGeom>
                    <a:avLst/>
                    <a:gdLst>
                      <a:gd name="T0" fmla="*/ 34 w 36"/>
                      <a:gd name="T1" fmla="*/ 42 h 51"/>
                      <a:gd name="T2" fmla="*/ 30 w 36"/>
                      <a:gd name="T3" fmla="*/ 30 h 51"/>
                      <a:gd name="T4" fmla="*/ 29 w 36"/>
                      <a:gd name="T5" fmla="*/ 20 h 51"/>
                      <a:gd name="T6" fmla="*/ 34 w 36"/>
                      <a:gd name="T7" fmla="*/ 11 h 51"/>
                      <a:gd name="T8" fmla="*/ 30 w 36"/>
                      <a:gd name="T9" fmla="*/ 6 h 51"/>
                      <a:gd name="T10" fmla="*/ 32 w 36"/>
                      <a:gd name="T11" fmla="*/ 1 h 51"/>
                      <a:gd name="T12" fmla="*/ 27 w 36"/>
                      <a:gd name="T13" fmla="*/ 3 h 51"/>
                      <a:gd name="T14" fmla="*/ 19 w 36"/>
                      <a:gd name="T15" fmla="*/ 16 h 51"/>
                      <a:gd name="T16" fmla="*/ 16 w 36"/>
                      <a:gd name="T17" fmla="*/ 31 h 51"/>
                      <a:gd name="T18" fmla="*/ 8 w 36"/>
                      <a:gd name="T19" fmla="*/ 30 h 51"/>
                      <a:gd name="T20" fmla="*/ 0 w 36"/>
                      <a:gd name="T21" fmla="*/ 31 h 51"/>
                      <a:gd name="T22" fmla="*/ 21 w 36"/>
                      <a:gd name="T23" fmla="*/ 46 h 51"/>
                      <a:gd name="T24" fmla="*/ 28 w 36"/>
                      <a:gd name="T25" fmla="*/ 51 h 51"/>
                      <a:gd name="T26" fmla="*/ 36 w 36"/>
                      <a:gd name="T27" fmla="*/ 44 h 51"/>
                      <a:gd name="T28" fmla="*/ 34 w 36"/>
                      <a:gd name="T29" fmla="*/ 42 h 51"/>
                      <a:gd name="T30" fmla="*/ 29 w 36"/>
                      <a:gd name="T31" fmla="*/ 9 h 51"/>
                      <a:gd name="T32" fmla="*/ 31 w 36"/>
                      <a:gd name="T33" fmla="*/ 12 h 51"/>
                      <a:gd name="T34" fmla="*/ 29 w 36"/>
                      <a:gd name="T35" fmla="*/ 14 h 51"/>
                      <a:gd name="T36" fmla="*/ 29 w 36"/>
                      <a:gd name="T37" fmla="*/ 9 h 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36" h="51">
                        <a:moveTo>
                          <a:pt x="34" y="42"/>
                        </a:moveTo>
                        <a:cubicBezTo>
                          <a:pt x="34" y="42"/>
                          <a:pt x="31" y="36"/>
                          <a:pt x="30" y="30"/>
                        </a:cubicBezTo>
                        <a:cubicBezTo>
                          <a:pt x="29" y="25"/>
                          <a:pt x="29" y="20"/>
                          <a:pt x="29" y="20"/>
                        </a:cubicBezTo>
                        <a:cubicBezTo>
                          <a:pt x="29" y="20"/>
                          <a:pt x="36" y="13"/>
                          <a:pt x="34" y="11"/>
                        </a:cubicBezTo>
                        <a:cubicBezTo>
                          <a:pt x="33" y="9"/>
                          <a:pt x="30" y="6"/>
                          <a:pt x="30" y="6"/>
                        </a:cubicBezTo>
                        <a:cubicBezTo>
                          <a:pt x="30" y="6"/>
                          <a:pt x="33" y="1"/>
                          <a:pt x="32" y="1"/>
                        </a:cubicBezTo>
                        <a:cubicBezTo>
                          <a:pt x="32" y="1"/>
                          <a:pt x="29" y="0"/>
                          <a:pt x="27" y="3"/>
                        </a:cubicBezTo>
                        <a:cubicBezTo>
                          <a:pt x="26" y="4"/>
                          <a:pt x="21" y="12"/>
                          <a:pt x="19" y="16"/>
                        </a:cubicBezTo>
                        <a:cubicBezTo>
                          <a:pt x="17" y="20"/>
                          <a:pt x="16" y="31"/>
                          <a:pt x="16" y="31"/>
                        </a:cubicBezTo>
                        <a:cubicBezTo>
                          <a:pt x="16" y="31"/>
                          <a:pt x="11" y="32"/>
                          <a:pt x="8" y="30"/>
                        </a:cubicBezTo>
                        <a:cubicBezTo>
                          <a:pt x="5" y="28"/>
                          <a:pt x="0" y="31"/>
                          <a:pt x="0" y="31"/>
                        </a:cubicBezTo>
                        <a:cubicBezTo>
                          <a:pt x="0" y="31"/>
                          <a:pt x="8" y="35"/>
                          <a:pt x="21" y="46"/>
                        </a:cubicBezTo>
                        <a:cubicBezTo>
                          <a:pt x="23" y="48"/>
                          <a:pt x="28" y="51"/>
                          <a:pt x="28" y="51"/>
                        </a:cubicBezTo>
                        <a:cubicBezTo>
                          <a:pt x="36" y="44"/>
                          <a:pt x="36" y="44"/>
                          <a:pt x="36" y="44"/>
                        </a:cubicBezTo>
                        <a:lnTo>
                          <a:pt x="34" y="42"/>
                        </a:lnTo>
                        <a:close/>
                        <a:moveTo>
                          <a:pt x="29" y="9"/>
                        </a:moveTo>
                        <a:cubicBezTo>
                          <a:pt x="31" y="12"/>
                          <a:pt x="31" y="12"/>
                          <a:pt x="31" y="12"/>
                        </a:cubicBezTo>
                        <a:cubicBezTo>
                          <a:pt x="29" y="14"/>
                          <a:pt x="29" y="14"/>
                          <a:pt x="29" y="14"/>
                        </a:cubicBezTo>
                        <a:lnTo>
                          <a:pt x="29" y="9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0" name="Group 4">
                <a:extLst>
                  <a:ext uri="{FF2B5EF4-FFF2-40B4-BE49-F238E27FC236}">
                    <a16:creationId xmlns:a16="http://schemas.microsoft.com/office/drawing/2014/main" id="{D6F17E1D-3140-A2D4-B5D3-345A1E311856}"/>
                  </a:ext>
                </a:extLst>
              </p:cNvPr>
              <p:cNvGrpSpPr/>
              <p:nvPr/>
            </p:nvGrpSpPr>
            <p:grpSpPr>
              <a:xfrm>
                <a:off x="2494061" y="3997897"/>
                <a:ext cx="1127759" cy="1089959"/>
                <a:chOff x="2494061" y="3997897"/>
                <a:chExt cx="1127759" cy="1089959"/>
              </a:xfrm>
            </p:grpSpPr>
            <p:grpSp>
              <p:nvGrpSpPr>
                <p:cNvPr id="53" name="Group 1068">
                  <a:extLst>
                    <a:ext uri="{FF2B5EF4-FFF2-40B4-BE49-F238E27FC236}">
                      <a16:creationId xmlns:a16="http://schemas.microsoft.com/office/drawing/2014/main" id="{41D46376-8246-57E5-3A1C-FC5CE6AFB36D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2494061" y="3997897"/>
                  <a:ext cx="1127759" cy="815248"/>
                  <a:chOff x="10001250" y="2782888"/>
                  <a:chExt cx="1449388" cy="1047750"/>
                </a:xfrm>
              </p:grpSpPr>
              <p:sp>
                <p:nvSpPr>
                  <p:cNvPr id="55" name="Freeform 217">
                    <a:extLst>
                      <a:ext uri="{FF2B5EF4-FFF2-40B4-BE49-F238E27FC236}">
                        <a16:creationId xmlns:a16="http://schemas.microsoft.com/office/drawing/2014/main" id="{D77765AB-6A48-168C-1CDF-FBC9CD05EBF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5425" y="3303588"/>
                    <a:ext cx="728663" cy="525463"/>
                  </a:xfrm>
                  <a:custGeom>
                    <a:avLst/>
                    <a:gdLst>
                      <a:gd name="T0" fmla="*/ 3 w 393"/>
                      <a:gd name="T1" fmla="*/ 279 h 283"/>
                      <a:gd name="T2" fmla="*/ 12 w 393"/>
                      <a:gd name="T3" fmla="*/ 275 h 283"/>
                      <a:gd name="T4" fmla="*/ 25 w 393"/>
                      <a:gd name="T5" fmla="*/ 258 h 283"/>
                      <a:gd name="T6" fmla="*/ 22 w 393"/>
                      <a:gd name="T7" fmla="*/ 42 h 283"/>
                      <a:gd name="T8" fmla="*/ 22 w 393"/>
                      <a:gd name="T9" fmla="*/ 42 h 283"/>
                      <a:gd name="T10" fmla="*/ 61 w 393"/>
                      <a:gd name="T11" fmla="*/ 0 h 283"/>
                      <a:gd name="T12" fmla="*/ 319 w 393"/>
                      <a:gd name="T13" fmla="*/ 3 h 283"/>
                      <a:gd name="T14" fmla="*/ 236 w 393"/>
                      <a:gd name="T15" fmla="*/ 79 h 283"/>
                      <a:gd name="T16" fmla="*/ 65 w 393"/>
                      <a:gd name="T17" fmla="*/ 46 h 283"/>
                      <a:gd name="T18" fmla="*/ 37 w 393"/>
                      <a:gd name="T19" fmla="*/ 259 h 283"/>
                      <a:gd name="T20" fmla="*/ 37 w 393"/>
                      <a:gd name="T21" fmla="*/ 267 h 283"/>
                      <a:gd name="T22" fmla="*/ 34 w 393"/>
                      <a:gd name="T23" fmla="*/ 283 h 283"/>
                      <a:gd name="T24" fmla="*/ 29 w 393"/>
                      <a:gd name="T25" fmla="*/ 283 h 283"/>
                      <a:gd name="T26" fmla="*/ 28 w 393"/>
                      <a:gd name="T27" fmla="*/ 274 h 283"/>
                      <a:gd name="T28" fmla="*/ 15 w 393"/>
                      <a:gd name="T29" fmla="*/ 283 h 283"/>
                      <a:gd name="T30" fmla="*/ 2 w 393"/>
                      <a:gd name="T31" fmla="*/ 283 h 283"/>
                      <a:gd name="T32" fmla="*/ 3 w 393"/>
                      <a:gd name="T33" fmla="*/ 279 h 2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93" h="283">
                        <a:moveTo>
                          <a:pt x="3" y="279"/>
                        </a:moveTo>
                        <a:cubicBezTo>
                          <a:pt x="4" y="279"/>
                          <a:pt x="12" y="275"/>
                          <a:pt x="12" y="275"/>
                        </a:cubicBezTo>
                        <a:cubicBezTo>
                          <a:pt x="25" y="258"/>
                          <a:pt x="25" y="258"/>
                          <a:pt x="25" y="258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0" y="5"/>
                          <a:pt x="61" y="0"/>
                          <a:pt x="61" y="0"/>
                        </a:cubicBezTo>
                        <a:cubicBezTo>
                          <a:pt x="319" y="3"/>
                          <a:pt x="319" y="3"/>
                          <a:pt x="319" y="3"/>
                        </a:cubicBezTo>
                        <a:cubicBezTo>
                          <a:pt x="319" y="3"/>
                          <a:pt x="393" y="97"/>
                          <a:pt x="236" y="79"/>
                        </a:cubicBezTo>
                        <a:cubicBezTo>
                          <a:pt x="197" y="74"/>
                          <a:pt x="167" y="59"/>
                          <a:pt x="65" y="46"/>
                        </a:cubicBezTo>
                        <a:cubicBezTo>
                          <a:pt x="79" y="87"/>
                          <a:pt x="37" y="259"/>
                          <a:pt x="37" y="259"/>
                        </a:cubicBezTo>
                        <a:cubicBezTo>
                          <a:pt x="37" y="267"/>
                          <a:pt x="37" y="267"/>
                          <a:pt x="37" y="267"/>
                        </a:cubicBezTo>
                        <a:cubicBezTo>
                          <a:pt x="34" y="283"/>
                          <a:pt x="34" y="283"/>
                          <a:pt x="34" y="283"/>
                        </a:cubicBezTo>
                        <a:cubicBezTo>
                          <a:pt x="29" y="283"/>
                          <a:pt x="29" y="283"/>
                          <a:pt x="29" y="283"/>
                        </a:cubicBezTo>
                        <a:cubicBezTo>
                          <a:pt x="28" y="274"/>
                          <a:pt x="28" y="274"/>
                          <a:pt x="28" y="274"/>
                        </a:cubicBezTo>
                        <a:cubicBezTo>
                          <a:pt x="15" y="283"/>
                          <a:pt x="15" y="283"/>
                          <a:pt x="15" y="283"/>
                        </a:cubicBezTo>
                        <a:cubicBezTo>
                          <a:pt x="2" y="283"/>
                          <a:pt x="2" y="283"/>
                          <a:pt x="2" y="283"/>
                        </a:cubicBezTo>
                        <a:cubicBezTo>
                          <a:pt x="2" y="283"/>
                          <a:pt x="0" y="280"/>
                          <a:pt x="3" y="27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" name="Freeform 218">
                    <a:extLst>
                      <a:ext uri="{FF2B5EF4-FFF2-40B4-BE49-F238E27FC236}">
                        <a16:creationId xmlns:a16="http://schemas.microsoft.com/office/drawing/2014/main" id="{CBF39E11-1C4A-306D-3B39-1596DF0B806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3838" y="3784600"/>
                    <a:ext cx="71438" cy="46038"/>
                  </a:xfrm>
                  <a:custGeom>
                    <a:avLst/>
                    <a:gdLst>
                      <a:gd name="T0" fmla="*/ 13 w 38"/>
                      <a:gd name="T1" fmla="*/ 16 h 25"/>
                      <a:gd name="T2" fmla="*/ 3 w 38"/>
                      <a:gd name="T3" fmla="*/ 20 h 25"/>
                      <a:gd name="T4" fmla="*/ 2 w 38"/>
                      <a:gd name="T5" fmla="*/ 24 h 25"/>
                      <a:gd name="T6" fmla="*/ 18 w 38"/>
                      <a:gd name="T7" fmla="*/ 24 h 25"/>
                      <a:gd name="T8" fmla="*/ 29 w 38"/>
                      <a:gd name="T9" fmla="*/ 15 h 25"/>
                      <a:gd name="T10" fmla="*/ 30 w 38"/>
                      <a:gd name="T11" fmla="*/ 25 h 25"/>
                      <a:gd name="T12" fmla="*/ 35 w 38"/>
                      <a:gd name="T13" fmla="*/ 25 h 25"/>
                      <a:gd name="T14" fmla="*/ 38 w 38"/>
                      <a:gd name="T15" fmla="*/ 8 h 25"/>
                      <a:gd name="T16" fmla="*/ 38 w 38"/>
                      <a:gd name="T17" fmla="*/ 0 h 25"/>
                      <a:gd name="T18" fmla="*/ 28 w 38"/>
                      <a:gd name="T19" fmla="*/ 8 h 25"/>
                      <a:gd name="T20" fmla="*/ 13 w 38"/>
                      <a:gd name="T21" fmla="*/ 16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8" h="25">
                        <a:moveTo>
                          <a:pt x="13" y="16"/>
                        </a:moveTo>
                        <a:cubicBezTo>
                          <a:pt x="11" y="17"/>
                          <a:pt x="4" y="20"/>
                          <a:pt x="3" y="20"/>
                        </a:cubicBezTo>
                        <a:cubicBezTo>
                          <a:pt x="0" y="21"/>
                          <a:pt x="2" y="24"/>
                          <a:pt x="2" y="24"/>
                        </a:cubicBezTo>
                        <a:cubicBezTo>
                          <a:pt x="2" y="24"/>
                          <a:pt x="15" y="24"/>
                          <a:pt x="18" y="24"/>
                        </a:cubicBezTo>
                        <a:cubicBezTo>
                          <a:pt x="21" y="24"/>
                          <a:pt x="29" y="15"/>
                          <a:pt x="29" y="15"/>
                        </a:cubicBezTo>
                        <a:cubicBezTo>
                          <a:pt x="30" y="25"/>
                          <a:pt x="30" y="25"/>
                          <a:pt x="30" y="25"/>
                        </a:cubicBezTo>
                        <a:cubicBezTo>
                          <a:pt x="35" y="25"/>
                          <a:pt x="35" y="25"/>
                          <a:pt x="35" y="25"/>
                        </a:cubicBezTo>
                        <a:cubicBezTo>
                          <a:pt x="35" y="25"/>
                          <a:pt x="36" y="15"/>
                          <a:pt x="38" y="8"/>
                        </a:cubicBezTo>
                        <a:cubicBezTo>
                          <a:pt x="38" y="4"/>
                          <a:pt x="38" y="0"/>
                          <a:pt x="38" y="0"/>
                        </a:cubicBezTo>
                        <a:cubicBezTo>
                          <a:pt x="38" y="0"/>
                          <a:pt x="35" y="0"/>
                          <a:pt x="28" y="8"/>
                        </a:cubicBezTo>
                        <a:cubicBezTo>
                          <a:pt x="22" y="17"/>
                          <a:pt x="16" y="16"/>
                          <a:pt x="13" y="16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" name="Freeform 219">
                    <a:extLst>
                      <a:ext uri="{FF2B5EF4-FFF2-40B4-BE49-F238E27FC236}">
                        <a16:creationId xmlns:a16="http://schemas.microsoft.com/office/drawing/2014/main" id="{7A438ED3-97EB-F37B-7AE2-ED9FE4CB674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58488" y="3311525"/>
                    <a:ext cx="692150" cy="390525"/>
                  </a:xfrm>
                  <a:custGeom>
                    <a:avLst/>
                    <a:gdLst>
                      <a:gd name="T0" fmla="*/ 371 w 373"/>
                      <a:gd name="T1" fmla="*/ 182 h 211"/>
                      <a:gd name="T2" fmla="*/ 360 w 373"/>
                      <a:gd name="T3" fmla="*/ 170 h 211"/>
                      <a:gd name="T4" fmla="*/ 370 w 373"/>
                      <a:gd name="T5" fmla="*/ 168 h 211"/>
                      <a:gd name="T6" fmla="*/ 369 w 373"/>
                      <a:gd name="T7" fmla="*/ 164 h 211"/>
                      <a:gd name="T8" fmla="*/ 353 w 373"/>
                      <a:gd name="T9" fmla="*/ 163 h 211"/>
                      <a:gd name="T10" fmla="*/ 345 w 373"/>
                      <a:gd name="T11" fmla="*/ 164 h 211"/>
                      <a:gd name="T12" fmla="*/ 142 w 373"/>
                      <a:gd name="T13" fmla="*/ 172 h 211"/>
                      <a:gd name="T14" fmla="*/ 115 w 373"/>
                      <a:gd name="T15" fmla="*/ 25 h 211"/>
                      <a:gd name="T16" fmla="*/ 0 w 373"/>
                      <a:gd name="T17" fmla="*/ 15 h 211"/>
                      <a:gd name="T18" fmla="*/ 107 w 373"/>
                      <a:gd name="T19" fmla="*/ 191 h 211"/>
                      <a:gd name="T20" fmla="*/ 142 w 373"/>
                      <a:gd name="T21" fmla="*/ 211 h 211"/>
                      <a:gd name="T22" fmla="*/ 211 w 373"/>
                      <a:gd name="T23" fmla="*/ 198 h 211"/>
                      <a:gd name="T24" fmla="*/ 346 w 373"/>
                      <a:gd name="T25" fmla="*/ 176 h 211"/>
                      <a:gd name="T26" fmla="*/ 363 w 373"/>
                      <a:gd name="T27" fmla="*/ 186 h 211"/>
                      <a:gd name="T28" fmla="*/ 369 w 373"/>
                      <a:gd name="T29" fmla="*/ 195 h 211"/>
                      <a:gd name="T30" fmla="*/ 373 w 373"/>
                      <a:gd name="T31" fmla="*/ 196 h 211"/>
                      <a:gd name="T32" fmla="*/ 371 w 373"/>
                      <a:gd name="T33" fmla="*/ 182 h 2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73" h="211">
                        <a:moveTo>
                          <a:pt x="371" y="182"/>
                        </a:moveTo>
                        <a:cubicBezTo>
                          <a:pt x="360" y="170"/>
                          <a:pt x="360" y="170"/>
                          <a:pt x="360" y="170"/>
                        </a:cubicBezTo>
                        <a:cubicBezTo>
                          <a:pt x="370" y="168"/>
                          <a:pt x="370" y="168"/>
                          <a:pt x="370" y="168"/>
                        </a:cubicBezTo>
                        <a:cubicBezTo>
                          <a:pt x="369" y="164"/>
                          <a:pt x="369" y="164"/>
                          <a:pt x="369" y="164"/>
                        </a:cubicBezTo>
                        <a:cubicBezTo>
                          <a:pt x="353" y="163"/>
                          <a:pt x="353" y="163"/>
                          <a:pt x="353" y="163"/>
                        </a:cubicBezTo>
                        <a:cubicBezTo>
                          <a:pt x="353" y="163"/>
                          <a:pt x="348" y="164"/>
                          <a:pt x="345" y="164"/>
                        </a:cubicBezTo>
                        <a:cubicBezTo>
                          <a:pt x="274" y="167"/>
                          <a:pt x="157" y="159"/>
                          <a:pt x="142" y="172"/>
                        </a:cubicBezTo>
                        <a:cubicBezTo>
                          <a:pt x="140" y="136"/>
                          <a:pt x="136" y="58"/>
                          <a:pt x="115" y="25"/>
                        </a:cubicBezTo>
                        <a:cubicBezTo>
                          <a:pt x="100" y="0"/>
                          <a:pt x="0" y="15"/>
                          <a:pt x="0" y="15"/>
                        </a:cubicBezTo>
                        <a:cubicBezTo>
                          <a:pt x="0" y="15"/>
                          <a:pt x="102" y="185"/>
                          <a:pt x="107" y="191"/>
                        </a:cubicBezTo>
                        <a:cubicBezTo>
                          <a:pt x="121" y="210"/>
                          <a:pt x="142" y="211"/>
                          <a:pt x="142" y="211"/>
                        </a:cubicBezTo>
                        <a:cubicBezTo>
                          <a:pt x="211" y="198"/>
                          <a:pt x="211" y="198"/>
                          <a:pt x="211" y="198"/>
                        </a:cubicBezTo>
                        <a:cubicBezTo>
                          <a:pt x="346" y="176"/>
                          <a:pt x="346" y="176"/>
                          <a:pt x="346" y="176"/>
                        </a:cubicBezTo>
                        <a:cubicBezTo>
                          <a:pt x="363" y="186"/>
                          <a:pt x="363" y="186"/>
                          <a:pt x="363" y="186"/>
                        </a:cubicBezTo>
                        <a:cubicBezTo>
                          <a:pt x="363" y="186"/>
                          <a:pt x="369" y="194"/>
                          <a:pt x="369" y="195"/>
                        </a:cubicBezTo>
                        <a:cubicBezTo>
                          <a:pt x="370" y="198"/>
                          <a:pt x="373" y="196"/>
                          <a:pt x="373" y="196"/>
                        </a:cubicBezTo>
                        <a:lnTo>
                          <a:pt x="371" y="182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" name="Freeform 221">
                    <a:extLst>
                      <a:ext uri="{FF2B5EF4-FFF2-40B4-BE49-F238E27FC236}">
                        <a16:creationId xmlns:a16="http://schemas.microsoft.com/office/drawing/2014/main" id="{5819515B-37A9-8605-0E30-8ADD2080046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61600" y="2940050"/>
                    <a:ext cx="304800" cy="269875"/>
                  </a:xfrm>
                  <a:custGeom>
                    <a:avLst/>
                    <a:gdLst>
                      <a:gd name="T0" fmla="*/ 0 w 164"/>
                      <a:gd name="T1" fmla="*/ 113 h 146"/>
                      <a:gd name="T2" fmla="*/ 37 w 164"/>
                      <a:gd name="T3" fmla="*/ 114 h 146"/>
                      <a:gd name="T4" fmla="*/ 66 w 164"/>
                      <a:gd name="T5" fmla="*/ 77 h 146"/>
                      <a:gd name="T6" fmla="*/ 97 w 164"/>
                      <a:gd name="T7" fmla="*/ 41 h 146"/>
                      <a:gd name="T8" fmla="*/ 164 w 164"/>
                      <a:gd name="T9" fmla="*/ 11 h 146"/>
                      <a:gd name="T10" fmla="*/ 133 w 164"/>
                      <a:gd name="T11" fmla="*/ 72 h 146"/>
                      <a:gd name="T12" fmla="*/ 67 w 164"/>
                      <a:gd name="T13" fmla="*/ 130 h 146"/>
                      <a:gd name="T14" fmla="*/ 23 w 164"/>
                      <a:gd name="T15" fmla="*/ 141 h 146"/>
                      <a:gd name="T16" fmla="*/ 0 w 164"/>
                      <a:gd name="T17" fmla="*/ 113 h 1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64" h="146">
                        <a:moveTo>
                          <a:pt x="0" y="113"/>
                        </a:moveTo>
                        <a:cubicBezTo>
                          <a:pt x="37" y="114"/>
                          <a:pt x="37" y="114"/>
                          <a:pt x="37" y="114"/>
                        </a:cubicBezTo>
                        <a:cubicBezTo>
                          <a:pt x="37" y="114"/>
                          <a:pt x="47" y="99"/>
                          <a:pt x="66" y="77"/>
                        </a:cubicBezTo>
                        <a:cubicBezTo>
                          <a:pt x="127" y="79"/>
                          <a:pt x="85" y="55"/>
                          <a:pt x="97" y="41"/>
                        </a:cubicBezTo>
                        <a:cubicBezTo>
                          <a:pt x="135" y="0"/>
                          <a:pt x="164" y="11"/>
                          <a:pt x="164" y="11"/>
                        </a:cubicBezTo>
                        <a:cubicBezTo>
                          <a:pt x="133" y="72"/>
                          <a:pt x="133" y="72"/>
                          <a:pt x="133" y="72"/>
                        </a:cubicBezTo>
                        <a:cubicBezTo>
                          <a:pt x="133" y="72"/>
                          <a:pt x="76" y="122"/>
                          <a:pt x="67" y="130"/>
                        </a:cubicBezTo>
                        <a:cubicBezTo>
                          <a:pt x="58" y="137"/>
                          <a:pt x="46" y="146"/>
                          <a:pt x="23" y="141"/>
                        </a:cubicBezTo>
                        <a:cubicBezTo>
                          <a:pt x="19" y="126"/>
                          <a:pt x="0" y="113"/>
                          <a:pt x="0" y="11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" name="Freeform 222">
                    <a:extLst>
                      <a:ext uri="{FF2B5EF4-FFF2-40B4-BE49-F238E27FC236}">
                        <a16:creationId xmlns:a16="http://schemas.microsoft.com/office/drawing/2014/main" id="{D3FB4C74-E22D-0B81-D3D8-AED09C1DB20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4638" y="2954338"/>
                    <a:ext cx="317500" cy="319088"/>
                  </a:xfrm>
                  <a:custGeom>
                    <a:avLst/>
                    <a:gdLst>
                      <a:gd name="T0" fmla="*/ 171 w 171"/>
                      <a:gd name="T1" fmla="*/ 172 h 172"/>
                      <a:gd name="T2" fmla="*/ 29 w 171"/>
                      <a:gd name="T3" fmla="*/ 97 h 172"/>
                      <a:gd name="T4" fmla="*/ 33 w 171"/>
                      <a:gd name="T5" fmla="*/ 0 h 172"/>
                      <a:gd name="T6" fmla="*/ 171 w 171"/>
                      <a:gd name="T7" fmla="*/ 172 h 1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71" h="172">
                        <a:moveTo>
                          <a:pt x="171" y="172"/>
                        </a:moveTo>
                        <a:cubicBezTo>
                          <a:pt x="171" y="172"/>
                          <a:pt x="57" y="148"/>
                          <a:pt x="29" y="97"/>
                        </a:cubicBezTo>
                        <a:cubicBezTo>
                          <a:pt x="0" y="43"/>
                          <a:pt x="33" y="0"/>
                          <a:pt x="33" y="0"/>
                        </a:cubicBezTo>
                        <a:lnTo>
                          <a:pt x="171" y="17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" name="Freeform 223">
                    <a:extLst>
                      <a:ext uri="{FF2B5EF4-FFF2-40B4-BE49-F238E27FC236}">
                        <a16:creationId xmlns:a16="http://schemas.microsoft.com/office/drawing/2014/main" id="{CB1BB0C0-018A-FC73-1C91-C03D2323AF6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67975" y="2906713"/>
                    <a:ext cx="520700" cy="411163"/>
                  </a:xfrm>
                  <a:custGeom>
                    <a:avLst/>
                    <a:gdLst>
                      <a:gd name="T0" fmla="*/ 153 w 281"/>
                      <a:gd name="T1" fmla="*/ 222 h 222"/>
                      <a:gd name="T2" fmla="*/ 62 w 281"/>
                      <a:gd name="T3" fmla="*/ 147 h 222"/>
                      <a:gd name="T4" fmla="*/ 0 w 281"/>
                      <a:gd name="T5" fmla="*/ 23 h 222"/>
                      <a:gd name="T6" fmla="*/ 31 w 281"/>
                      <a:gd name="T7" fmla="*/ 8 h 222"/>
                      <a:gd name="T8" fmla="*/ 158 w 281"/>
                      <a:gd name="T9" fmla="*/ 64 h 222"/>
                      <a:gd name="T10" fmla="*/ 281 w 281"/>
                      <a:gd name="T11" fmla="*/ 219 h 222"/>
                      <a:gd name="T12" fmla="*/ 153 w 281"/>
                      <a:gd name="T13" fmla="*/ 222 h 2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1" h="222">
                        <a:moveTo>
                          <a:pt x="153" y="222"/>
                        </a:moveTo>
                        <a:cubicBezTo>
                          <a:pt x="153" y="222"/>
                          <a:pt x="136" y="170"/>
                          <a:pt x="62" y="147"/>
                        </a:cubicBezTo>
                        <a:cubicBezTo>
                          <a:pt x="16" y="134"/>
                          <a:pt x="0" y="23"/>
                          <a:pt x="0" y="23"/>
                        </a:cubicBezTo>
                        <a:cubicBezTo>
                          <a:pt x="0" y="23"/>
                          <a:pt x="17" y="10"/>
                          <a:pt x="31" y="8"/>
                        </a:cubicBezTo>
                        <a:cubicBezTo>
                          <a:pt x="64" y="0"/>
                          <a:pt x="115" y="18"/>
                          <a:pt x="158" y="64"/>
                        </a:cubicBezTo>
                        <a:cubicBezTo>
                          <a:pt x="219" y="128"/>
                          <a:pt x="281" y="219"/>
                          <a:pt x="281" y="219"/>
                        </a:cubicBezTo>
                        <a:lnTo>
                          <a:pt x="153" y="222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" name="Freeform 224">
                    <a:extLst>
                      <a:ext uri="{FF2B5EF4-FFF2-40B4-BE49-F238E27FC236}">
                        <a16:creationId xmlns:a16="http://schemas.microsoft.com/office/drawing/2014/main" id="{CD08048D-1674-14D6-BE97-B76C0EF3EF6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9413" y="3076575"/>
                    <a:ext cx="247650" cy="242888"/>
                  </a:xfrm>
                  <a:custGeom>
                    <a:avLst/>
                    <a:gdLst>
                      <a:gd name="T0" fmla="*/ 121 w 133"/>
                      <a:gd name="T1" fmla="*/ 129 h 131"/>
                      <a:gd name="T2" fmla="*/ 64 w 133"/>
                      <a:gd name="T3" fmla="*/ 62 h 131"/>
                      <a:gd name="T4" fmla="*/ 0 w 133"/>
                      <a:gd name="T5" fmla="*/ 0 h 131"/>
                      <a:gd name="T6" fmla="*/ 64 w 133"/>
                      <a:gd name="T7" fmla="*/ 57 h 131"/>
                      <a:gd name="T8" fmla="*/ 133 w 133"/>
                      <a:gd name="T9" fmla="*/ 131 h 131"/>
                      <a:gd name="T10" fmla="*/ 121 w 133"/>
                      <a:gd name="T11" fmla="*/ 129 h 1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33" h="131">
                        <a:moveTo>
                          <a:pt x="121" y="129"/>
                        </a:moveTo>
                        <a:cubicBezTo>
                          <a:pt x="121" y="129"/>
                          <a:pt x="99" y="76"/>
                          <a:pt x="64" y="62"/>
                        </a:cubicBezTo>
                        <a:cubicBezTo>
                          <a:pt x="27" y="47"/>
                          <a:pt x="0" y="0"/>
                          <a:pt x="0" y="0"/>
                        </a:cubicBezTo>
                        <a:cubicBezTo>
                          <a:pt x="0" y="0"/>
                          <a:pt x="27" y="33"/>
                          <a:pt x="64" y="57"/>
                        </a:cubicBezTo>
                        <a:cubicBezTo>
                          <a:pt x="101" y="81"/>
                          <a:pt x="133" y="131"/>
                          <a:pt x="133" y="131"/>
                        </a:cubicBezTo>
                        <a:lnTo>
                          <a:pt x="121" y="129"/>
                        </a:ln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Freeform 225">
                    <a:extLst>
                      <a:ext uri="{FF2B5EF4-FFF2-40B4-BE49-F238E27FC236}">
                        <a16:creationId xmlns:a16="http://schemas.microsoft.com/office/drawing/2014/main" id="{1A6C9FAD-486C-E64A-CE9C-06CA01D528B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3063" y="2906713"/>
                    <a:ext cx="430213" cy="357188"/>
                  </a:xfrm>
                  <a:custGeom>
                    <a:avLst/>
                    <a:gdLst>
                      <a:gd name="T0" fmla="*/ 232 w 232"/>
                      <a:gd name="T1" fmla="*/ 182 h 193"/>
                      <a:gd name="T2" fmla="*/ 59 w 232"/>
                      <a:gd name="T3" fmla="*/ 13 h 193"/>
                      <a:gd name="T4" fmla="*/ 3 w 232"/>
                      <a:gd name="T5" fmla="*/ 6 h 193"/>
                      <a:gd name="T6" fmla="*/ 129 w 232"/>
                      <a:gd name="T7" fmla="*/ 156 h 193"/>
                      <a:gd name="T8" fmla="*/ 232 w 232"/>
                      <a:gd name="T9" fmla="*/ 182 h 1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2" h="193">
                        <a:moveTo>
                          <a:pt x="232" y="182"/>
                        </a:moveTo>
                        <a:cubicBezTo>
                          <a:pt x="232" y="182"/>
                          <a:pt x="112" y="25"/>
                          <a:pt x="59" y="13"/>
                        </a:cubicBezTo>
                        <a:cubicBezTo>
                          <a:pt x="7" y="0"/>
                          <a:pt x="3" y="6"/>
                          <a:pt x="3" y="6"/>
                        </a:cubicBezTo>
                        <a:cubicBezTo>
                          <a:pt x="3" y="6"/>
                          <a:pt x="0" y="89"/>
                          <a:pt x="129" y="156"/>
                        </a:cubicBezTo>
                        <a:cubicBezTo>
                          <a:pt x="203" y="193"/>
                          <a:pt x="232" y="182"/>
                          <a:pt x="232" y="182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" name="Freeform 226">
                    <a:extLst>
                      <a:ext uri="{FF2B5EF4-FFF2-40B4-BE49-F238E27FC236}">
                        <a16:creationId xmlns:a16="http://schemas.microsoft.com/office/drawing/2014/main" id="{359A7EBB-677B-A70A-E83A-6AC23FF9583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2413" y="2862263"/>
                    <a:ext cx="125413" cy="106363"/>
                  </a:xfrm>
                  <a:custGeom>
                    <a:avLst/>
                    <a:gdLst>
                      <a:gd name="T0" fmla="*/ 68 w 68"/>
                      <a:gd name="T1" fmla="*/ 30 h 58"/>
                      <a:gd name="T2" fmla="*/ 58 w 68"/>
                      <a:gd name="T3" fmla="*/ 14 h 58"/>
                      <a:gd name="T4" fmla="*/ 39 w 68"/>
                      <a:gd name="T5" fmla="*/ 0 h 58"/>
                      <a:gd name="T6" fmla="*/ 31 w 68"/>
                      <a:gd name="T7" fmla="*/ 24 h 58"/>
                      <a:gd name="T8" fmla="*/ 18 w 68"/>
                      <a:gd name="T9" fmla="*/ 37 h 58"/>
                      <a:gd name="T10" fmla="*/ 0 w 68"/>
                      <a:gd name="T11" fmla="*/ 38 h 58"/>
                      <a:gd name="T12" fmla="*/ 36 w 68"/>
                      <a:gd name="T13" fmla="*/ 55 h 58"/>
                      <a:gd name="T14" fmla="*/ 68 w 68"/>
                      <a:gd name="T15" fmla="*/ 30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8" h="58">
                        <a:moveTo>
                          <a:pt x="68" y="30"/>
                        </a:moveTo>
                        <a:cubicBezTo>
                          <a:pt x="58" y="14"/>
                          <a:pt x="58" y="14"/>
                          <a:pt x="58" y="14"/>
                        </a:cubicBezTo>
                        <a:cubicBezTo>
                          <a:pt x="39" y="0"/>
                          <a:pt x="39" y="0"/>
                          <a:pt x="39" y="0"/>
                        </a:cubicBezTo>
                        <a:cubicBezTo>
                          <a:pt x="39" y="0"/>
                          <a:pt x="33" y="15"/>
                          <a:pt x="31" y="24"/>
                        </a:cubicBezTo>
                        <a:cubicBezTo>
                          <a:pt x="30" y="32"/>
                          <a:pt x="21" y="37"/>
                          <a:pt x="18" y="37"/>
                        </a:cubicBezTo>
                        <a:cubicBezTo>
                          <a:pt x="10" y="39"/>
                          <a:pt x="0" y="38"/>
                          <a:pt x="0" y="38"/>
                        </a:cubicBezTo>
                        <a:cubicBezTo>
                          <a:pt x="0" y="38"/>
                          <a:pt x="32" y="50"/>
                          <a:pt x="36" y="55"/>
                        </a:cubicBezTo>
                        <a:cubicBezTo>
                          <a:pt x="41" y="58"/>
                          <a:pt x="68" y="30"/>
                          <a:pt x="68" y="30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4" name="Freeform 227">
                    <a:extLst>
                      <a:ext uri="{FF2B5EF4-FFF2-40B4-BE49-F238E27FC236}">
                        <a16:creationId xmlns:a16="http://schemas.microsoft.com/office/drawing/2014/main" id="{BE901294-2988-E3CC-77D3-EE66A9270C0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3363" y="2800350"/>
                    <a:ext cx="100013" cy="131763"/>
                  </a:xfrm>
                  <a:custGeom>
                    <a:avLst/>
                    <a:gdLst>
                      <a:gd name="T0" fmla="*/ 13 w 54"/>
                      <a:gd name="T1" fmla="*/ 71 h 71"/>
                      <a:gd name="T2" fmla="*/ 31 w 54"/>
                      <a:gd name="T3" fmla="*/ 70 h 71"/>
                      <a:gd name="T4" fmla="*/ 41 w 54"/>
                      <a:gd name="T5" fmla="*/ 61 h 71"/>
                      <a:gd name="T6" fmla="*/ 45 w 54"/>
                      <a:gd name="T7" fmla="*/ 46 h 71"/>
                      <a:gd name="T8" fmla="*/ 51 w 54"/>
                      <a:gd name="T9" fmla="*/ 41 h 71"/>
                      <a:gd name="T10" fmla="*/ 47 w 54"/>
                      <a:gd name="T11" fmla="*/ 32 h 71"/>
                      <a:gd name="T12" fmla="*/ 44 w 54"/>
                      <a:gd name="T13" fmla="*/ 3 h 71"/>
                      <a:gd name="T14" fmla="*/ 30 w 54"/>
                      <a:gd name="T15" fmla="*/ 0 h 71"/>
                      <a:gd name="T16" fmla="*/ 18 w 54"/>
                      <a:gd name="T17" fmla="*/ 7 h 71"/>
                      <a:gd name="T18" fmla="*/ 0 w 54"/>
                      <a:gd name="T19" fmla="*/ 40 h 71"/>
                      <a:gd name="T20" fmla="*/ 3 w 54"/>
                      <a:gd name="T21" fmla="*/ 42 h 71"/>
                      <a:gd name="T22" fmla="*/ 7 w 54"/>
                      <a:gd name="T23" fmla="*/ 43 h 71"/>
                      <a:gd name="T24" fmla="*/ 8 w 54"/>
                      <a:gd name="T25" fmla="*/ 70 h 71"/>
                      <a:gd name="T26" fmla="*/ 13 w 54"/>
                      <a:gd name="T27" fmla="*/ 71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54" h="71">
                        <a:moveTo>
                          <a:pt x="13" y="71"/>
                        </a:moveTo>
                        <a:cubicBezTo>
                          <a:pt x="17" y="71"/>
                          <a:pt x="25" y="71"/>
                          <a:pt x="31" y="70"/>
                        </a:cubicBezTo>
                        <a:cubicBezTo>
                          <a:pt x="40" y="69"/>
                          <a:pt x="41" y="61"/>
                          <a:pt x="41" y="61"/>
                        </a:cubicBezTo>
                        <a:cubicBezTo>
                          <a:pt x="45" y="46"/>
                          <a:pt x="45" y="46"/>
                          <a:pt x="45" y="46"/>
                        </a:cubicBezTo>
                        <a:cubicBezTo>
                          <a:pt x="45" y="46"/>
                          <a:pt x="48" y="44"/>
                          <a:pt x="51" y="41"/>
                        </a:cubicBezTo>
                        <a:cubicBezTo>
                          <a:pt x="52" y="40"/>
                          <a:pt x="54" y="34"/>
                          <a:pt x="47" y="32"/>
                        </a:cubicBezTo>
                        <a:cubicBezTo>
                          <a:pt x="37" y="28"/>
                          <a:pt x="44" y="3"/>
                          <a:pt x="44" y="3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18" y="7"/>
                          <a:pt x="18" y="7"/>
                          <a:pt x="18" y="7"/>
                        </a:cubicBezTo>
                        <a:cubicBezTo>
                          <a:pt x="0" y="40"/>
                          <a:pt x="0" y="40"/>
                          <a:pt x="0" y="40"/>
                        </a:cubicBezTo>
                        <a:cubicBezTo>
                          <a:pt x="0" y="40"/>
                          <a:pt x="1" y="42"/>
                          <a:pt x="3" y="42"/>
                        </a:cubicBezTo>
                        <a:cubicBezTo>
                          <a:pt x="6" y="42"/>
                          <a:pt x="7" y="43"/>
                          <a:pt x="7" y="43"/>
                        </a:cubicBezTo>
                        <a:cubicBezTo>
                          <a:pt x="7" y="43"/>
                          <a:pt x="8" y="69"/>
                          <a:pt x="8" y="70"/>
                        </a:cubicBezTo>
                        <a:cubicBezTo>
                          <a:pt x="9" y="71"/>
                          <a:pt x="10" y="71"/>
                          <a:pt x="13" y="71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" name="Freeform 228">
                    <a:extLst>
                      <a:ext uri="{FF2B5EF4-FFF2-40B4-BE49-F238E27FC236}">
                        <a16:creationId xmlns:a16="http://schemas.microsoft.com/office/drawing/2014/main" id="{084CAD25-1199-1072-A533-63A2789F37A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5588" y="2849563"/>
                    <a:ext cx="20638" cy="7938"/>
                  </a:xfrm>
                  <a:custGeom>
                    <a:avLst/>
                    <a:gdLst>
                      <a:gd name="T0" fmla="*/ 1 w 11"/>
                      <a:gd name="T1" fmla="*/ 3 h 5"/>
                      <a:gd name="T2" fmla="*/ 3 w 11"/>
                      <a:gd name="T3" fmla="*/ 5 h 5"/>
                      <a:gd name="T4" fmla="*/ 10 w 11"/>
                      <a:gd name="T5" fmla="*/ 5 h 5"/>
                      <a:gd name="T6" fmla="*/ 2 w 11"/>
                      <a:gd name="T7" fmla="*/ 1 h 5"/>
                      <a:gd name="T8" fmla="*/ 1 w 11"/>
                      <a:gd name="T9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" h="5">
                        <a:moveTo>
                          <a:pt x="1" y="3"/>
                        </a:moveTo>
                        <a:cubicBezTo>
                          <a:pt x="1" y="5"/>
                          <a:pt x="1" y="5"/>
                          <a:pt x="3" y="5"/>
                        </a:cubicBezTo>
                        <a:cubicBezTo>
                          <a:pt x="5" y="5"/>
                          <a:pt x="8" y="5"/>
                          <a:pt x="10" y="5"/>
                        </a:cubicBezTo>
                        <a:cubicBezTo>
                          <a:pt x="11" y="5"/>
                          <a:pt x="7" y="3"/>
                          <a:pt x="2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" name="Freeform 229">
                    <a:extLst>
                      <a:ext uri="{FF2B5EF4-FFF2-40B4-BE49-F238E27FC236}">
                        <a16:creationId xmlns:a16="http://schemas.microsoft.com/office/drawing/2014/main" id="{6D3A71C6-46DB-208F-4BDD-97D47F4635B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2263" y="2951163"/>
                    <a:ext cx="44450" cy="104775"/>
                  </a:xfrm>
                  <a:custGeom>
                    <a:avLst/>
                    <a:gdLst>
                      <a:gd name="T0" fmla="*/ 24 w 24"/>
                      <a:gd name="T1" fmla="*/ 57 h 57"/>
                      <a:gd name="T2" fmla="*/ 22 w 24"/>
                      <a:gd name="T3" fmla="*/ 0 h 57"/>
                      <a:gd name="T4" fmla="*/ 0 w 24"/>
                      <a:gd name="T5" fmla="*/ 8 h 57"/>
                      <a:gd name="T6" fmla="*/ 24 w 24"/>
                      <a:gd name="T7" fmla="*/ 57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4" h="57">
                        <a:moveTo>
                          <a:pt x="24" y="57"/>
                        </a:moveTo>
                        <a:cubicBezTo>
                          <a:pt x="24" y="57"/>
                          <a:pt x="8" y="28"/>
                          <a:pt x="22" y="0"/>
                        </a:cubicBezTo>
                        <a:cubicBezTo>
                          <a:pt x="17" y="5"/>
                          <a:pt x="6" y="6"/>
                          <a:pt x="0" y="8"/>
                        </a:cubicBezTo>
                        <a:cubicBezTo>
                          <a:pt x="0" y="32"/>
                          <a:pt x="24" y="57"/>
                          <a:pt x="24" y="57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Freeform 230">
                    <a:extLst>
                      <a:ext uri="{FF2B5EF4-FFF2-40B4-BE49-F238E27FC236}">
                        <a16:creationId xmlns:a16="http://schemas.microsoft.com/office/drawing/2014/main" id="{8AADB4E9-E062-93FA-215E-B4519055209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72688" y="2957513"/>
                    <a:ext cx="188913" cy="74613"/>
                  </a:xfrm>
                  <a:custGeom>
                    <a:avLst/>
                    <a:gdLst>
                      <a:gd name="T0" fmla="*/ 94 w 119"/>
                      <a:gd name="T1" fmla="*/ 47 h 47"/>
                      <a:gd name="T2" fmla="*/ 0 w 119"/>
                      <a:gd name="T3" fmla="*/ 12 h 47"/>
                      <a:gd name="T4" fmla="*/ 2 w 119"/>
                      <a:gd name="T5" fmla="*/ 0 h 47"/>
                      <a:gd name="T6" fmla="*/ 119 w 119"/>
                      <a:gd name="T7" fmla="*/ 23 h 47"/>
                      <a:gd name="T8" fmla="*/ 94 w 119"/>
                      <a:gd name="T9" fmla="*/ 47 h 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9" h="47">
                        <a:moveTo>
                          <a:pt x="94" y="47"/>
                        </a:moveTo>
                        <a:lnTo>
                          <a:pt x="0" y="12"/>
                        </a:lnTo>
                        <a:lnTo>
                          <a:pt x="2" y="0"/>
                        </a:lnTo>
                        <a:lnTo>
                          <a:pt x="119" y="23"/>
                        </a:lnTo>
                        <a:lnTo>
                          <a:pt x="94" y="47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" name="Freeform 231">
                    <a:extLst>
                      <a:ext uri="{FF2B5EF4-FFF2-40B4-BE49-F238E27FC236}">
                        <a16:creationId xmlns:a16="http://schemas.microsoft.com/office/drawing/2014/main" id="{1C7A01DC-9E4A-7CA6-65E9-7EE6BFDF30D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15563" y="2954338"/>
                    <a:ext cx="434975" cy="128588"/>
                  </a:xfrm>
                  <a:custGeom>
                    <a:avLst/>
                    <a:gdLst>
                      <a:gd name="T0" fmla="*/ 2 w 235"/>
                      <a:gd name="T1" fmla="*/ 16 h 69"/>
                      <a:gd name="T2" fmla="*/ 82 w 235"/>
                      <a:gd name="T3" fmla="*/ 33 h 69"/>
                      <a:gd name="T4" fmla="*/ 201 w 235"/>
                      <a:gd name="T5" fmla="*/ 0 h 69"/>
                      <a:gd name="T6" fmla="*/ 235 w 235"/>
                      <a:gd name="T7" fmla="*/ 35 h 69"/>
                      <a:gd name="T8" fmla="*/ 120 w 235"/>
                      <a:gd name="T9" fmla="*/ 65 h 69"/>
                      <a:gd name="T10" fmla="*/ 59 w 235"/>
                      <a:gd name="T11" fmla="*/ 61 h 69"/>
                      <a:gd name="T12" fmla="*/ 0 w 235"/>
                      <a:gd name="T13" fmla="*/ 42 h 69"/>
                      <a:gd name="T14" fmla="*/ 2 w 235"/>
                      <a:gd name="T15" fmla="*/ 16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35" h="69">
                        <a:moveTo>
                          <a:pt x="2" y="16"/>
                        </a:moveTo>
                        <a:cubicBezTo>
                          <a:pt x="82" y="33"/>
                          <a:pt x="82" y="33"/>
                          <a:pt x="82" y="33"/>
                        </a:cubicBezTo>
                        <a:cubicBezTo>
                          <a:pt x="201" y="0"/>
                          <a:pt x="201" y="0"/>
                          <a:pt x="201" y="0"/>
                        </a:cubicBezTo>
                        <a:cubicBezTo>
                          <a:pt x="235" y="35"/>
                          <a:pt x="235" y="35"/>
                          <a:pt x="235" y="35"/>
                        </a:cubicBezTo>
                        <a:cubicBezTo>
                          <a:pt x="235" y="35"/>
                          <a:pt x="132" y="62"/>
                          <a:pt x="120" y="65"/>
                        </a:cubicBezTo>
                        <a:cubicBezTo>
                          <a:pt x="108" y="67"/>
                          <a:pt x="84" y="69"/>
                          <a:pt x="59" y="61"/>
                        </a:cubicBezTo>
                        <a:cubicBezTo>
                          <a:pt x="42" y="56"/>
                          <a:pt x="24" y="50"/>
                          <a:pt x="0" y="42"/>
                        </a:cubicBezTo>
                        <a:lnTo>
                          <a:pt x="2" y="16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" name="Freeform 232">
                    <a:extLst>
                      <a:ext uri="{FF2B5EF4-FFF2-40B4-BE49-F238E27FC236}">
                        <a16:creationId xmlns:a16="http://schemas.microsoft.com/office/drawing/2014/main" id="{0BE464DA-0CC2-7F93-F7B7-7B092B68158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3525" y="2782888"/>
                    <a:ext cx="134938" cy="225425"/>
                  </a:xfrm>
                  <a:custGeom>
                    <a:avLst/>
                    <a:gdLst>
                      <a:gd name="T0" fmla="*/ 52 w 73"/>
                      <a:gd name="T1" fmla="*/ 19 h 122"/>
                      <a:gd name="T2" fmla="*/ 0 w 73"/>
                      <a:gd name="T3" fmla="*/ 9 h 122"/>
                      <a:gd name="T4" fmla="*/ 2 w 73"/>
                      <a:gd name="T5" fmla="*/ 17 h 122"/>
                      <a:gd name="T6" fmla="*/ 19 w 73"/>
                      <a:gd name="T7" fmla="*/ 56 h 122"/>
                      <a:gd name="T8" fmla="*/ 6 w 73"/>
                      <a:gd name="T9" fmla="*/ 107 h 122"/>
                      <a:gd name="T10" fmla="*/ 70 w 73"/>
                      <a:gd name="T11" fmla="*/ 76 h 122"/>
                      <a:gd name="T12" fmla="*/ 52 w 73"/>
                      <a:gd name="T13" fmla="*/ 19 h 1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3" h="122">
                        <a:moveTo>
                          <a:pt x="52" y="19"/>
                        </a:moveTo>
                        <a:cubicBezTo>
                          <a:pt x="17" y="1"/>
                          <a:pt x="4" y="0"/>
                          <a:pt x="0" y="9"/>
                        </a:cubicBezTo>
                        <a:cubicBezTo>
                          <a:pt x="0" y="11"/>
                          <a:pt x="0" y="15"/>
                          <a:pt x="2" y="17"/>
                        </a:cubicBezTo>
                        <a:cubicBezTo>
                          <a:pt x="12" y="17"/>
                          <a:pt x="19" y="36"/>
                          <a:pt x="19" y="56"/>
                        </a:cubicBezTo>
                        <a:cubicBezTo>
                          <a:pt x="17" y="75"/>
                          <a:pt x="16" y="102"/>
                          <a:pt x="6" y="107"/>
                        </a:cubicBezTo>
                        <a:cubicBezTo>
                          <a:pt x="34" y="117"/>
                          <a:pt x="73" y="122"/>
                          <a:pt x="70" y="76"/>
                        </a:cubicBezTo>
                        <a:cubicBezTo>
                          <a:pt x="70" y="62"/>
                          <a:pt x="55" y="24"/>
                          <a:pt x="52" y="19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0" name="Freeform 233">
                    <a:extLst>
                      <a:ext uri="{FF2B5EF4-FFF2-40B4-BE49-F238E27FC236}">
                        <a16:creationId xmlns:a16="http://schemas.microsoft.com/office/drawing/2014/main" id="{E557C2AA-5A0C-7D2F-B0E9-666A634A52D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8613" y="3302000"/>
                    <a:ext cx="563563" cy="241300"/>
                  </a:xfrm>
                  <a:custGeom>
                    <a:avLst/>
                    <a:gdLst>
                      <a:gd name="T0" fmla="*/ 267 w 304"/>
                      <a:gd name="T1" fmla="*/ 0 h 130"/>
                      <a:gd name="T2" fmla="*/ 304 w 304"/>
                      <a:gd name="T3" fmla="*/ 118 h 130"/>
                      <a:gd name="T4" fmla="*/ 26 w 304"/>
                      <a:gd name="T5" fmla="*/ 54 h 130"/>
                      <a:gd name="T6" fmla="*/ 1 w 304"/>
                      <a:gd name="T7" fmla="*/ 1 h 130"/>
                      <a:gd name="T8" fmla="*/ 267 w 304"/>
                      <a:gd name="T9" fmla="*/ 0 h 1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4" h="130">
                        <a:moveTo>
                          <a:pt x="267" y="0"/>
                        </a:moveTo>
                        <a:cubicBezTo>
                          <a:pt x="295" y="26"/>
                          <a:pt x="269" y="75"/>
                          <a:pt x="304" y="118"/>
                        </a:cubicBezTo>
                        <a:cubicBezTo>
                          <a:pt x="264" y="130"/>
                          <a:pt x="87" y="102"/>
                          <a:pt x="26" y="54"/>
                        </a:cubicBezTo>
                        <a:cubicBezTo>
                          <a:pt x="0" y="33"/>
                          <a:pt x="1" y="1"/>
                          <a:pt x="1" y="1"/>
                        </a:cubicBezTo>
                        <a:cubicBezTo>
                          <a:pt x="1" y="1"/>
                          <a:pt x="229" y="1"/>
                          <a:pt x="267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" name="Freeform 234">
                    <a:extLst>
                      <a:ext uri="{FF2B5EF4-FFF2-40B4-BE49-F238E27FC236}">
                        <a16:creationId xmlns:a16="http://schemas.microsoft.com/office/drawing/2014/main" id="{6A547EB6-BF29-7E11-DB33-26790068BAC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01250" y="2922588"/>
                    <a:ext cx="79375" cy="60325"/>
                  </a:xfrm>
                  <a:custGeom>
                    <a:avLst/>
                    <a:gdLst>
                      <a:gd name="T0" fmla="*/ 43 w 43"/>
                      <a:gd name="T1" fmla="*/ 20 h 32"/>
                      <a:gd name="T2" fmla="*/ 34 w 43"/>
                      <a:gd name="T3" fmla="*/ 16 h 32"/>
                      <a:gd name="T4" fmla="*/ 26 w 43"/>
                      <a:gd name="T5" fmla="*/ 10 h 32"/>
                      <a:gd name="T6" fmla="*/ 23 w 43"/>
                      <a:gd name="T7" fmla="*/ 7 h 32"/>
                      <a:gd name="T8" fmla="*/ 6 w 43"/>
                      <a:gd name="T9" fmla="*/ 0 h 32"/>
                      <a:gd name="T10" fmla="*/ 7 w 43"/>
                      <a:gd name="T11" fmla="*/ 4 h 32"/>
                      <a:gd name="T12" fmla="*/ 15 w 43"/>
                      <a:gd name="T13" fmla="*/ 9 h 32"/>
                      <a:gd name="T14" fmla="*/ 0 w 43"/>
                      <a:gd name="T15" fmla="*/ 13 h 32"/>
                      <a:gd name="T16" fmla="*/ 2 w 43"/>
                      <a:gd name="T17" fmla="*/ 16 h 32"/>
                      <a:gd name="T18" fmla="*/ 12 w 43"/>
                      <a:gd name="T19" fmla="*/ 15 h 32"/>
                      <a:gd name="T20" fmla="*/ 27 w 43"/>
                      <a:gd name="T21" fmla="*/ 27 h 32"/>
                      <a:gd name="T22" fmla="*/ 24 w 43"/>
                      <a:gd name="T23" fmla="*/ 28 h 32"/>
                      <a:gd name="T24" fmla="*/ 27 w 43"/>
                      <a:gd name="T25" fmla="*/ 32 h 32"/>
                      <a:gd name="T26" fmla="*/ 42 w 43"/>
                      <a:gd name="T27" fmla="*/ 30 h 32"/>
                      <a:gd name="T28" fmla="*/ 43 w 43"/>
                      <a:gd name="T29" fmla="*/ 20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3" h="32">
                        <a:moveTo>
                          <a:pt x="43" y="20"/>
                        </a:moveTo>
                        <a:cubicBezTo>
                          <a:pt x="43" y="20"/>
                          <a:pt x="38" y="18"/>
                          <a:pt x="34" y="16"/>
                        </a:cubicBezTo>
                        <a:cubicBezTo>
                          <a:pt x="30" y="13"/>
                          <a:pt x="26" y="10"/>
                          <a:pt x="26" y="10"/>
                        </a:cubicBezTo>
                        <a:cubicBezTo>
                          <a:pt x="26" y="10"/>
                          <a:pt x="24" y="8"/>
                          <a:pt x="23" y="7"/>
                        </a:cubicBezTo>
                        <a:cubicBezTo>
                          <a:pt x="22" y="7"/>
                          <a:pt x="13" y="3"/>
                          <a:pt x="6" y="0"/>
                        </a:cubicBezTo>
                        <a:cubicBezTo>
                          <a:pt x="5" y="0"/>
                          <a:pt x="6" y="3"/>
                          <a:pt x="7" y="4"/>
                        </a:cubicBezTo>
                        <a:cubicBezTo>
                          <a:pt x="8" y="5"/>
                          <a:pt x="15" y="9"/>
                          <a:pt x="15" y="9"/>
                        </a:cubicBezTo>
                        <a:cubicBezTo>
                          <a:pt x="15" y="9"/>
                          <a:pt x="3" y="12"/>
                          <a:pt x="0" y="13"/>
                        </a:cubicBezTo>
                        <a:cubicBezTo>
                          <a:pt x="0" y="13"/>
                          <a:pt x="1" y="15"/>
                          <a:pt x="2" y="16"/>
                        </a:cubicBezTo>
                        <a:cubicBezTo>
                          <a:pt x="4" y="16"/>
                          <a:pt x="12" y="15"/>
                          <a:pt x="12" y="15"/>
                        </a:cubicBezTo>
                        <a:cubicBezTo>
                          <a:pt x="27" y="27"/>
                          <a:pt x="27" y="27"/>
                          <a:pt x="27" y="27"/>
                        </a:cubicBezTo>
                        <a:cubicBezTo>
                          <a:pt x="24" y="28"/>
                          <a:pt x="24" y="28"/>
                          <a:pt x="24" y="28"/>
                        </a:cubicBezTo>
                        <a:cubicBezTo>
                          <a:pt x="27" y="32"/>
                          <a:pt x="27" y="32"/>
                          <a:pt x="27" y="32"/>
                        </a:cubicBezTo>
                        <a:cubicBezTo>
                          <a:pt x="27" y="32"/>
                          <a:pt x="33" y="32"/>
                          <a:pt x="42" y="30"/>
                        </a:cubicBezTo>
                        <a:lnTo>
                          <a:pt x="43" y="2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54" name="Freeform 180">
                  <a:extLst>
                    <a:ext uri="{FF2B5EF4-FFF2-40B4-BE49-F238E27FC236}">
                      <a16:creationId xmlns:a16="http://schemas.microsoft.com/office/drawing/2014/main" id="{F6CFB111-F840-C934-8B14-E44E6728423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532353" y="4827346"/>
                  <a:ext cx="357122" cy="260510"/>
                </a:xfrm>
                <a:custGeom>
                  <a:avLst/>
                  <a:gdLst>
                    <a:gd name="T0" fmla="*/ 308 w 354"/>
                    <a:gd name="T1" fmla="*/ 0 h 259"/>
                    <a:gd name="T2" fmla="*/ 300 w 354"/>
                    <a:gd name="T3" fmla="*/ 0 h 259"/>
                    <a:gd name="T4" fmla="*/ 300 w 354"/>
                    <a:gd name="T5" fmla="*/ 14 h 259"/>
                    <a:gd name="T6" fmla="*/ 283 w 354"/>
                    <a:gd name="T7" fmla="*/ 0 h 259"/>
                    <a:gd name="T8" fmla="*/ 283 w 354"/>
                    <a:gd name="T9" fmla="*/ 0 h 259"/>
                    <a:gd name="T10" fmla="*/ 261 w 354"/>
                    <a:gd name="T11" fmla="*/ 0 h 259"/>
                    <a:gd name="T12" fmla="*/ 262 w 354"/>
                    <a:gd name="T13" fmla="*/ 6 h 259"/>
                    <a:gd name="T14" fmla="*/ 277 w 354"/>
                    <a:gd name="T15" fmla="*/ 12 h 259"/>
                    <a:gd name="T16" fmla="*/ 295 w 354"/>
                    <a:gd name="T17" fmla="*/ 36 h 259"/>
                    <a:gd name="T18" fmla="*/ 292 w 354"/>
                    <a:gd name="T19" fmla="*/ 237 h 259"/>
                    <a:gd name="T20" fmla="*/ 182 w 354"/>
                    <a:gd name="T21" fmla="*/ 111 h 259"/>
                    <a:gd name="T22" fmla="*/ 133 w 354"/>
                    <a:gd name="T23" fmla="*/ 84 h 259"/>
                    <a:gd name="T24" fmla="*/ 84 w 354"/>
                    <a:gd name="T25" fmla="*/ 117 h 259"/>
                    <a:gd name="T26" fmla="*/ 0 w 354"/>
                    <a:gd name="T27" fmla="*/ 259 h 259"/>
                    <a:gd name="T28" fmla="*/ 140 w 354"/>
                    <a:gd name="T29" fmla="*/ 259 h 259"/>
                    <a:gd name="T30" fmla="*/ 147 w 354"/>
                    <a:gd name="T31" fmla="*/ 188 h 259"/>
                    <a:gd name="T32" fmla="*/ 230 w 354"/>
                    <a:gd name="T33" fmla="*/ 259 h 259"/>
                    <a:gd name="T34" fmla="*/ 354 w 354"/>
                    <a:gd name="T35" fmla="*/ 259 h 259"/>
                    <a:gd name="T36" fmla="*/ 312 w 354"/>
                    <a:gd name="T37" fmla="*/ 35 h 259"/>
                    <a:gd name="T38" fmla="*/ 312 w 354"/>
                    <a:gd name="T39" fmla="*/ 24 h 259"/>
                    <a:gd name="T40" fmla="*/ 308 w 354"/>
                    <a:gd name="T41" fmla="*/ 0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4" h="259">
                      <a:moveTo>
                        <a:pt x="308" y="0"/>
                      </a:moveTo>
                      <a:cubicBezTo>
                        <a:pt x="300" y="0"/>
                        <a:pt x="300" y="0"/>
                        <a:pt x="300" y="0"/>
                      </a:cubicBezTo>
                      <a:cubicBezTo>
                        <a:pt x="300" y="14"/>
                        <a:pt x="300" y="14"/>
                        <a:pt x="300" y="14"/>
                      </a:cubicBezTo>
                      <a:cubicBezTo>
                        <a:pt x="300" y="14"/>
                        <a:pt x="288" y="0"/>
                        <a:pt x="283" y="0"/>
                      </a:cubicBezTo>
                      <a:cubicBezTo>
                        <a:pt x="283" y="0"/>
                        <a:pt x="283" y="0"/>
                        <a:pt x="283" y="0"/>
                      </a:cubicBezTo>
                      <a:cubicBezTo>
                        <a:pt x="279" y="0"/>
                        <a:pt x="261" y="0"/>
                        <a:pt x="261" y="0"/>
                      </a:cubicBezTo>
                      <a:cubicBezTo>
                        <a:pt x="261" y="0"/>
                        <a:pt x="258" y="5"/>
                        <a:pt x="262" y="6"/>
                      </a:cubicBezTo>
                      <a:cubicBezTo>
                        <a:pt x="263" y="6"/>
                        <a:pt x="273" y="10"/>
                        <a:pt x="277" y="12"/>
                      </a:cubicBezTo>
                      <a:cubicBezTo>
                        <a:pt x="295" y="36"/>
                        <a:pt x="295" y="36"/>
                        <a:pt x="295" y="36"/>
                      </a:cubicBezTo>
                      <a:cubicBezTo>
                        <a:pt x="292" y="237"/>
                        <a:pt x="292" y="237"/>
                        <a:pt x="292" y="237"/>
                      </a:cubicBezTo>
                      <a:cubicBezTo>
                        <a:pt x="241" y="180"/>
                        <a:pt x="189" y="121"/>
                        <a:pt x="182" y="111"/>
                      </a:cubicBezTo>
                      <a:cubicBezTo>
                        <a:pt x="174" y="99"/>
                        <a:pt x="155" y="84"/>
                        <a:pt x="133" y="84"/>
                      </a:cubicBezTo>
                      <a:cubicBezTo>
                        <a:pt x="117" y="84"/>
                        <a:pt x="99" y="93"/>
                        <a:pt x="84" y="117"/>
                      </a:cubicBezTo>
                      <a:cubicBezTo>
                        <a:pt x="61" y="155"/>
                        <a:pt x="26" y="213"/>
                        <a:pt x="0" y="259"/>
                      </a:cubicBezTo>
                      <a:cubicBezTo>
                        <a:pt x="140" y="259"/>
                        <a:pt x="140" y="259"/>
                        <a:pt x="140" y="259"/>
                      </a:cubicBezTo>
                      <a:cubicBezTo>
                        <a:pt x="144" y="231"/>
                        <a:pt x="146" y="205"/>
                        <a:pt x="147" y="188"/>
                      </a:cubicBezTo>
                      <a:cubicBezTo>
                        <a:pt x="230" y="259"/>
                        <a:pt x="230" y="259"/>
                        <a:pt x="230" y="259"/>
                      </a:cubicBezTo>
                      <a:cubicBezTo>
                        <a:pt x="354" y="259"/>
                        <a:pt x="354" y="259"/>
                        <a:pt x="354" y="259"/>
                      </a:cubicBezTo>
                      <a:cubicBezTo>
                        <a:pt x="345" y="166"/>
                        <a:pt x="312" y="35"/>
                        <a:pt x="312" y="35"/>
                      </a:cubicBezTo>
                      <a:cubicBezTo>
                        <a:pt x="312" y="35"/>
                        <a:pt x="313" y="29"/>
                        <a:pt x="312" y="24"/>
                      </a:cubicBezTo>
                      <a:cubicBezTo>
                        <a:pt x="310" y="13"/>
                        <a:pt x="308" y="0"/>
                        <a:pt x="308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11" name="Group 5">
                <a:extLst>
                  <a:ext uri="{FF2B5EF4-FFF2-40B4-BE49-F238E27FC236}">
                    <a16:creationId xmlns:a16="http://schemas.microsoft.com/office/drawing/2014/main" id="{0586B0B2-19EA-4D86-9EF7-B8B1A7E78E70}"/>
                  </a:ext>
                </a:extLst>
              </p:cNvPr>
              <p:cNvGrpSpPr/>
              <p:nvPr/>
            </p:nvGrpSpPr>
            <p:grpSpPr>
              <a:xfrm>
                <a:off x="3081113" y="3935198"/>
                <a:ext cx="1695948" cy="1162398"/>
                <a:chOff x="3081113" y="3935198"/>
                <a:chExt cx="1695948" cy="1162398"/>
              </a:xfrm>
            </p:grpSpPr>
            <p:grpSp>
              <p:nvGrpSpPr>
                <p:cNvPr id="12" name="Group 1051">
                  <a:extLst>
                    <a:ext uri="{FF2B5EF4-FFF2-40B4-BE49-F238E27FC236}">
                      <a16:creationId xmlns:a16="http://schemas.microsoft.com/office/drawing/2014/main" id="{565685D1-BBAE-E8AB-9136-28E7D155BC04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096850" y="3935198"/>
                  <a:ext cx="947456" cy="851698"/>
                  <a:chOff x="6978651" y="4723607"/>
                  <a:chExt cx="1931987" cy="1736725"/>
                </a:xfrm>
              </p:grpSpPr>
              <p:sp>
                <p:nvSpPr>
                  <p:cNvPr id="38" name="Freeform 280">
                    <a:extLst>
                      <a:ext uri="{FF2B5EF4-FFF2-40B4-BE49-F238E27FC236}">
                        <a16:creationId xmlns:a16="http://schemas.microsoft.com/office/drawing/2014/main" id="{35DB3EDD-87BA-8565-5F7A-98CA234315B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075488" y="5322095"/>
                    <a:ext cx="139700" cy="82550"/>
                  </a:xfrm>
                  <a:custGeom>
                    <a:avLst/>
                    <a:gdLst>
                      <a:gd name="T0" fmla="*/ 71 w 71"/>
                      <a:gd name="T1" fmla="*/ 40 h 42"/>
                      <a:gd name="T2" fmla="*/ 60 w 71"/>
                      <a:gd name="T3" fmla="*/ 42 h 42"/>
                      <a:gd name="T4" fmla="*/ 47 w 71"/>
                      <a:gd name="T5" fmla="*/ 39 h 42"/>
                      <a:gd name="T6" fmla="*/ 42 w 71"/>
                      <a:gd name="T7" fmla="*/ 33 h 42"/>
                      <a:gd name="T8" fmla="*/ 45 w 71"/>
                      <a:gd name="T9" fmla="*/ 31 h 42"/>
                      <a:gd name="T10" fmla="*/ 19 w 71"/>
                      <a:gd name="T11" fmla="*/ 13 h 42"/>
                      <a:gd name="T12" fmla="*/ 4 w 71"/>
                      <a:gd name="T13" fmla="*/ 14 h 42"/>
                      <a:gd name="T14" fmla="*/ 1 w 71"/>
                      <a:gd name="T15" fmla="*/ 11 h 42"/>
                      <a:gd name="T16" fmla="*/ 21 w 71"/>
                      <a:gd name="T17" fmla="*/ 5 h 42"/>
                      <a:gd name="T18" fmla="*/ 35 w 71"/>
                      <a:gd name="T19" fmla="*/ 2 h 42"/>
                      <a:gd name="T20" fmla="*/ 40 w 71"/>
                      <a:gd name="T21" fmla="*/ 6 h 42"/>
                      <a:gd name="T22" fmla="*/ 68 w 71"/>
                      <a:gd name="T23" fmla="*/ 21 h 42"/>
                      <a:gd name="T24" fmla="*/ 71 w 71"/>
                      <a:gd name="T25" fmla="*/ 40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71" h="42">
                        <a:moveTo>
                          <a:pt x="71" y="40"/>
                        </a:moveTo>
                        <a:cubicBezTo>
                          <a:pt x="71" y="40"/>
                          <a:pt x="63" y="42"/>
                          <a:pt x="60" y="42"/>
                        </a:cubicBezTo>
                        <a:cubicBezTo>
                          <a:pt x="49" y="42"/>
                          <a:pt x="47" y="39"/>
                          <a:pt x="47" y="39"/>
                        </a:cubicBezTo>
                        <a:cubicBezTo>
                          <a:pt x="42" y="33"/>
                          <a:pt x="42" y="33"/>
                          <a:pt x="42" y="33"/>
                        </a:cubicBezTo>
                        <a:cubicBezTo>
                          <a:pt x="45" y="31"/>
                          <a:pt x="45" y="31"/>
                          <a:pt x="45" y="31"/>
                        </a:cubicBezTo>
                        <a:cubicBezTo>
                          <a:pt x="19" y="13"/>
                          <a:pt x="19" y="13"/>
                          <a:pt x="19" y="13"/>
                        </a:cubicBezTo>
                        <a:cubicBezTo>
                          <a:pt x="19" y="13"/>
                          <a:pt x="6" y="15"/>
                          <a:pt x="4" y="14"/>
                        </a:cubicBezTo>
                        <a:cubicBezTo>
                          <a:pt x="2" y="14"/>
                          <a:pt x="0" y="11"/>
                          <a:pt x="1" y="11"/>
                        </a:cubicBezTo>
                        <a:cubicBezTo>
                          <a:pt x="5" y="9"/>
                          <a:pt x="21" y="5"/>
                          <a:pt x="21" y="5"/>
                        </a:cubicBezTo>
                        <a:cubicBezTo>
                          <a:pt x="21" y="5"/>
                          <a:pt x="32" y="0"/>
                          <a:pt x="35" y="2"/>
                        </a:cubicBezTo>
                        <a:cubicBezTo>
                          <a:pt x="38" y="3"/>
                          <a:pt x="40" y="6"/>
                          <a:pt x="40" y="6"/>
                        </a:cubicBezTo>
                        <a:cubicBezTo>
                          <a:pt x="68" y="21"/>
                          <a:pt x="68" y="21"/>
                          <a:pt x="68" y="21"/>
                        </a:cubicBezTo>
                        <a:lnTo>
                          <a:pt x="71" y="4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" name="Freeform 281">
                    <a:extLst>
                      <a:ext uri="{FF2B5EF4-FFF2-40B4-BE49-F238E27FC236}">
                        <a16:creationId xmlns:a16="http://schemas.microsoft.com/office/drawing/2014/main" id="{12756659-013F-74DB-E6F5-C62645AFCAE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978651" y="4955382"/>
                    <a:ext cx="785813" cy="319088"/>
                  </a:xfrm>
                  <a:custGeom>
                    <a:avLst/>
                    <a:gdLst>
                      <a:gd name="T0" fmla="*/ 400 w 400"/>
                      <a:gd name="T1" fmla="*/ 96 h 163"/>
                      <a:gd name="T2" fmla="*/ 199 w 400"/>
                      <a:gd name="T3" fmla="*/ 146 h 163"/>
                      <a:gd name="T4" fmla="*/ 21 w 400"/>
                      <a:gd name="T5" fmla="*/ 163 h 163"/>
                      <a:gd name="T6" fmla="*/ 0 w 400"/>
                      <a:gd name="T7" fmla="*/ 142 h 163"/>
                      <a:gd name="T8" fmla="*/ 188 w 400"/>
                      <a:gd name="T9" fmla="*/ 100 h 163"/>
                      <a:gd name="T10" fmla="*/ 342 w 400"/>
                      <a:gd name="T11" fmla="*/ 0 h 163"/>
                      <a:gd name="T12" fmla="*/ 400 w 400"/>
                      <a:gd name="T13" fmla="*/ 96 h 1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00" h="163">
                        <a:moveTo>
                          <a:pt x="400" y="96"/>
                        </a:moveTo>
                        <a:cubicBezTo>
                          <a:pt x="400" y="96"/>
                          <a:pt x="268" y="137"/>
                          <a:pt x="199" y="146"/>
                        </a:cubicBezTo>
                        <a:cubicBezTo>
                          <a:pt x="130" y="154"/>
                          <a:pt x="21" y="163"/>
                          <a:pt x="21" y="163"/>
                        </a:cubicBezTo>
                        <a:cubicBezTo>
                          <a:pt x="21" y="163"/>
                          <a:pt x="0" y="151"/>
                          <a:pt x="0" y="142"/>
                        </a:cubicBezTo>
                        <a:cubicBezTo>
                          <a:pt x="59" y="127"/>
                          <a:pt x="141" y="104"/>
                          <a:pt x="188" y="100"/>
                        </a:cubicBezTo>
                        <a:cubicBezTo>
                          <a:pt x="246" y="73"/>
                          <a:pt x="342" y="0"/>
                          <a:pt x="342" y="0"/>
                        </a:cubicBezTo>
                        <a:lnTo>
                          <a:pt x="400" y="96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" name="Freeform 282">
                    <a:extLst>
                      <a:ext uri="{FF2B5EF4-FFF2-40B4-BE49-F238E27FC236}">
                        <a16:creationId xmlns:a16="http://schemas.microsoft.com/office/drawing/2014/main" id="{CD14CEFF-BF97-8C02-5779-6223053AFA4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135938" y="5620545"/>
                    <a:ext cx="774700" cy="719138"/>
                  </a:xfrm>
                  <a:custGeom>
                    <a:avLst/>
                    <a:gdLst>
                      <a:gd name="T0" fmla="*/ 17 w 394"/>
                      <a:gd name="T1" fmla="*/ 40 h 367"/>
                      <a:gd name="T2" fmla="*/ 146 w 394"/>
                      <a:gd name="T3" fmla="*/ 44 h 367"/>
                      <a:gd name="T4" fmla="*/ 173 w 394"/>
                      <a:gd name="T5" fmla="*/ 241 h 367"/>
                      <a:gd name="T6" fmla="*/ 349 w 394"/>
                      <a:gd name="T7" fmla="*/ 73 h 367"/>
                      <a:gd name="T8" fmla="*/ 391 w 394"/>
                      <a:gd name="T9" fmla="*/ 85 h 367"/>
                      <a:gd name="T10" fmla="*/ 206 w 394"/>
                      <a:gd name="T11" fmla="*/ 317 h 367"/>
                      <a:gd name="T12" fmla="*/ 106 w 394"/>
                      <a:gd name="T13" fmla="*/ 306 h 367"/>
                      <a:gd name="T14" fmla="*/ 0 w 394"/>
                      <a:gd name="T15" fmla="*/ 104 h 367"/>
                      <a:gd name="T16" fmla="*/ 17 w 394"/>
                      <a:gd name="T17" fmla="*/ 40 h 3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394" h="367">
                        <a:moveTo>
                          <a:pt x="17" y="40"/>
                        </a:moveTo>
                        <a:cubicBezTo>
                          <a:pt x="17" y="40"/>
                          <a:pt x="130" y="0"/>
                          <a:pt x="146" y="44"/>
                        </a:cubicBezTo>
                        <a:cubicBezTo>
                          <a:pt x="163" y="91"/>
                          <a:pt x="172" y="182"/>
                          <a:pt x="173" y="241"/>
                        </a:cubicBezTo>
                        <a:cubicBezTo>
                          <a:pt x="349" y="73"/>
                          <a:pt x="349" y="73"/>
                          <a:pt x="349" y="73"/>
                        </a:cubicBezTo>
                        <a:cubicBezTo>
                          <a:pt x="349" y="73"/>
                          <a:pt x="394" y="80"/>
                          <a:pt x="391" y="85"/>
                        </a:cubicBezTo>
                        <a:cubicBezTo>
                          <a:pt x="342" y="150"/>
                          <a:pt x="218" y="300"/>
                          <a:pt x="206" y="317"/>
                        </a:cubicBezTo>
                        <a:cubicBezTo>
                          <a:pt x="191" y="337"/>
                          <a:pt x="140" y="367"/>
                          <a:pt x="106" y="306"/>
                        </a:cubicBezTo>
                        <a:cubicBezTo>
                          <a:pt x="72" y="246"/>
                          <a:pt x="20" y="143"/>
                          <a:pt x="0" y="104"/>
                        </a:cubicBezTo>
                        <a:cubicBezTo>
                          <a:pt x="151" y="97"/>
                          <a:pt x="17" y="40"/>
                          <a:pt x="17" y="4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" name="Freeform 283">
                    <a:extLst>
                      <a:ext uri="{FF2B5EF4-FFF2-40B4-BE49-F238E27FC236}">
                        <a16:creationId xmlns:a16="http://schemas.microsoft.com/office/drawing/2014/main" id="{E8F13ED6-4A68-7889-568B-2018587D4D3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6813" y="4979195"/>
                    <a:ext cx="476250" cy="577850"/>
                  </a:xfrm>
                  <a:custGeom>
                    <a:avLst/>
                    <a:gdLst>
                      <a:gd name="T0" fmla="*/ 242 w 242"/>
                      <a:gd name="T1" fmla="*/ 295 h 295"/>
                      <a:gd name="T2" fmla="*/ 171 w 242"/>
                      <a:gd name="T3" fmla="*/ 242 h 295"/>
                      <a:gd name="T4" fmla="*/ 64 w 242"/>
                      <a:gd name="T5" fmla="*/ 159 h 295"/>
                      <a:gd name="T6" fmla="*/ 35 w 242"/>
                      <a:gd name="T7" fmla="*/ 0 h 295"/>
                      <a:gd name="T8" fmla="*/ 242 w 242"/>
                      <a:gd name="T9" fmla="*/ 295 h 2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2" h="295">
                        <a:moveTo>
                          <a:pt x="242" y="295"/>
                        </a:moveTo>
                        <a:cubicBezTo>
                          <a:pt x="242" y="295"/>
                          <a:pt x="196" y="254"/>
                          <a:pt x="171" y="242"/>
                        </a:cubicBezTo>
                        <a:cubicBezTo>
                          <a:pt x="130" y="221"/>
                          <a:pt x="93" y="197"/>
                          <a:pt x="64" y="159"/>
                        </a:cubicBezTo>
                        <a:cubicBezTo>
                          <a:pt x="0" y="74"/>
                          <a:pt x="35" y="0"/>
                          <a:pt x="35" y="0"/>
                        </a:cubicBezTo>
                        <a:cubicBezTo>
                          <a:pt x="242" y="295"/>
                          <a:pt x="242" y="295"/>
                          <a:pt x="242" y="295"/>
                        </a:cubicBezTo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2" name="Freeform 284">
                    <a:extLst>
                      <a:ext uri="{FF2B5EF4-FFF2-40B4-BE49-F238E27FC236}">
                        <a16:creationId xmlns:a16="http://schemas.microsoft.com/office/drawing/2014/main" id="{D2BDC0DE-8C54-6314-5E53-F7A17657782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66026" y="4920457"/>
                    <a:ext cx="841375" cy="669925"/>
                  </a:xfrm>
                  <a:custGeom>
                    <a:avLst/>
                    <a:gdLst>
                      <a:gd name="T0" fmla="*/ 231 w 428"/>
                      <a:gd name="T1" fmla="*/ 342 h 342"/>
                      <a:gd name="T2" fmla="*/ 52 w 428"/>
                      <a:gd name="T3" fmla="*/ 161 h 342"/>
                      <a:gd name="T4" fmla="*/ 7 w 428"/>
                      <a:gd name="T5" fmla="*/ 36 h 342"/>
                      <a:gd name="T6" fmla="*/ 46 w 428"/>
                      <a:gd name="T7" fmla="*/ 0 h 342"/>
                      <a:gd name="T8" fmla="*/ 238 w 428"/>
                      <a:gd name="T9" fmla="*/ 76 h 342"/>
                      <a:gd name="T10" fmla="*/ 428 w 428"/>
                      <a:gd name="T11" fmla="*/ 295 h 342"/>
                      <a:gd name="T12" fmla="*/ 231 w 428"/>
                      <a:gd name="T13" fmla="*/ 342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28" h="342">
                        <a:moveTo>
                          <a:pt x="231" y="342"/>
                        </a:moveTo>
                        <a:cubicBezTo>
                          <a:pt x="231" y="342"/>
                          <a:pt x="137" y="240"/>
                          <a:pt x="52" y="161"/>
                        </a:cubicBezTo>
                        <a:cubicBezTo>
                          <a:pt x="0" y="114"/>
                          <a:pt x="7" y="36"/>
                          <a:pt x="7" y="36"/>
                        </a:cubicBezTo>
                        <a:cubicBezTo>
                          <a:pt x="7" y="36"/>
                          <a:pt x="26" y="6"/>
                          <a:pt x="46" y="0"/>
                        </a:cubicBezTo>
                        <a:cubicBezTo>
                          <a:pt x="83" y="5"/>
                          <a:pt x="171" y="13"/>
                          <a:pt x="238" y="76"/>
                        </a:cubicBezTo>
                        <a:cubicBezTo>
                          <a:pt x="333" y="166"/>
                          <a:pt x="428" y="295"/>
                          <a:pt x="428" y="295"/>
                        </a:cubicBezTo>
                        <a:cubicBezTo>
                          <a:pt x="231" y="342"/>
                          <a:pt x="231" y="342"/>
                          <a:pt x="231" y="342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3" name="Freeform 285">
                    <a:extLst>
                      <a:ext uri="{FF2B5EF4-FFF2-40B4-BE49-F238E27FC236}">
                        <a16:creationId xmlns:a16="http://schemas.microsoft.com/office/drawing/2014/main" id="{86CD6F33-62A8-1D21-CCA7-3C2462674F5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704138" y="5168107"/>
                    <a:ext cx="355600" cy="409575"/>
                  </a:xfrm>
                  <a:custGeom>
                    <a:avLst/>
                    <a:gdLst>
                      <a:gd name="T0" fmla="*/ 0 w 181"/>
                      <a:gd name="T1" fmla="*/ 0 h 208"/>
                      <a:gd name="T2" fmla="*/ 88 w 181"/>
                      <a:gd name="T3" fmla="*/ 99 h 208"/>
                      <a:gd name="T4" fmla="*/ 164 w 181"/>
                      <a:gd name="T5" fmla="*/ 205 h 208"/>
                      <a:gd name="T6" fmla="*/ 181 w 181"/>
                      <a:gd name="T7" fmla="*/ 208 h 208"/>
                      <a:gd name="T8" fmla="*/ 88 w 181"/>
                      <a:gd name="T9" fmla="*/ 91 h 208"/>
                      <a:gd name="T10" fmla="*/ 0 w 181"/>
                      <a:gd name="T11" fmla="*/ 0 h 2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81" h="208">
                        <a:moveTo>
                          <a:pt x="0" y="0"/>
                        </a:moveTo>
                        <a:cubicBezTo>
                          <a:pt x="0" y="0"/>
                          <a:pt x="35" y="72"/>
                          <a:pt x="88" y="99"/>
                        </a:cubicBezTo>
                        <a:cubicBezTo>
                          <a:pt x="137" y="123"/>
                          <a:pt x="164" y="205"/>
                          <a:pt x="164" y="205"/>
                        </a:cubicBezTo>
                        <a:cubicBezTo>
                          <a:pt x="181" y="208"/>
                          <a:pt x="181" y="208"/>
                          <a:pt x="181" y="208"/>
                        </a:cubicBezTo>
                        <a:cubicBezTo>
                          <a:pt x="181" y="208"/>
                          <a:pt x="140" y="131"/>
                          <a:pt x="88" y="91"/>
                        </a:cubicBezTo>
                        <a:cubicBezTo>
                          <a:pt x="36" y="5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A0C9DC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4" name="Freeform 286">
                    <a:extLst>
                      <a:ext uri="{FF2B5EF4-FFF2-40B4-BE49-F238E27FC236}">
                        <a16:creationId xmlns:a16="http://schemas.microsoft.com/office/drawing/2014/main" id="{8DEE768C-2035-569B-B535-D3EF054E268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602538" y="4922045"/>
                    <a:ext cx="82550" cy="117475"/>
                  </a:xfrm>
                  <a:custGeom>
                    <a:avLst/>
                    <a:gdLst>
                      <a:gd name="T0" fmla="*/ 36 w 42"/>
                      <a:gd name="T1" fmla="*/ 0 h 60"/>
                      <a:gd name="T2" fmla="*/ 42 w 42"/>
                      <a:gd name="T3" fmla="*/ 4 h 60"/>
                      <a:gd name="T4" fmla="*/ 36 w 42"/>
                      <a:gd name="T5" fmla="*/ 52 h 60"/>
                      <a:gd name="T6" fmla="*/ 0 w 42"/>
                      <a:gd name="T7" fmla="*/ 47 h 60"/>
                      <a:gd name="T8" fmla="*/ 36 w 42"/>
                      <a:gd name="T9" fmla="*/ 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2" h="60">
                        <a:moveTo>
                          <a:pt x="36" y="0"/>
                        </a:moveTo>
                        <a:cubicBezTo>
                          <a:pt x="42" y="4"/>
                          <a:pt x="42" y="4"/>
                          <a:pt x="42" y="4"/>
                        </a:cubicBezTo>
                        <a:cubicBezTo>
                          <a:pt x="36" y="52"/>
                          <a:pt x="36" y="52"/>
                          <a:pt x="36" y="52"/>
                        </a:cubicBezTo>
                        <a:cubicBezTo>
                          <a:pt x="36" y="52"/>
                          <a:pt x="23" y="60"/>
                          <a:pt x="0" y="47"/>
                        </a:cubicBezTo>
                        <a:cubicBezTo>
                          <a:pt x="21" y="35"/>
                          <a:pt x="36" y="0"/>
                          <a:pt x="36" y="0"/>
                        </a:cubicBezTo>
                        <a:close/>
                      </a:path>
                    </a:pathLst>
                  </a:custGeom>
                  <a:solidFill>
                    <a:srgbClr val="1D99B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5" name="Freeform 287">
                    <a:extLst>
                      <a:ext uri="{FF2B5EF4-FFF2-40B4-BE49-F238E27FC236}">
                        <a16:creationId xmlns:a16="http://schemas.microsoft.com/office/drawing/2014/main" id="{A7FA126A-6974-7ABE-4503-BD2EAE5DCA1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89838" y="5015707"/>
                    <a:ext cx="503238" cy="488950"/>
                  </a:xfrm>
                  <a:custGeom>
                    <a:avLst/>
                    <a:gdLst>
                      <a:gd name="T0" fmla="*/ 6 w 256"/>
                      <a:gd name="T1" fmla="*/ 0 h 249"/>
                      <a:gd name="T2" fmla="*/ 0 w 256"/>
                      <a:gd name="T3" fmla="*/ 10 h 249"/>
                      <a:gd name="T4" fmla="*/ 10 w 256"/>
                      <a:gd name="T5" fmla="*/ 24 h 249"/>
                      <a:gd name="T6" fmla="*/ 37 w 256"/>
                      <a:gd name="T7" fmla="*/ 123 h 249"/>
                      <a:gd name="T8" fmla="*/ 222 w 256"/>
                      <a:gd name="T9" fmla="*/ 249 h 249"/>
                      <a:gd name="T10" fmla="*/ 256 w 256"/>
                      <a:gd name="T11" fmla="*/ 231 h 249"/>
                      <a:gd name="T12" fmla="*/ 235 w 256"/>
                      <a:gd name="T13" fmla="*/ 193 h 249"/>
                      <a:gd name="T14" fmla="*/ 56 w 256"/>
                      <a:gd name="T15" fmla="*/ 106 h 249"/>
                      <a:gd name="T16" fmla="*/ 18 w 256"/>
                      <a:gd name="T17" fmla="*/ 21 h 249"/>
                      <a:gd name="T18" fmla="*/ 27 w 256"/>
                      <a:gd name="T19" fmla="*/ 6 h 249"/>
                      <a:gd name="T20" fmla="*/ 6 w 256"/>
                      <a:gd name="T21" fmla="*/ 0 h 2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56" h="249">
                        <a:moveTo>
                          <a:pt x="6" y="0"/>
                        </a:moveTo>
                        <a:cubicBezTo>
                          <a:pt x="6" y="0"/>
                          <a:pt x="2" y="4"/>
                          <a:pt x="0" y="10"/>
                        </a:cubicBezTo>
                        <a:cubicBezTo>
                          <a:pt x="3" y="16"/>
                          <a:pt x="10" y="24"/>
                          <a:pt x="10" y="24"/>
                        </a:cubicBezTo>
                        <a:cubicBezTo>
                          <a:pt x="10" y="24"/>
                          <a:pt x="6" y="73"/>
                          <a:pt x="37" y="123"/>
                        </a:cubicBezTo>
                        <a:cubicBezTo>
                          <a:pt x="84" y="200"/>
                          <a:pt x="222" y="249"/>
                          <a:pt x="222" y="249"/>
                        </a:cubicBezTo>
                        <a:cubicBezTo>
                          <a:pt x="256" y="231"/>
                          <a:pt x="256" y="231"/>
                          <a:pt x="256" y="231"/>
                        </a:cubicBezTo>
                        <a:cubicBezTo>
                          <a:pt x="235" y="193"/>
                          <a:pt x="235" y="193"/>
                          <a:pt x="235" y="193"/>
                        </a:cubicBezTo>
                        <a:cubicBezTo>
                          <a:pt x="235" y="193"/>
                          <a:pt x="111" y="175"/>
                          <a:pt x="56" y="106"/>
                        </a:cubicBezTo>
                        <a:cubicBezTo>
                          <a:pt x="18" y="58"/>
                          <a:pt x="18" y="21"/>
                          <a:pt x="18" y="21"/>
                        </a:cubicBezTo>
                        <a:cubicBezTo>
                          <a:pt x="18" y="21"/>
                          <a:pt x="24" y="13"/>
                          <a:pt x="27" y="6"/>
                        </a:cubicBezTo>
                        <a:cubicBezTo>
                          <a:pt x="15" y="5"/>
                          <a:pt x="6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6" name="Freeform 288">
                    <a:extLst>
                      <a:ext uri="{FF2B5EF4-FFF2-40B4-BE49-F238E27FC236}">
                        <a16:creationId xmlns:a16="http://schemas.microsoft.com/office/drawing/2014/main" id="{E8DB135B-52AD-5F49-202D-54A3ECF2885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67601" y="4853782"/>
                    <a:ext cx="206375" cy="160338"/>
                  </a:xfrm>
                  <a:custGeom>
                    <a:avLst/>
                    <a:gdLst>
                      <a:gd name="T0" fmla="*/ 105 w 105"/>
                      <a:gd name="T1" fmla="*/ 35 h 82"/>
                      <a:gd name="T2" fmla="*/ 93 w 105"/>
                      <a:gd name="T3" fmla="*/ 22 h 82"/>
                      <a:gd name="T4" fmla="*/ 67 w 105"/>
                      <a:gd name="T5" fmla="*/ 0 h 82"/>
                      <a:gd name="T6" fmla="*/ 54 w 105"/>
                      <a:gd name="T7" fmla="*/ 34 h 82"/>
                      <a:gd name="T8" fmla="*/ 34 w 105"/>
                      <a:gd name="T9" fmla="*/ 55 h 82"/>
                      <a:gd name="T10" fmla="*/ 0 w 105"/>
                      <a:gd name="T11" fmla="*/ 56 h 82"/>
                      <a:gd name="T12" fmla="*/ 69 w 105"/>
                      <a:gd name="T13" fmla="*/ 82 h 82"/>
                      <a:gd name="T14" fmla="*/ 105 w 105"/>
                      <a:gd name="T15" fmla="*/ 35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5" h="82">
                        <a:moveTo>
                          <a:pt x="105" y="35"/>
                        </a:moveTo>
                        <a:cubicBezTo>
                          <a:pt x="99" y="32"/>
                          <a:pt x="93" y="22"/>
                          <a:pt x="93" y="22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67" y="0"/>
                          <a:pt x="57" y="21"/>
                          <a:pt x="54" y="34"/>
                        </a:cubicBezTo>
                        <a:cubicBezTo>
                          <a:pt x="52" y="46"/>
                          <a:pt x="39" y="54"/>
                          <a:pt x="34" y="55"/>
                        </a:cubicBezTo>
                        <a:cubicBezTo>
                          <a:pt x="22" y="56"/>
                          <a:pt x="0" y="56"/>
                          <a:pt x="0" y="56"/>
                        </a:cubicBezTo>
                        <a:cubicBezTo>
                          <a:pt x="0" y="56"/>
                          <a:pt x="50" y="69"/>
                          <a:pt x="69" y="82"/>
                        </a:cubicBezTo>
                        <a:cubicBezTo>
                          <a:pt x="91" y="67"/>
                          <a:pt x="101" y="42"/>
                          <a:pt x="105" y="35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7" name="Freeform 289">
                    <a:extLst>
                      <a:ext uri="{FF2B5EF4-FFF2-40B4-BE49-F238E27FC236}">
                        <a16:creationId xmlns:a16="http://schemas.microsoft.com/office/drawing/2014/main" id="{759AFF03-EE49-05C2-A723-6516BC58F97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50138" y="4755357"/>
                    <a:ext cx="163513" cy="207963"/>
                  </a:xfrm>
                  <a:custGeom>
                    <a:avLst/>
                    <a:gdLst>
                      <a:gd name="T0" fmla="*/ 9 w 83"/>
                      <a:gd name="T1" fmla="*/ 106 h 106"/>
                      <a:gd name="T2" fmla="*/ 47 w 83"/>
                      <a:gd name="T3" fmla="*/ 105 h 106"/>
                      <a:gd name="T4" fmla="*/ 62 w 83"/>
                      <a:gd name="T5" fmla="*/ 91 h 106"/>
                      <a:gd name="T6" fmla="*/ 69 w 83"/>
                      <a:gd name="T7" fmla="*/ 69 h 106"/>
                      <a:gd name="T8" fmla="*/ 78 w 83"/>
                      <a:gd name="T9" fmla="*/ 62 h 106"/>
                      <a:gd name="T10" fmla="*/ 73 w 83"/>
                      <a:gd name="T11" fmla="*/ 48 h 106"/>
                      <a:gd name="T12" fmla="*/ 70 w 83"/>
                      <a:gd name="T13" fmla="*/ 6 h 106"/>
                      <a:gd name="T14" fmla="*/ 50 w 83"/>
                      <a:gd name="T15" fmla="*/ 0 h 106"/>
                      <a:gd name="T16" fmla="*/ 32 w 83"/>
                      <a:gd name="T17" fmla="*/ 10 h 106"/>
                      <a:gd name="T18" fmla="*/ 0 w 83"/>
                      <a:gd name="T19" fmla="*/ 60 h 106"/>
                      <a:gd name="T20" fmla="*/ 4 w 83"/>
                      <a:gd name="T21" fmla="*/ 63 h 106"/>
                      <a:gd name="T22" fmla="*/ 12 w 83"/>
                      <a:gd name="T23" fmla="*/ 65 h 106"/>
                      <a:gd name="T24" fmla="*/ 8 w 83"/>
                      <a:gd name="T25" fmla="*/ 105 h 106"/>
                      <a:gd name="T26" fmla="*/ 9 w 83"/>
                      <a:gd name="T27" fmla="*/ 106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83" h="106">
                        <a:moveTo>
                          <a:pt x="9" y="106"/>
                        </a:moveTo>
                        <a:cubicBezTo>
                          <a:pt x="19" y="106"/>
                          <a:pt x="38" y="106"/>
                          <a:pt x="47" y="105"/>
                        </a:cubicBezTo>
                        <a:cubicBezTo>
                          <a:pt x="60" y="104"/>
                          <a:pt x="62" y="91"/>
                          <a:pt x="62" y="91"/>
                        </a:cubicBezTo>
                        <a:cubicBezTo>
                          <a:pt x="69" y="69"/>
                          <a:pt x="69" y="69"/>
                          <a:pt x="69" y="69"/>
                        </a:cubicBezTo>
                        <a:cubicBezTo>
                          <a:pt x="69" y="69"/>
                          <a:pt x="74" y="67"/>
                          <a:pt x="78" y="62"/>
                        </a:cubicBezTo>
                        <a:cubicBezTo>
                          <a:pt x="80" y="60"/>
                          <a:pt x="83" y="52"/>
                          <a:pt x="73" y="48"/>
                        </a:cubicBezTo>
                        <a:cubicBezTo>
                          <a:pt x="58" y="42"/>
                          <a:pt x="70" y="6"/>
                          <a:pt x="70" y="6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0" y="60"/>
                          <a:pt x="0" y="63"/>
                          <a:pt x="4" y="63"/>
                        </a:cubicBezTo>
                        <a:cubicBezTo>
                          <a:pt x="7" y="63"/>
                          <a:pt x="12" y="65"/>
                          <a:pt x="12" y="65"/>
                        </a:cubicBezTo>
                        <a:cubicBezTo>
                          <a:pt x="12" y="65"/>
                          <a:pt x="8" y="102"/>
                          <a:pt x="8" y="105"/>
                        </a:cubicBezTo>
                        <a:cubicBezTo>
                          <a:pt x="8" y="106"/>
                          <a:pt x="9" y="106"/>
                          <a:pt x="9" y="106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8" name="Freeform 290">
                    <a:extLst>
                      <a:ext uri="{FF2B5EF4-FFF2-40B4-BE49-F238E27FC236}">
                        <a16:creationId xmlns:a16="http://schemas.microsoft.com/office/drawing/2014/main" id="{5D44936E-2F41-3032-6796-3A9F92D2725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91413" y="4823620"/>
                    <a:ext cx="33338" cy="17463"/>
                  </a:xfrm>
                  <a:custGeom>
                    <a:avLst/>
                    <a:gdLst>
                      <a:gd name="T0" fmla="*/ 1 w 17"/>
                      <a:gd name="T1" fmla="*/ 6 h 9"/>
                      <a:gd name="T2" fmla="*/ 4 w 17"/>
                      <a:gd name="T3" fmla="*/ 9 h 9"/>
                      <a:gd name="T4" fmla="*/ 15 w 17"/>
                      <a:gd name="T5" fmla="*/ 8 h 9"/>
                      <a:gd name="T6" fmla="*/ 2 w 17"/>
                      <a:gd name="T7" fmla="*/ 2 h 9"/>
                      <a:gd name="T8" fmla="*/ 1 w 17"/>
                      <a:gd name="T9" fmla="*/ 6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7" h="9">
                        <a:moveTo>
                          <a:pt x="1" y="6"/>
                        </a:moveTo>
                        <a:cubicBezTo>
                          <a:pt x="1" y="9"/>
                          <a:pt x="1" y="9"/>
                          <a:pt x="4" y="9"/>
                        </a:cubicBezTo>
                        <a:cubicBezTo>
                          <a:pt x="7" y="9"/>
                          <a:pt x="17" y="9"/>
                          <a:pt x="15" y="8"/>
                        </a:cubicBezTo>
                        <a:cubicBezTo>
                          <a:pt x="14" y="8"/>
                          <a:pt x="10" y="6"/>
                          <a:pt x="2" y="2"/>
                        </a:cubicBezTo>
                        <a:cubicBezTo>
                          <a:pt x="0" y="0"/>
                          <a:pt x="1" y="3"/>
                          <a:pt x="1" y="6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" name="Freeform 291">
                    <a:extLst>
                      <a:ext uri="{FF2B5EF4-FFF2-40B4-BE49-F238E27FC236}">
                        <a16:creationId xmlns:a16="http://schemas.microsoft.com/office/drawing/2014/main" id="{523D05F7-0E46-3E2A-182C-60F4991EBAB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07288" y="4723607"/>
                    <a:ext cx="157163" cy="173038"/>
                  </a:xfrm>
                  <a:custGeom>
                    <a:avLst/>
                    <a:gdLst>
                      <a:gd name="T0" fmla="*/ 76 w 80"/>
                      <a:gd name="T1" fmla="*/ 31 h 88"/>
                      <a:gd name="T2" fmla="*/ 1 w 80"/>
                      <a:gd name="T3" fmla="*/ 14 h 88"/>
                      <a:gd name="T4" fmla="*/ 3 w 80"/>
                      <a:gd name="T5" fmla="*/ 26 h 88"/>
                      <a:gd name="T6" fmla="*/ 31 w 80"/>
                      <a:gd name="T7" fmla="*/ 35 h 88"/>
                      <a:gd name="T8" fmla="*/ 27 w 80"/>
                      <a:gd name="T9" fmla="*/ 78 h 88"/>
                      <a:gd name="T10" fmla="*/ 47 w 80"/>
                      <a:gd name="T11" fmla="*/ 66 h 88"/>
                      <a:gd name="T12" fmla="*/ 74 w 80"/>
                      <a:gd name="T13" fmla="*/ 88 h 88"/>
                      <a:gd name="T14" fmla="*/ 76 w 80"/>
                      <a:gd name="T15" fmla="*/ 31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0" h="88">
                        <a:moveTo>
                          <a:pt x="76" y="31"/>
                        </a:moveTo>
                        <a:cubicBezTo>
                          <a:pt x="26" y="2"/>
                          <a:pt x="6" y="0"/>
                          <a:pt x="1" y="14"/>
                        </a:cubicBezTo>
                        <a:cubicBezTo>
                          <a:pt x="0" y="17"/>
                          <a:pt x="0" y="22"/>
                          <a:pt x="3" y="26"/>
                        </a:cubicBezTo>
                        <a:cubicBezTo>
                          <a:pt x="19" y="24"/>
                          <a:pt x="35" y="24"/>
                          <a:pt x="31" y="35"/>
                        </a:cubicBezTo>
                        <a:cubicBezTo>
                          <a:pt x="30" y="39"/>
                          <a:pt x="13" y="76"/>
                          <a:pt x="27" y="78"/>
                        </a:cubicBezTo>
                        <a:cubicBezTo>
                          <a:pt x="30" y="73"/>
                          <a:pt x="37" y="60"/>
                          <a:pt x="47" y="66"/>
                        </a:cubicBezTo>
                        <a:cubicBezTo>
                          <a:pt x="53" y="69"/>
                          <a:pt x="47" y="83"/>
                          <a:pt x="74" y="88"/>
                        </a:cubicBezTo>
                        <a:cubicBezTo>
                          <a:pt x="76" y="66"/>
                          <a:pt x="80" y="39"/>
                          <a:pt x="76" y="31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" name="Freeform 292">
                    <a:extLst>
                      <a:ext uri="{FF2B5EF4-FFF2-40B4-BE49-F238E27FC236}">
                        <a16:creationId xmlns:a16="http://schemas.microsoft.com/office/drawing/2014/main" id="{4B82BBCF-43F4-88C7-1D85-F2938531C95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215188" y="4896645"/>
                    <a:ext cx="711200" cy="517525"/>
                  </a:xfrm>
                  <a:custGeom>
                    <a:avLst/>
                    <a:gdLst>
                      <a:gd name="T0" fmla="*/ 339 w 362"/>
                      <a:gd name="T1" fmla="*/ 123 h 264"/>
                      <a:gd name="T2" fmla="*/ 256 w 362"/>
                      <a:gd name="T3" fmla="*/ 236 h 264"/>
                      <a:gd name="T4" fmla="*/ 191 w 362"/>
                      <a:gd name="T5" fmla="*/ 262 h 264"/>
                      <a:gd name="T6" fmla="*/ 3 w 362"/>
                      <a:gd name="T7" fmla="*/ 259 h 264"/>
                      <a:gd name="T8" fmla="*/ 0 w 362"/>
                      <a:gd name="T9" fmla="*/ 236 h 264"/>
                      <a:gd name="T10" fmla="*/ 200 w 362"/>
                      <a:gd name="T11" fmla="*/ 220 h 264"/>
                      <a:gd name="T12" fmla="*/ 268 w 362"/>
                      <a:gd name="T13" fmla="*/ 58 h 264"/>
                      <a:gd name="T14" fmla="*/ 339 w 362"/>
                      <a:gd name="T15" fmla="*/ 123 h 2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62" h="264">
                        <a:moveTo>
                          <a:pt x="339" y="123"/>
                        </a:moveTo>
                        <a:cubicBezTo>
                          <a:pt x="316" y="156"/>
                          <a:pt x="262" y="228"/>
                          <a:pt x="256" y="236"/>
                        </a:cubicBezTo>
                        <a:cubicBezTo>
                          <a:pt x="249" y="243"/>
                          <a:pt x="241" y="262"/>
                          <a:pt x="191" y="262"/>
                        </a:cubicBezTo>
                        <a:cubicBezTo>
                          <a:pt x="126" y="264"/>
                          <a:pt x="3" y="259"/>
                          <a:pt x="3" y="259"/>
                        </a:cubicBezTo>
                        <a:cubicBezTo>
                          <a:pt x="3" y="259"/>
                          <a:pt x="1" y="247"/>
                          <a:pt x="0" y="236"/>
                        </a:cubicBezTo>
                        <a:cubicBezTo>
                          <a:pt x="71" y="229"/>
                          <a:pt x="200" y="220"/>
                          <a:pt x="200" y="220"/>
                        </a:cubicBezTo>
                        <a:cubicBezTo>
                          <a:pt x="200" y="220"/>
                          <a:pt x="250" y="92"/>
                          <a:pt x="268" y="58"/>
                        </a:cubicBezTo>
                        <a:cubicBezTo>
                          <a:pt x="315" y="0"/>
                          <a:pt x="362" y="89"/>
                          <a:pt x="339" y="123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" name="Freeform 293">
                    <a:extLst>
                      <a:ext uri="{FF2B5EF4-FFF2-40B4-BE49-F238E27FC236}">
                        <a16:creationId xmlns:a16="http://schemas.microsoft.com/office/drawing/2014/main" id="{788BD0D8-C942-9DB6-672B-EED7CF0511D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26326" y="6409532"/>
                    <a:ext cx="142875" cy="50800"/>
                  </a:xfrm>
                  <a:custGeom>
                    <a:avLst/>
                    <a:gdLst>
                      <a:gd name="T0" fmla="*/ 72 w 72"/>
                      <a:gd name="T1" fmla="*/ 4 h 26"/>
                      <a:gd name="T2" fmla="*/ 72 w 72"/>
                      <a:gd name="T3" fmla="*/ 26 h 26"/>
                      <a:gd name="T4" fmla="*/ 53 w 72"/>
                      <a:gd name="T5" fmla="*/ 26 h 26"/>
                      <a:gd name="T6" fmla="*/ 53 w 72"/>
                      <a:gd name="T7" fmla="*/ 18 h 26"/>
                      <a:gd name="T8" fmla="*/ 27 w 72"/>
                      <a:gd name="T9" fmla="*/ 26 h 26"/>
                      <a:gd name="T10" fmla="*/ 3 w 72"/>
                      <a:gd name="T11" fmla="*/ 25 h 26"/>
                      <a:gd name="T12" fmla="*/ 4 w 72"/>
                      <a:gd name="T13" fmla="*/ 20 h 26"/>
                      <a:gd name="T14" fmla="*/ 29 w 72"/>
                      <a:gd name="T15" fmla="*/ 13 h 26"/>
                      <a:gd name="T16" fmla="*/ 48 w 72"/>
                      <a:gd name="T17" fmla="*/ 0 h 26"/>
                      <a:gd name="T18" fmla="*/ 72 w 72"/>
                      <a:gd name="T19" fmla="*/ 4 h 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2" h="26">
                        <a:moveTo>
                          <a:pt x="72" y="4"/>
                        </a:moveTo>
                        <a:cubicBezTo>
                          <a:pt x="72" y="26"/>
                          <a:pt x="72" y="26"/>
                          <a:pt x="72" y="26"/>
                        </a:cubicBez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18"/>
                          <a:pt x="53" y="18"/>
                          <a:pt x="53" y="18"/>
                        </a:cubicBezTo>
                        <a:cubicBezTo>
                          <a:pt x="27" y="26"/>
                          <a:pt x="27" y="26"/>
                          <a:pt x="27" y="26"/>
                        </a:cubicBezTo>
                        <a:cubicBezTo>
                          <a:pt x="3" y="25"/>
                          <a:pt x="3" y="25"/>
                          <a:pt x="3" y="25"/>
                        </a:cubicBezTo>
                        <a:cubicBezTo>
                          <a:pt x="3" y="25"/>
                          <a:pt x="0" y="21"/>
                          <a:pt x="4" y="20"/>
                        </a:cubicBezTo>
                        <a:cubicBezTo>
                          <a:pt x="5" y="20"/>
                          <a:pt x="29" y="13"/>
                          <a:pt x="29" y="13"/>
                        </a:cubicBezTo>
                        <a:cubicBezTo>
                          <a:pt x="48" y="0"/>
                          <a:pt x="48" y="0"/>
                          <a:pt x="48" y="0"/>
                        </a:cubicBezTo>
                        <a:lnTo>
                          <a:pt x="72" y="4"/>
                        </a:lnTo>
                        <a:close/>
                      </a:path>
                    </a:pathLst>
                  </a:custGeom>
                  <a:solidFill>
                    <a:srgbClr val="17235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Freeform 294">
                    <a:extLst>
                      <a:ext uri="{FF2B5EF4-FFF2-40B4-BE49-F238E27FC236}">
                        <a16:creationId xmlns:a16="http://schemas.microsoft.com/office/drawing/2014/main" id="{7B42052C-8034-C2F6-E613-2BF66F67E16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2051" y="5498307"/>
                    <a:ext cx="1069975" cy="912813"/>
                  </a:xfrm>
                  <a:custGeom>
                    <a:avLst/>
                    <a:gdLst>
                      <a:gd name="T0" fmla="*/ 4 w 545"/>
                      <a:gd name="T1" fmla="*/ 465 h 465"/>
                      <a:gd name="T2" fmla="*/ 0 w 545"/>
                      <a:gd name="T3" fmla="*/ 147 h 465"/>
                      <a:gd name="T4" fmla="*/ 0 w 545"/>
                      <a:gd name="T5" fmla="*/ 147 h 465"/>
                      <a:gd name="T6" fmla="*/ 51 w 545"/>
                      <a:gd name="T7" fmla="*/ 77 h 465"/>
                      <a:gd name="T8" fmla="*/ 456 w 545"/>
                      <a:gd name="T9" fmla="*/ 0 h 465"/>
                      <a:gd name="T10" fmla="*/ 313 w 545"/>
                      <a:gd name="T11" fmla="*/ 160 h 465"/>
                      <a:gd name="T12" fmla="*/ 83 w 545"/>
                      <a:gd name="T13" fmla="*/ 160 h 465"/>
                      <a:gd name="T14" fmla="*/ 38 w 545"/>
                      <a:gd name="T15" fmla="*/ 463 h 465"/>
                      <a:gd name="T16" fmla="*/ 4 w 545"/>
                      <a:gd name="T17" fmla="*/ 465 h 4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545" h="465">
                        <a:moveTo>
                          <a:pt x="4" y="465"/>
                        </a:move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3" y="93"/>
                          <a:pt x="38" y="80"/>
                          <a:pt x="51" y="77"/>
                        </a:cubicBezTo>
                        <a:cubicBezTo>
                          <a:pt x="64" y="74"/>
                          <a:pt x="456" y="0"/>
                          <a:pt x="456" y="0"/>
                        </a:cubicBezTo>
                        <a:cubicBezTo>
                          <a:pt x="456" y="0"/>
                          <a:pt x="545" y="149"/>
                          <a:pt x="313" y="160"/>
                        </a:cubicBezTo>
                        <a:cubicBezTo>
                          <a:pt x="255" y="163"/>
                          <a:pt x="234" y="154"/>
                          <a:pt x="83" y="160"/>
                        </a:cubicBezTo>
                        <a:cubicBezTo>
                          <a:pt x="113" y="217"/>
                          <a:pt x="38" y="463"/>
                          <a:pt x="38" y="463"/>
                        </a:cubicBezTo>
                        <a:lnTo>
                          <a:pt x="4" y="46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3" name="Group 1028">
                  <a:extLst>
                    <a:ext uri="{FF2B5EF4-FFF2-40B4-BE49-F238E27FC236}">
                      <a16:creationId xmlns:a16="http://schemas.microsoft.com/office/drawing/2014/main" id="{0D00076F-0B33-03CF-D4A4-1D8EE9A535FA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683568" y="4089209"/>
                  <a:ext cx="936299" cy="705312"/>
                  <a:chOff x="9990467" y="4838701"/>
                  <a:chExt cx="1203326" cy="906463"/>
                </a:xfrm>
              </p:grpSpPr>
              <p:sp>
                <p:nvSpPr>
                  <p:cNvPr id="17" name="Freeform 277">
                    <a:extLst>
                      <a:ext uri="{FF2B5EF4-FFF2-40B4-BE49-F238E27FC236}">
                        <a16:creationId xmlns:a16="http://schemas.microsoft.com/office/drawing/2014/main" id="{4B27318B-D047-9C5D-149D-1738D2D2BF4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990467" y="4922838"/>
                    <a:ext cx="176213" cy="80963"/>
                  </a:xfrm>
                  <a:custGeom>
                    <a:avLst/>
                    <a:gdLst>
                      <a:gd name="T0" fmla="*/ 37 w 89"/>
                      <a:gd name="T1" fmla="*/ 27 h 42"/>
                      <a:gd name="T2" fmla="*/ 13 w 89"/>
                      <a:gd name="T3" fmla="*/ 29 h 42"/>
                      <a:gd name="T4" fmla="*/ 17 w 89"/>
                      <a:gd name="T5" fmla="*/ 24 h 42"/>
                      <a:gd name="T6" fmla="*/ 24 w 89"/>
                      <a:gd name="T7" fmla="*/ 21 h 42"/>
                      <a:gd name="T8" fmla="*/ 10 w 89"/>
                      <a:gd name="T9" fmla="*/ 8 h 42"/>
                      <a:gd name="T10" fmla="*/ 6 w 89"/>
                      <a:gd name="T11" fmla="*/ 8 h 42"/>
                      <a:gd name="T12" fmla="*/ 3 w 89"/>
                      <a:gd name="T13" fmla="*/ 5 h 42"/>
                      <a:gd name="T14" fmla="*/ 10 w 89"/>
                      <a:gd name="T15" fmla="*/ 4 h 42"/>
                      <a:gd name="T16" fmla="*/ 2 w 89"/>
                      <a:gd name="T17" fmla="*/ 3 h 42"/>
                      <a:gd name="T18" fmla="*/ 1 w 89"/>
                      <a:gd name="T19" fmla="*/ 0 h 42"/>
                      <a:gd name="T20" fmla="*/ 18 w 89"/>
                      <a:gd name="T21" fmla="*/ 1 h 42"/>
                      <a:gd name="T22" fmla="*/ 37 w 89"/>
                      <a:gd name="T23" fmla="*/ 16 h 42"/>
                      <a:gd name="T24" fmla="*/ 88 w 89"/>
                      <a:gd name="T25" fmla="*/ 24 h 42"/>
                      <a:gd name="T26" fmla="*/ 84 w 89"/>
                      <a:gd name="T27" fmla="*/ 42 h 42"/>
                      <a:gd name="T28" fmla="*/ 37 w 89"/>
                      <a:gd name="T29" fmla="*/ 27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89" h="42">
                        <a:moveTo>
                          <a:pt x="37" y="27"/>
                        </a:moveTo>
                        <a:cubicBezTo>
                          <a:pt x="28" y="27"/>
                          <a:pt x="13" y="29"/>
                          <a:pt x="13" y="29"/>
                        </a:cubicBezTo>
                        <a:cubicBezTo>
                          <a:pt x="13" y="29"/>
                          <a:pt x="14" y="24"/>
                          <a:pt x="17" y="24"/>
                        </a:cubicBezTo>
                        <a:cubicBezTo>
                          <a:pt x="23" y="23"/>
                          <a:pt x="24" y="21"/>
                          <a:pt x="24" y="21"/>
                        </a:cubicBezTo>
                        <a:cubicBezTo>
                          <a:pt x="10" y="8"/>
                          <a:pt x="10" y="8"/>
                          <a:pt x="10" y="8"/>
                        </a:cubicBezTo>
                        <a:cubicBezTo>
                          <a:pt x="6" y="8"/>
                          <a:pt x="6" y="8"/>
                          <a:pt x="6" y="8"/>
                        </a:cubicBezTo>
                        <a:cubicBezTo>
                          <a:pt x="3" y="5"/>
                          <a:pt x="3" y="5"/>
                          <a:pt x="3" y="5"/>
                        </a:cubicBezTo>
                        <a:cubicBezTo>
                          <a:pt x="10" y="4"/>
                          <a:pt x="10" y="4"/>
                          <a:pt x="10" y="4"/>
                        </a:cubicBezTo>
                        <a:cubicBezTo>
                          <a:pt x="10" y="4"/>
                          <a:pt x="3" y="4"/>
                          <a:pt x="2" y="3"/>
                        </a:cubicBezTo>
                        <a:cubicBezTo>
                          <a:pt x="1" y="2"/>
                          <a:pt x="0" y="0"/>
                          <a:pt x="1" y="0"/>
                        </a:cubicBezTo>
                        <a:cubicBezTo>
                          <a:pt x="9" y="0"/>
                          <a:pt x="17" y="0"/>
                          <a:pt x="18" y="1"/>
                        </a:cubicBezTo>
                        <a:cubicBezTo>
                          <a:pt x="20" y="2"/>
                          <a:pt x="37" y="16"/>
                          <a:pt x="37" y="16"/>
                        </a:cubicBezTo>
                        <a:cubicBezTo>
                          <a:pt x="88" y="24"/>
                          <a:pt x="88" y="24"/>
                          <a:pt x="88" y="24"/>
                        </a:cubicBezTo>
                        <a:cubicBezTo>
                          <a:pt x="88" y="24"/>
                          <a:pt x="89" y="34"/>
                          <a:pt x="84" y="42"/>
                        </a:cubicBezTo>
                        <a:cubicBezTo>
                          <a:pt x="84" y="42"/>
                          <a:pt x="37" y="27"/>
                          <a:pt x="37" y="27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" name="Freeform 220">
                    <a:extLst>
                      <a:ext uri="{FF2B5EF4-FFF2-40B4-BE49-F238E27FC236}">
                        <a16:creationId xmlns:a16="http://schemas.microsoft.com/office/drawing/2014/main" id="{D3DFE64C-A308-5CE4-8034-4A3F4C4A2B6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00042" y="4918076"/>
                    <a:ext cx="52388" cy="66675"/>
                  </a:xfrm>
                  <a:custGeom>
                    <a:avLst/>
                    <a:gdLst>
                      <a:gd name="T0" fmla="*/ 18 w 28"/>
                      <a:gd name="T1" fmla="*/ 23 h 36"/>
                      <a:gd name="T2" fmla="*/ 24 w 28"/>
                      <a:gd name="T3" fmla="*/ 33 h 36"/>
                      <a:gd name="T4" fmla="*/ 28 w 28"/>
                      <a:gd name="T5" fmla="*/ 33 h 36"/>
                      <a:gd name="T6" fmla="*/ 26 w 28"/>
                      <a:gd name="T7" fmla="*/ 17 h 36"/>
                      <a:gd name="T8" fmla="*/ 15 w 28"/>
                      <a:gd name="T9" fmla="*/ 7 h 36"/>
                      <a:gd name="T10" fmla="*/ 25 w 28"/>
                      <a:gd name="T11" fmla="*/ 6 h 36"/>
                      <a:gd name="T12" fmla="*/ 24 w 28"/>
                      <a:gd name="T13" fmla="*/ 1 h 36"/>
                      <a:gd name="T14" fmla="*/ 7 w 28"/>
                      <a:gd name="T15" fmla="*/ 0 h 36"/>
                      <a:gd name="T16" fmla="*/ 0 w 28"/>
                      <a:gd name="T17" fmla="*/ 1 h 36"/>
                      <a:gd name="T18" fmla="*/ 9 w 28"/>
                      <a:gd name="T19" fmla="*/ 9 h 36"/>
                      <a:gd name="T20" fmla="*/ 18 w 28"/>
                      <a:gd name="T21" fmla="*/ 23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8" h="36">
                        <a:moveTo>
                          <a:pt x="18" y="23"/>
                        </a:moveTo>
                        <a:cubicBezTo>
                          <a:pt x="20" y="26"/>
                          <a:pt x="24" y="32"/>
                          <a:pt x="24" y="33"/>
                        </a:cubicBezTo>
                        <a:cubicBezTo>
                          <a:pt x="25" y="36"/>
                          <a:pt x="28" y="33"/>
                          <a:pt x="28" y="33"/>
                        </a:cubicBezTo>
                        <a:cubicBezTo>
                          <a:pt x="28" y="33"/>
                          <a:pt x="27" y="20"/>
                          <a:pt x="26" y="17"/>
                        </a:cubicBezTo>
                        <a:cubicBezTo>
                          <a:pt x="26" y="15"/>
                          <a:pt x="15" y="7"/>
                          <a:pt x="15" y="7"/>
                        </a:cubicBezTo>
                        <a:cubicBezTo>
                          <a:pt x="25" y="6"/>
                          <a:pt x="25" y="6"/>
                          <a:pt x="25" y="6"/>
                        </a:cubicBezTo>
                        <a:cubicBezTo>
                          <a:pt x="24" y="1"/>
                          <a:pt x="24" y="1"/>
                          <a:pt x="24" y="1"/>
                        </a:cubicBezTo>
                        <a:cubicBezTo>
                          <a:pt x="24" y="1"/>
                          <a:pt x="15" y="1"/>
                          <a:pt x="7" y="0"/>
                        </a:cubicBezTo>
                        <a:cubicBezTo>
                          <a:pt x="3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9" y="9"/>
                        </a:cubicBezTo>
                        <a:cubicBezTo>
                          <a:pt x="18" y="15"/>
                          <a:pt x="18" y="21"/>
                          <a:pt x="18" y="2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" name="Freeform 260">
                    <a:extLst>
                      <a:ext uri="{FF2B5EF4-FFF2-40B4-BE49-F238E27FC236}">
                        <a16:creationId xmlns:a16="http://schemas.microsoft.com/office/drawing/2014/main" id="{C6BA2784-2BB6-2F9D-57A9-95EDDDFC097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58805" y="5259389"/>
                    <a:ext cx="534988" cy="322263"/>
                  </a:xfrm>
                  <a:custGeom>
                    <a:avLst/>
                    <a:gdLst>
                      <a:gd name="T0" fmla="*/ 270 w 272"/>
                      <a:gd name="T1" fmla="*/ 136 h 164"/>
                      <a:gd name="T2" fmla="*/ 262 w 272"/>
                      <a:gd name="T3" fmla="*/ 138 h 164"/>
                      <a:gd name="T4" fmla="*/ 271 w 272"/>
                      <a:gd name="T5" fmla="*/ 147 h 164"/>
                      <a:gd name="T6" fmla="*/ 272 w 272"/>
                      <a:gd name="T7" fmla="*/ 157 h 164"/>
                      <a:gd name="T8" fmla="*/ 269 w 272"/>
                      <a:gd name="T9" fmla="*/ 157 h 164"/>
                      <a:gd name="T10" fmla="*/ 265 w 272"/>
                      <a:gd name="T11" fmla="*/ 150 h 164"/>
                      <a:gd name="T12" fmla="*/ 251 w 272"/>
                      <a:gd name="T13" fmla="*/ 141 h 164"/>
                      <a:gd name="T14" fmla="*/ 146 w 272"/>
                      <a:gd name="T15" fmla="*/ 156 h 164"/>
                      <a:gd name="T16" fmla="*/ 92 w 272"/>
                      <a:gd name="T17" fmla="*/ 164 h 164"/>
                      <a:gd name="T18" fmla="*/ 65 w 272"/>
                      <a:gd name="T19" fmla="*/ 148 h 164"/>
                      <a:gd name="T20" fmla="*/ 0 w 272"/>
                      <a:gd name="T21" fmla="*/ 9 h 164"/>
                      <a:gd name="T22" fmla="*/ 76 w 272"/>
                      <a:gd name="T23" fmla="*/ 19 h 164"/>
                      <a:gd name="T24" fmla="*/ 93 w 272"/>
                      <a:gd name="T25" fmla="*/ 134 h 164"/>
                      <a:gd name="T26" fmla="*/ 251 w 272"/>
                      <a:gd name="T27" fmla="*/ 132 h 164"/>
                      <a:gd name="T28" fmla="*/ 257 w 272"/>
                      <a:gd name="T29" fmla="*/ 132 h 164"/>
                      <a:gd name="T30" fmla="*/ 270 w 272"/>
                      <a:gd name="T31" fmla="*/ 133 h 164"/>
                      <a:gd name="T32" fmla="*/ 270 w 272"/>
                      <a:gd name="T33" fmla="*/ 136 h 1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272" h="164">
                        <a:moveTo>
                          <a:pt x="270" y="136"/>
                        </a:moveTo>
                        <a:cubicBezTo>
                          <a:pt x="262" y="138"/>
                          <a:pt x="262" y="138"/>
                          <a:pt x="262" y="138"/>
                        </a:cubicBezTo>
                        <a:cubicBezTo>
                          <a:pt x="271" y="147"/>
                          <a:pt x="271" y="147"/>
                          <a:pt x="271" y="147"/>
                        </a:cubicBezTo>
                        <a:cubicBezTo>
                          <a:pt x="272" y="157"/>
                          <a:pt x="272" y="157"/>
                          <a:pt x="272" y="157"/>
                        </a:cubicBezTo>
                        <a:cubicBezTo>
                          <a:pt x="272" y="157"/>
                          <a:pt x="270" y="159"/>
                          <a:pt x="269" y="157"/>
                        </a:cubicBezTo>
                        <a:cubicBezTo>
                          <a:pt x="269" y="156"/>
                          <a:pt x="265" y="150"/>
                          <a:pt x="265" y="150"/>
                        </a:cubicBezTo>
                        <a:cubicBezTo>
                          <a:pt x="251" y="141"/>
                          <a:pt x="251" y="141"/>
                          <a:pt x="251" y="141"/>
                        </a:cubicBezTo>
                        <a:cubicBezTo>
                          <a:pt x="146" y="156"/>
                          <a:pt x="146" y="156"/>
                          <a:pt x="146" y="156"/>
                        </a:cubicBezTo>
                        <a:cubicBezTo>
                          <a:pt x="92" y="164"/>
                          <a:pt x="92" y="164"/>
                          <a:pt x="92" y="164"/>
                        </a:cubicBezTo>
                        <a:cubicBezTo>
                          <a:pt x="92" y="164"/>
                          <a:pt x="76" y="163"/>
                          <a:pt x="65" y="148"/>
                        </a:cubicBezTo>
                        <a:cubicBezTo>
                          <a:pt x="62" y="143"/>
                          <a:pt x="0" y="9"/>
                          <a:pt x="0" y="9"/>
                        </a:cubicBezTo>
                        <a:cubicBezTo>
                          <a:pt x="0" y="9"/>
                          <a:pt x="64" y="0"/>
                          <a:pt x="76" y="19"/>
                        </a:cubicBezTo>
                        <a:cubicBezTo>
                          <a:pt x="91" y="45"/>
                          <a:pt x="92" y="106"/>
                          <a:pt x="93" y="134"/>
                        </a:cubicBezTo>
                        <a:cubicBezTo>
                          <a:pt x="105" y="124"/>
                          <a:pt x="196" y="133"/>
                          <a:pt x="251" y="132"/>
                        </a:cubicBezTo>
                        <a:cubicBezTo>
                          <a:pt x="253" y="132"/>
                          <a:pt x="257" y="132"/>
                          <a:pt x="257" y="132"/>
                        </a:cubicBezTo>
                        <a:cubicBezTo>
                          <a:pt x="270" y="133"/>
                          <a:pt x="270" y="133"/>
                          <a:pt x="270" y="133"/>
                        </a:cubicBezTo>
                        <a:lnTo>
                          <a:pt x="270" y="136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" name="Freeform 261">
                    <a:extLst>
                      <a:ext uri="{FF2B5EF4-FFF2-40B4-BE49-F238E27FC236}">
                        <a16:creationId xmlns:a16="http://schemas.microsoft.com/office/drawing/2014/main" id="{A89DBC61-8DD0-DAC5-786A-D2C7F8E03C6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52517" y="5516564"/>
                    <a:ext cx="41275" cy="57150"/>
                  </a:xfrm>
                  <a:custGeom>
                    <a:avLst/>
                    <a:gdLst>
                      <a:gd name="T0" fmla="*/ 14 w 21"/>
                      <a:gd name="T1" fmla="*/ 19 h 29"/>
                      <a:gd name="T2" fmla="*/ 18 w 21"/>
                      <a:gd name="T3" fmla="*/ 26 h 29"/>
                      <a:gd name="T4" fmla="*/ 21 w 21"/>
                      <a:gd name="T5" fmla="*/ 27 h 29"/>
                      <a:gd name="T6" fmla="*/ 20 w 21"/>
                      <a:gd name="T7" fmla="*/ 15 h 29"/>
                      <a:gd name="T8" fmla="*/ 11 w 21"/>
                      <a:gd name="T9" fmla="*/ 7 h 29"/>
                      <a:gd name="T10" fmla="*/ 19 w 21"/>
                      <a:gd name="T11" fmla="*/ 5 h 29"/>
                      <a:gd name="T12" fmla="*/ 19 w 21"/>
                      <a:gd name="T13" fmla="*/ 1 h 29"/>
                      <a:gd name="T14" fmla="*/ 6 w 21"/>
                      <a:gd name="T15" fmla="*/ 1 h 29"/>
                      <a:gd name="T16" fmla="*/ 0 w 21"/>
                      <a:gd name="T17" fmla="*/ 1 h 29"/>
                      <a:gd name="T18" fmla="*/ 6 w 21"/>
                      <a:gd name="T19" fmla="*/ 8 h 29"/>
                      <a:gd name="T20" fmla="*/ 14 w 21"/>
                      <a:gd name="T21" fmla="*/ 19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1" h="29">
                        <a:moveTo>
                          <a:pt x="14" y="19"/>
                        </a:moveTo>
                        <a:cubicBezTo>
                          <a:pt x="15" y="21"/>
                          <a:pt x="18" y="26"/>
                          <a:pt x="18" y="26"/>
                        </a:cubicBezTo>
                        <a:cubicBezTo>
                          <a:pt x="19" y="29"/>
                          <a:pt x="21" y="27"/>
                          <a:pt x="21" y="27"/>
                        </a:cubicBezTo>
                        <a:cubicBezTo>
                          <a:pt x="21" y="27"/>
                          <a:pt x="20" y="17"/>
                          <a:pt x="20" y="15"/>
                        </a:cubicBezTo>
                        <a:cubicBezTo>
                          <a:pt x="20" y="12"/>
                          <a:pt x="11" y="7"/>
                          <a:pt x="11" y="7"/>
                        </a:cubicBezTo>
                        <a:cubicBezTo>
                          <a:pt x="19" y="5"/>
                          <a:pt x="19" y="5"/>
                          <a:pt x="19" y="5"/>
                        </a:cubicBezTo>
                        <a:cubicBezTo>
                          <a:pt x="19" y="1"/>
                          <a:pt x="19" y="1"/>
                          <a:pt x="19" y="1"/>
                        </a:cubicBezTo>
                        <a:cubicBezTo>
                          <a:pt x="19" y="1"/>
                          <a:pt x="11" y="1"/>
                          <a:pt x="6" y="1"/>
                        </a:cubicBezTo>
                        <a:cubicBezTo>
                          <a:pt x="2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6" y="8"/>
                        </a:cubicBezTo>
                        <a:cubicBezTo>
                          <a:pt x="14" y="12"/>
                          <a:pt x="13" y="17"/>
                          <a:pt x="14" y="1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" name="Freeform 262">
                    <a:extLst>
                      <a:ext uri="{FF2B5EF4-FFF2-40B4-BE49-F238E27FC236}">
                        <a16:creationId xmlns:a16="http://schemas.microsoft.com/office/drawing/2014/main" id="{7B44C63E-3012-6671-E3D9-04AD6BA3776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39692" y="4965701"/>
                    <a:ext cx="346075" cy="90488"/>
                  </a:xfrm>
                  <a:custGeom>
                    <a:avLst/>
                    <a:gdLst>
                      <a:gd name="T0" fmla="*/ 3 w 176"/>
                      <a:gd name="T1" fmla="*/ 0 h 46"/>
                      <a:gd name="T2" fmla="*/ 47 w 176"/>
                      <a:gd name="T3" fmla="*/ 6 h 46"/>
                      <a:gd name="T4" fmla="*/ 133 w 176"/>
                      <a:gd name="T5" fmla="*/ 5 h 46"/>
                      <a:gd name="T6" fmla="*/ 167 w 176"/>
                      <a:gd name="T7" fmla="*/ 22 h 46"/>
                      <a:gd name="T8" fmla="*/ 145 w 176"/>
                      <a:gd name="T9" fmla="*/ 46 h 46"/>
                      <a:gd name="T10" fmla="*/ 0 w 176"/>
                      <a:gd name="T11" fmla="*/ 19 h 46"/>
                      <a:gd name="T12" fmla="*/ 3 w 176"/>
                      <a:gd name="T13" fmla="*/ 0 h 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76" h="46">
                        <a:moveTo>
                          <a:pt x="3" y="0"/>
                        </a:moveTo>
                        <a:cubicBezTo>
                          <a:pt x="10" y="1"/>
                          <a:pt x="29" y="5"/>
                          <a:pt x="47" y="6"/>
                        </a:cubicBezTo>
                        <a:cubicBezTo>
                          <a:pt x="79" y="8"/>
                          <a:pt x="93" y="6"/>
                          <a:pt x="133" y="5"/>
                        </a:cubicBezTo>
                        <a:cubicBezTo>
                          <a:pt x="176" y="3"/>
                          <a:pt x="167" y="22"/>
                          <a:pt x="167" y="22"/>
                        </a:cubicBezTo>
                        <a:cubicBezTo>
                          <a:pt x="167" y="22"/>
                          <a:pt x="152" y="40"/>
                          <a:pt x="145" y="46"/>
                        </a:cubicBezTo>
                        <a:cubicBezTo>
                          <a:pt x="68" y="36"/>
                          <a:pt x="21" y="25"/>
                          <a:pt x="0" y="19"/>
                        </a:cubicBezTo>
                        <a:cubicBezTo>
                          <a:pt x="0" y="19"/>
                          <a:pt x="1" y="4"/>
                          <a:pt x="3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" name="Freeform 263">
                    <a:extLst>
                      <a:ext uri="{FF2B5EF4-FFF2-40B4-BE49-F238E27FC236}">
                        <a16:creationId xmlns:a16="http://schemas.microsoft.com/office/drawing/2014/main" id="{1AFB18EF-C754-1676-F2F1-1C2361D6139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74642" y="4941889"/>
                    <a:ext cx="420688" cy="288925"/>
                  </a:xfrm>
                  <a:custGeom>
                    <a:avLst/>
                    <a:gdLst>
                      <a:gd name="T0" fmla="*/ 126 w 214"/>
                      <a:gd name="T1" fmla="*/ 147 h 147"/>
                      <a:gd name="T2" fmla="*/ 63 w 214"/>
                      <a:gd name="T3" fmla="*/ 110 h 147"/>
                      <a:gd name="T4" fmla="*/ 7 w 214"/>
                      <a:gd name="T5" fmla="*/ 22 h 147"/>
                      <a:gd name="T6" fmla="*/ 28 w 214"/>
                      <a:gd name="T7" fmla="*/ 8 h 147"/>
                      <a:gd name="T8" fmla="*/ 130 w 214"/>
                      <a:gd name="T9" fmla="*/ 44 h 147"/>
                      <a:gd name="T10" fmla="*/ 214 w 214"/>
                      <a:gd name="T11" fmla="*/ 136 h 147"/>
                      <a:gd name="T12" fmla="*/ 126 w 214"/>
                      <a:gd name="T13" fmla="*/ 147 h 1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14" h="147">
                        <a:moveTo>
                          <a:pt x="126" y="147"/>
                        </a:moveTo>
                        <a:cubicBezTo>
                          <a:pt x="123" y="141"/>
                          <a:pt x="112" y="111"/>
                          <a:pt x="63" y="110"/>
                        </a:cubicBezTo>
                        <a:cubicBezTo>
                          <a:pt x="0" y="108"/>
                          <a:pt x="7" y="22"/>
                          <a:pt x="7" y="22"/>
                        </a:cubicBezTo>
                        <a:cubicBezTo>
                          <a:pt x="7" y="22"/>
                          <a:pt x="18" y="11"/>
                          <a:pt x="28" y="8"/>
                        </a:cubicBezTo>
                        <a:cubicBezTo>
                          <a:pt x="53" y="0"/>
                          <a:pt x="94" y="11"/>
                          <a:pt x="130" y="44"/>
                        </a:cubicBezTo>
                        <a:cubicBezTo>
                          <a:pt x="181" y="90"/>
                          <a:pt x="214" y="136"/>
                          <a:pt x="214" y="136"/>
                        </a:cubicBezTo>
                        <a:cubicBezTo>
                          <a:pt x="214" y="136"/>
                          <a:pt x="175" y="134"/>
                          <a:pt x="126" y="147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" name="Freeform 264">
                    <a:extLst>
                      <a:ext uri="{FF2B5EF4-FFF2-40B4-BE49-F238E27FC236}">
                        <a16:creationId xmlns:a16="http://schemas.microsoft.com/office/drawing/2014/main" id="{54294EFF-5AF2-709D-69A0-F26B0BB7CBF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5580" y="5221289"/>
                    <a:ext cx="611188" cy="523875"/>
                  </a:xfrm>
                  <a:custGeom>
                    <a:avLst/>
                    <a:gdLst>
                      <a:gd name="T0" fmla="*/ 2 w 311"/>
                      <a:gd name="T1" fmla="*/ 259 h 267"/>
                      <a:gd name="T2" fmla="*/ 10 w 311"/>
                      <a:gd name="T3" fmla="*/ 257 h 267"/>
                      <a:gd name="T4" fmla="*/ 22 w 311"/>
                      <a:gd name="T5" fmla="*/ 247 h 267"/>
                      <a:gd name="T6" fmla="*/ 44 w 311"/>
                      <a:gd name="T7" fmla="*/ 81 h 267"/>
                      <a:gd name="T8" fmla="*/ 44 w 311"/>
                      <a:gd name="T9" fmla="*/ 81 h 267"/>
                      <a:gd name="T10" fmla="*/ 66 w 311"/>
                      <a:gd name="T11" fmla="*/ 42 h 267"/>
                      <a:gd name="T12" fmla="*/ 276 w 311"/>
                      <a:gd name="T13" fmla="*/ 0 h 267"/>
                      <a:gd name="T14" fmla="*/ 213 w 311"/>
                      <a:gd name="T15" fmla="*/ 71 h 267"/>
                      <a:gd name="T16" fmla="*/ 82 w 311"/>
                      <a:gd name="T17" fmla="*/ 79 h 267"/>
                      <a:gd name="T18" fmla="*/ 31 w 311"/>
                      <a:gd name="T19" fmla="*/ 249 h 267"/>
                      <a:gd name="T20" fmla="*/ 29 w 311"/>
                      <a:gd name="T21" fmla="*/ 255 h 267"/>
                      <a:gd name="T22" fmla="*/ 25 w 311"/>
                      <a:gd name="T23" fmla="*/ 267 h 267"/>
                      <a:gd name="T24" fmla="*/ 22 w 311"/>
                      <a:gd name="T25" fmla="*/ 266 h 267"/>
                      <a:gd name="T26" fmla="*/ 22 w 311"/>
                      <a:gd name="T27" fmla="*/ 259 h 267"/>
                      <a:gd name="T28" fmla="*/ 11 w 311"/>
                      <a:gd name="T29" fmla="*/ 264 h 267"/>
                      <a:gd name="T30" fmla="*/ 1 w 311"/>
                      <a:gd name="T31" fmla="*/ 262 h 267"/>
                      <a:gd name="T32" fmla="*/ 2 w 311"/>
                      <a:gd name="T33" fmla="*/ 259 h 2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11" h="267">
                        <a:moveTo>
                          <a:pt x="2" y="259"/>
                        </a:moveTo>
                        <a:cubicBezTo>
                          <a:pt x="3" y="259"/>
                          <a:pt x="10" y="257"/>
                          <a:pt x="10" y="257"/>
                        </a:cubicBezTo>
                        <a:cubicBezTo>
                          <a:pt x="22" y="247"/>
                          <a:pt x="22" y="247"/>
                          <a:pt x="22" y="247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2" y="52"/>
                          <a:pt x="66" y="42"/>
                          <a:pt x="66" y="42"/>
                        </a:cubicBezTo>
                        <a:cubicBezTo>
                          <a:pt x="276" y="0"/>
                          <a:pt x="276" y="0"/>
                          <a:pt x="276" y="0"/>
                        </a:cubicBezTo>
                        <a:cubicBezTo>
                          <a:pt x="276" y="0"/>
                          <a:pt x="311" y="59"/>
                          <a:pt x="213" y="71"/>
                        </a:cubicBezTo>
                        <a:cubicBezTo>
                          <a:pt x="182" y="74"/>
                          <a:pt x="161" y="70"/>
                          <a:pt x="82" y="79"/>
                        </a:cubicBezTo>
                        <a:cubicBezTo>
                          <a:pt x="99" y="107"/>
                          <a:pt x="31" y="249"/>
                          <a:pt x="31" y="249"/>
                        </a:cubicBezTo>
                        <a:cubicBezTo>
                          <a:pt x="29" y="255"/>
                          <a:pt x="29" y="255"/>
                          <a:pt x="29" y="255"/>
                        </a:cubicBezTo>
                        <a:cubicBezTo>
                          <a:pt x="25" y="267"/>
                          <a:pt x="25" y="267"/>
                          <a:pt x="25" y="267"/>
                        </a:cubicBezTo>
                        <a:cubicBezTo>
                          <a:pt x="22" y="266"/>
                          <a:pt x="22" y="266"/>
                          <a:pt x="22" y="266"/>
                        </a:cubicBezTo>
                        <a:cubicBezTo>
                          <a:pt x="22" y="259"/>
                          <a:pt x="22" y="259"/>
                          <a:pt x="22" y="259"/>
                        </a:cubicBezTo>
                        <a:cubicBezTo>
                          <a:pt x="11" y="264"/>
                          <a:pt x="11" y="264"/>
                          <a:pt x="11" y="264"/>
                        </a:cubicBezTo>
                        <a:cubicBezTo>
                          <a:pt x="1" y="262"/>
                          <a:pt x="1" y="262"/>
                          <a:pt x="1" y="262"/>
                        </a:cubicBezTo>
                        <a:cubicBezTo>
                          <a:pt x="1" y="262"/>
                          <a:pt x="0" y="259"/>
                          <a:pt x="2" y="25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" name="Freeform 265">
                    <a:extLst>
                      <a:ext uri="{FF2B5EF4-FFF2-40B4-BE49-F238E27FC236}">
                        <a16:creationId xmlns:a16="http://schemas.microsoft.com/office/drawing/2014/main" id="{307BBA5F-3D01-1D16-35F4-D0B6FF74E3F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4167" y="5197476"/>
                    <a:ext cx="487363" cy="219075"/>
                  </a:xfrm>
                  <a:custGeom>
                    <a:avLst/>
                    <a:gdLst>
                      <a:gd name="T0" fmla="*/ 206 w 248"/>
                      <a:gd name="T1" fmla="*/ 0 h 112"/>
                      <a:gd name="T2" fmla="*/ 248 w 248"/>
                      <a:gd name="T3" fmla="*/ 97 h 112"/>
                      <a:gd name="T4" fmla="*/ 26 w 248"/>
                      <a:gd name="T5" fmla="*/ 83 h 112"/>
                      <a:gd name="T6" fmla="*/ 0 w 248"/>
                      <a:gd name="T7" fmla="*/ 52 h 112"/>
                      <a:gd name="T8" fmla="*/ 206 w 248"/>
                      <a:gd name="T9" fmla="*/ 0 h 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8" h="112">
                        <a:moveTo>
                          <a:pt x="206" y="0"/>
                        </a:moveTo>
                        <a:cubicBezTo>
                          <a:pt x="240" y="22"/>
                          <a:pt x="215" y="69"/>
                          <a:pt x="248" y="97"/>
                        </a:cubicBezTo>
                        <a:cubicBezTo>
                          <a:pt x="219" y="112"/>
                          <a:pt x="79" y="112"/>
                          <a:pt x="26" y="83"/>
                        </a:cubicBezTo>
                        <a:cubicBezTo>
                          <a:pt x="4" y="71"/>
                          <a:pt x="0" y="52"/>
                          <a:pt x="0" y="52"/>
                        </a:cubicBezTo>
                        <a:cubicBezTo>
                          <a:pt x="0" y="52"/>
                          <a:pt x="177" y="6"/>
                          <a:pt x="206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" name="Freeform 266">
                    <a:extLst>
                      <a:ext uri="{FF2B5EF4-FFF2-40B4-BE49-F238E27FC236}">
                        <a16:creationId xmlns:a16="http://schemas.microsoft.com/office/drawing/2014/main" id="{A68107D5-7F7D-A557-A931-950E32D80E5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2105" y="4964114"/>
                    <a:ext cx="63500" cy="134938"/>
                  </a:xfrm>
                  <a:custGeom>
                    <a:avLst/>
                    <a:gdLst>
                      <a:gd name="T0" fmla="*/ 32 w 32"/>
                      <a:gd name="T1" fmla="*/ 69 h 69"/>
                      <a:gd name="T2" fmla="*/ 20 w 32"/>
                      <a:gd name="T3" fmla="*/ 0 h 69"/>
                      <a:gd name="T4" fmla="*/ 4 w 32"/>
                      <a:gd name="T5" fmla="*/ 14 h 69"/>
                      <a:gd name="T6" fmla="*/ 32 w 32"/>
                      <a:gd name="T7" fmla="*/ 69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2" h="69">
                        <a:moveTo>
                          <a:pt x="32" y="69"/>
                        </a:moveTo>
                        <a:cubicBezTo>
                          <a:pt x="32" y="69"/>
                          <a:pt x="7" y="24"/>
                          <a:pt x="20" y="0"/>
                        </a:cubicBezTo>
                        <a:cubicBezTo>
                          <a:pt x="17" y="5"/>
                          <a:pt x="12" y="15"/>
                          <a:pt x="4" y="14"/>
                        </a:cubicBezTo>
                        <a:cubicBezTo>
                          <a:pt x="0" y="41"/>
                          <a:pt x="32" y="69"/>
                          <a:pt x="32" y="6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" name="Freeform 267">
                    <a:extLst>
                      <a:ext uri="{FF2B5EF4-FFF2-40B4-BE49-F238E27FC236}">
                        <a16:creationId xmlns:a16="http://schemas.microsoft.com/office/drawing/2014/main" id="{274B6B21-B5CC-164A-F300-BFC3A7A0EF0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69880" y="4946651"/>
                    <a:ext cx="88900" cy="160338"/>
                  </a:xfrm>
                  <a:custGeom>
                    <a:avLst/>
                    <a:gdLst>
                      <a:gd name="T0" fmla="*/ 45 w 45"/>
                      <a:gd name="T1" fmla="*/ 82 h 82"/>
                      <a:gd name="T2" fmla="*/ 17 w 45"/>
                      <a:gd name="T3" fmla="*/ 19 h 82"/>
                      <a:gd name="T4" fmla="*/ 12 w 45"/>
                      <a:gd name="T5" fmla="*/ 12 h 82"/>
                      <a:gd name="T6" fmla="*/ 45 w 45"/>
                      <a:gd name="T7" fmla="*/ 82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5" h="82">
                        <a:moveTo>
                          <a:pt x="45" y="82"/>
                        </a:moveTo>
                        <a:cubicBezTo>
                          <a:pt x="45" y="82"/>
                          <a:pt x="15" y="54"/>
                          <a:pt x="17" y="19"/>
                        </a:cubicBezTo>
                        <a:cubicBezTo>
                          <a:pt x="17" y="9"/>
                          <a:pt x="15" y="0"/>
                          <a:pt x="12" y="12"/>
                        </a:cubicBezTo>
                        <a:cubicBezTo>
                          <a:pt x="0" y="63"/>
                          <a:pt x="45" y="82"/>
                          <a:pt x="45" y="8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" name="Freeform 268">
                    <a:extLst>
                      <a:ext uri="{FF2B5EF4-FFF2-40B4-BE49-F238E27FC236}">
                        <a16:creationId xmlns:a16="http://schemas.microsoft.com/office/drawing/2014/main" id="{7232D0A0-95D8-4299-C6E6-D9CDDA48EEF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3367" y="4899026"/>
                    <a:ext cx="103188" cy="93663"/>
                  </a:xfrm>
                  <a:custGeom>
                    <a:avLst/>
                    <a:gdLst>
                      <a:gd name="T0" fmla="*/ 52 w 53"/>
                      <a:gd name="T1" fmla="*/ 27 h 48"/>
                      <a:gd name="T2" fmla="*/ 42 w 53"/>
                      <a:gd name="T3" fmla="*/ 12 h 48"/>
                      <a:gd name="T4" fmla="*/ 30 w 53"/>
                      <a:gd name="T5" fmla="*/ 0 h 48"/>
                      <a:gd name="T6" fmla="*/ 24 w 53"/>
                      <a:gd name="T7" fmla="*/ 18 h 48"/>
                      <a:gd name="T8" fmla="*/ 13 w 53"/>
                      <a:gd name="T9" fmla="*/ 28 h 48"/>
                      <a:gd name="T10" fmla="*/ 0 w 53"/>
                      <a:gd name="T11" fmla="*/ 29 h 48"/>
                      <a:gd name="T12" fmla="*/ 36 w 53"/>
                      <a:gd name="T13" fmla="*/ 48 h 48"/>
                      <a:gd name="T14" fmla="*/ 52 w 53"/>
                      <a:gd name="T15" fmla="*/ 27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3" h="48">
                        <a:moveTo>
                          <a:pt x="52" y="27"/>
                        </a:moveTo>
                        <a:cubicBezTo>
                          <a:pt x="42" y="23"/>
                          <a:pt x="42" y="12"/>
                          <a:pt x="42" y="12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30" y="0"/>
                          <a:pt x="25" y="11"/>
                          <a:pt x="24" y="18"/>
                        </a:cubicBezTo>
                        <a:cubicBezTo>
                          <a:pt x="22" y="25"/>
                          <a:pt x="16" y="27"/>
                          <a:pt x="13" y="28"/>
                        </a:cubicBezTo>
                        <a:cubicBezTo>
                          <a:pt x="7" y="29"/>
                          <a:pt x="0" y="29"/>
                          <a:pt x="0" y="29"/>
                        </a:cubicBezTo>
                        <a:cubicBezTo>
                          <a:pt x="0" y="29"/>
                          <a:pt x="26" y="31"/>
                          <a:pt x="36" y="48"/>
                        </a:cubicBezTo>
                        <a:cubicBezTo>
                          <a:pt x="53" y="47"/>
                          <a:pt x="48" y="32"/>
                          <a:pt x="52" y="27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" name="Freeform 269">
                    <a:extLst>
                      <a:ext uri="{FF2B5EF4-FFF2-40B4-BE49-F238E27FC236}">
                        <a16:creationId xmlns:a16="http://schemas.microsoft.com/office/drawing/2014/main" id="{B4C62CD5-3CD3-8348-11B6-1B5895E8900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20667" y="4848226"/>
                    <a:ext cx="80963" cy="107950"/>
                  </a:xfrm>
                  <a:custGeom>
                    <a:avLst/>
                    <a:gdLst>
                      <a:gd name="T0" fmla="*/ 9 w 41"/>
                      <a:gd name="T1" fmla="*/ 55 h 55"/>
                      <a:gd name="T2" fmla="*/ 22 w 41"/>
                      <a:gd name="T3" fmla="*/ 55 h 55"/>
                      <a:gd name="T4" fmla="*/ 30 w 41"/>
                      <a:gd name="T5" fmla="*/ 48 h 55"/>
                      <a:gd name="T6" fmla="*/ 33 w 41"/>
                      <a:gd name="T7" fmla="*/ 36 h 55"/>
                      <a:gd name="T8" fmla="*/ 38 w 41"/>
                      <a:gd name="T9" fmla="*/ 32 h 55"/>
                      <a:gd name="T10" fmla="*/ 36 w 41"/>
                      <a:gd name="T11" fmla="*/ 24 h 55"/>
                      <a:gd name="T12" fmla="*/ 34 w 41"/>
                      <a:gd name="T13" fmla="*/ 3 h 55"/>
                      <a:gd name="T14" fmla="*/ 23 w 41"/>
                      <a:gd name="T15" fmla="*/ 0 h 55"/>
                      <a:gd name="T16" fmla="*/ 12 w 41"/>
                      <a:gd name="T17" fmla="*/ 8 h 55"/>
                      <a:gd name="T18" fmla="*/ 0 w 41"/>
                      <a:gd name="T19" fmla="*/ 30 h 55"/>
                      <a:gd name="T20" fmla="*/ 2 w 41"/>
                      <a:gd name="T21" fmla="*/ 32 h 55"/>
                      <a:gd name="T22" fmla="*/ 5 w 41"/>
                      <a:gd name="T23" fmla="*/ 33 h 55"/>
                      <a:gd name="T24" fmla="*/ 5 w 41"/>
                      <a:gd name="T25" fmla="*/ 54 h 55"/>
                      <a:gd name="T26" fmla="*/ 9 w 41"/>
                      <a:gd name="T27" fmla="*/ 55 h 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1" h="55">
                        <a:moveTo>
                          <a:pt x="9" y="55"/>
                        </a:moveTo>
                        <a:cubicBezTo>
                          <a:pt x="12" y="55"/>
                          <a:pt x="17" y="55"/>
                          <a:pt x="22" y="55"/>
                        </a:cubicBezTo>
                        <a:cubicBezTo>
                          <a:pt x="29" y="54"/>
                          <a:pt x="30" y="48"/>
                          <a:pt x="30" y="48"/>
                        </a:cubicBezTo>
                        <a:cubicBezTo>
                          <a:pt x="33" y="36"/>
                          <a:pt x="33" y="36"/>
                          <a:pt x="33" y="36"/>
                        </a:cubicBezTo>
                        <a:cubicBezTo>
                          <a:pt x="33" y="36"/>
                          <a:pt x="36" y="35"/>
                          <a:pt x="38" y="32"/>
                        </a:cubicBezTo>
                        <a:cubicBezTo>
                          <a:pt x="39" y="31"/>
                          <a:pt x="41" y="26"/>
                          <a:pt x="36" y="24"/>
                        </a:cubicBezTo>
                        <a:cubicBezTo>
                          <a:pt x="28" y="21"/>
                          <a:pt x="34" y="3"/>
                          <a:pt x="34" y="3"/>
                        </a:cubicBezTo>
                        <a:cubicBezTo>
                          <a:pt x="23" y="0"/>
                          <a:pt x="23" y="0"/>
                          <a:pt x="23" y="0"/>
                        </a:cubicBezTo>
                        <a:cubicBezTo>
                          <a:pt x="12" y="8"/>
                          <a:pt x="12" y="8"/>
                          <a:pt x="12" y="8"/>
                        </a:cubicBezTo>
                        <a:cubicBezTo>
                          <a:pt x="0" y="30"/>
                          <a:pt x="0" y="30"/>
                          <a:pt x="0" y="30"/>
                        </a:cubicBezTo>
                        <a:cubicBezTo>
                          <a:pt x="0" y="30"/>
                          <a:pt x="0" y="31"/>
                          <a:pt x="2" y="32"/>
                        </a:cubicBezTo>
                        <a:cubicBezTo>
                          <a:pt x="4" y="32"/>
                          <a:pt x="5" y="33"/>
                          <a:pt x="5" y="33"/>
                        </a:cubicBezTo>
                        <a:cubicBezTo>
                          <a:pt x="5" y="33"/>
                          <a:pt x="5" y="53"/>
                          <a:pt x="5" y="54"/>
                        </a:cubicBezTo>
                        <a:cubicBezTo>
                          <a:pt x="5" y="55"/>
                          <a:pt x="7" y="55"/>
                          <a:pt x="9" y="55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" name="Freeform 270">
                    <a:extLst>
                      <a:ext uri="{FF2B5EF4-FFF2-40B4-BE49-F238E27FC236}">
                        <a16:creationId xmlns:a16="http://schemas.microsoft.com/office/drawing/2014/main" id="{1732D1EC-F134-61DC-1267-B23542431C0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44480" y="4838701"/>
                    <a:ext cx="92075" cy="85725"/>
                  </a:xfrm>
                  <a:custGeom>
                    <a:avLst/>
                    <a:gdLst>
                      <a:gd name="T0" fmla="*/ 45 w 47"/>
                      <a:gd name="T1" fmla="*/ 22 h 44"/>
                      <a:gd name="T2" fmla="*/ 44 w 47"/>
                      <a:gd name="T3" fmla="*/ 18 h 44"/>
                      <a:gd name="T4" fmla="*/ 25 w 47"/>
                      <a:gd name="T5" fmla="*/ 3 h 44"/>
                      <a:gd name="T6" fmla="*/ 0 w 47"/>
                      <a:gd name="T7" fmla="*/ 14 h 44"/>
                      <a:gd name="T8" fmla="*/ 14 w 47"/>
                      <a:gd name="T9" fmla="*/ 21 h 44"/>
                      <a:gd name="T10" fmla="*/ 21 w 47"/>
                      <a:gd name="T11" fmla="*/ 30 h 44"/>
                      <a:gd name="T12" fmla="*/ 27 w 47"/>
                      <a:gd name="T13" fmla="*/ 35 h 44"/>
                      <a:gd name="T14" fmla="*/ 36 w 47"/>
                      <a:gd name="T15" fmla="*/ 44 h 44"/>
                      <a:gd name="T16" fmla="*/ 45 w 47"/>
                      <a:gd name="T17" fmla="*/ 22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7" h="44">
                        <a:moveTo>
                          <a:pt x="45" y="22"/>
                        </a:moveTo>
                        <a:cubicBezTo>
                          <a:pt x="44" y="18"/>
                          <a:pt x="44" y="18"/>
                          <a:pt x="44" y="18"/>
                        </a:cubicBezTo>
                        <a:cubicBezTo>
                          <a:pt x="44" y="18"/>
                          <a:pt x="42" y="7"/>
                          <a:pt x="25" y="3"/>
                        </a:cubicBezTo>
                        <a:cubicBezTo>
                          <a:pt x="6" y="0"/>
                          <a:pt x="0" y="14"/>
                          <a:pt x="0" y="14"/>
                        </a:cubicBezTo>
                        <a:cubicBezTo>
                          <a:pt x="0" y="14"/>
                          <a:pt x="14" y="12"/>
                          <a:pt x="14" y="21"/>
                        </a:cubicBezTo>
                        <a:cubicBezTo>
                          <a:pt x="14" y="31"/>
                          <a:pt x="20" y="30"/>
                          <a:pt x="21" y="30"/>
                        </a:cubicBezTo>
                        <a:cubicBezTo>
                          <a:pt x="22" y="30"/>
                          <a:pt x="26" y="31"/>
                          <a:pt x="27" y="35"/>
                        </a:cubicBezTo>
                        <a:cubicBezTo>
                          <a:pt x="27" y="41"/>
                          <a:pt x="33" y="44"/>
                          <a:pt x="36" y="44"/>
                        </a:cubicBezTo>
                        <a:cubicBezTo>
                          <a:pt x="47" y="32"/>
                          <a:pt x="45" y="22"/>
                          <a:pt x="45" y="22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" name="Freeform 271">
                    <a:extLst>
                      <a:ext uri="{FF2B5EF4-FFF2-40B4-BE49-F238E27FC236}">
                        <a16:creationId xmlns:a16="http://schemas.microsoft.com/office/drawing/2014/main" id="{88425FA6-B03D-22E7-1423-6249A08A3AE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6542" y="4886326"/>
                    <a:ext cx="15875" cy="7938"/>
                  </a:xfrm>
                  <a:custGeom>
                    <a:avLst/>
                    <a:gdLst>
                      <a:gd name="T0" fmla="*/ 1 w 8"/>
                      <a:gd name="T1" fmla="*/ 3 h 4"/>
                      <a:gd name="T2" fmla="*/ 2 w 8"/>
                      <a:gd name="T3" fmla="*/ 4 h 4"/>
                      <a:gd name="T4" fmla="*/ 8 w 8"/>
                      <a:gd name="T5" fmla="*/ 4 h 4"/>
                      <a:gd name="T6" fmla="*/ 1 w 8"/>
                      <a:gd name="T7" fmla="*/ 1 h 4"/>
                      <a:gd name="T8" fmla="*/ 1 w 8"/>
                      <a:gd name="T9" fmla="*/ 3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" h="4">
                        <a:moveTo>
                          <a:pt x="1" y="3"/>
                        </a:moveTo>
                        <a:cubicBezTo>
                          <a:pt x="1" y="4"/>
                          <a:pt x="1" y="4"/>
                          <a:pt x="2" y="4"/>
                        </a:cubicBezTo>
                        <a:cubicBezTo>
                          <a:pt x="4" y="4"/>
                          <a:pt x="6" y="4"/>
                          <a:pt x="8" y="4"/>
                        </a:cubicBezTo>
                        <a:cubicBezTo>
                          <a:pt x="8" y="4"/>
                          <a:pt x="6" y="3"/>
                          <a:pt x="1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" name="Freeform 272">
                    <a:extLst>
                      <a:ext uri="{FF2B5EF4-FFF2-40B4-BE49-F238E27FC236}">
                        <a16:creationId xmlns:a16="http://schemas.microsoft.com/office/drawing/2014/main" id="{FED65F3A-06FD-E91E-C861-97C248487C9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1792" y="4857751"/>
                    <a:ext cx="217488" cy="93663"/>
                  </a:xfrm>
                  <a:custGeom>
                    <a:avLst/>
                    <a:gdLst>
                      <a:gd name="T0" fmla="*/ 0 w 111"/>
                      <a:gd name="T1" fmla="*/ 8 h 48"/>
                      <a:gd name="T2" fmla="*/ 17 w 111"/>
                      <a:gd name="T3" fmla="*/ 1 h 48"/>
                      <a:gd name="T4" fmla="*/ 42 w 111"/>
                      <a:gd name="T5" fmla="*/ 11 h 48"/>
                      <a:gd name="T6" fmla="*/ 75 w 111"/>
                      <a:gd name="T7" fmla="*/ 12 h 48"/>
                      <a:gd name="T8" fmla="*/ 94 w 111"/>
                      <a:gd name="T9" fmla="*/ 19 h 48"/>
                      <a:gd name="T10" fmla="*/ 111 w 111"/>
                      <a:gd name="T11" fmla="*/ 34 h 48"/>
                      <a:gd name="T12" fmla="*/ 79 w 111"/>
                      <a:gd name="T13" fmla="*/ 42 h 48"/>
                      <a:gd name="T14" fmla="*/ 50 w 111"/>
                      <a:gd name="T15" fmla="*/ 34 h 48"/>
                      <a:gd name="T16" fmla="*/ 28 w 111"/>
                      <a:gd name="T17" fmla="*/ 22 h 48"/>
                      <a:gd name="T18" fmla="*/ 14 w 111"/>
                      <a:gd name="T19" fmla="*/ 13 h 48"/>
                      <a:gd name="T20" fmla="*/ 1 w 111"/>
                      <a:gd name="T21" fmla="*/ 13 h 48"/>
                      <a:gd name="T22" fmla="*/ 0 w 111"/>
                      <a:gd name="T23" fmla="*/ 8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11" h="48">
                        <a:moveTo>
                          <a:pt x="0" y="8"/>
                        </a:moveTo>
                        <a:cubicBezTo>
                          <a:pt x="0" y="8"/>
                          <a:pt x="7" y="0"/>
                          <a:pt x="17" y="1"/>
                        </a:cubicBezTo>
                        <a:cubicBezTo>
                          <a:pt x="27" y="2"/>
                          <a:pt x="30" y="5"/>
                          <a:pt x="42" y="11"/>
                        </a:cubicBezTo>
                        <a:cubicBezTo>
                          <a:pt x="54" y="16"/>
                          <a:pt x="62" y="11"/>
                          <a:pt x="75" y="12"/>
                        </a:cubicBezTo>
                        <a:cubicBezTo>
                          <a:pt x="88" y="13"/>
                          <a:pt x="92" y="17"/>
                          <a:pt x="94" y="19"/>
                        </a:cubicBezTo>
                        <a:cubicBezTo>
                          <a:pt x="102" y="24"/>
                          <a:pt x="111" y="34"/>
                          <a:pt x="111" y="34"/>
                        </a:cubicBezTo>
                        <a:cubicBezTo>
                          <a:pt x="111" y="34"/>
                          <a:pt x="94" y="48"/>
                          <a:pt x="79" y="42"/>
                        </a:cubicBezTo>
                        <a:cubicBezTo>
                          <a:pt x="74" y="40"/>
                          <a:pt x="66" y="31"/>
                          <a:pt x="50" y="34"/>
                        </a:cubicBezTo>
                        <a:cubicBezTo>
                          <a:pt x="39" y="36"/>
                          <a:pt x="33" y="29"/>
                          <a:pt x="28" y="22"/>
                        </a:cubicBezTo>
                        <a:cubicBezTo>
                          <a:pt x="25" y="18"/>
                          <a:pt x="19" y="14"/>
                          <a:pt x="14" y="13"/>
                        </a:cubicBezTo>
                        <a:cubicBezTo>
                          <a:pt x="9" y="11"/>
                          <a:pt x="1" y="13"/>
                          <a:pt x="1" y="13"/>
                        </a:cubicBez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" name="Freeform 273">
                    <a:extLst>
                      <a:ext uri="{FF2B5EF4-FFF2-40B4-BE49-F238E27FC236}">
                        <a16:creationId xmlns:a16="http://schemas.microsoft.com/office/drawing/2014/main" id="{E40ACB47-4574-773C-DA7D-8764B1C6FF8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8617" y="4868864"/>
                    <a:ext cx="7938" cy="15875"/>
                  </a:xfrm>
                  <a:custGeom>
                    <a:avLst/>
                    <a:gdLst>
                      <a:gd name="T0" fmla="*/ 1 w 4"/>
                      <a:gd name="T1" fmla="*/ 6 h 8"/>
                      <a:gd name="T2" fmla="*/ 3 w 4"/>
                      <a:gd name="T3" fmla="*/ 8 h 8"/>
                      <a:gd name="T4" fmla="*/ 4 w 4"/>
                      <a:gd name="T5" fmla="*/ 5 h 8"/>
                      <a:gd name="T6" fmla="*/ 3 w 4"/>
                      <a:gd name="T7" fmla="*/ 2 h 8"/>
                      <a:gd name="T8" fmla="*/ 1 w 4"/>
                      <a:gd name="T9" fmla="*/ 0 h 8"/>
                      <a:gd name="T10" fmla="*/ 0 w 4"/>
                      <a:gd name="T11" fmla="*/ 2 h 8"/>
                      <a:gd name="T12" fmla="*/ 1 w 4"/>
                      <a:gd name="T13" fmla="*/ 6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" h="8">
                        <a:moveTo>
                          <a:pt x="1" y="6"/>
                        </a:moveTo>
                        <a:cubicBezTo>
                          <a:pt x="1" y="7"/>
                          <a:pt x="2" y="8"/>
                          <a:pt x="3" y="8"/>
                        </a:cubicBezTo>
                        <a:cubicBezTo>
                          <a:pt x="4" y="7"/>
                          <a:pt x="4" y="6"/>
                          <a:pt x="4" y="5"/>
                        </a:cubicBezTo>
                        <a:cubicBezTo>
                          <a:pt x="3" y="2"/>
                          <a:pt x="3" y="2"/>
                          <a:pt x="3" y="2"/>
                        </a:cubicBezTo>
                        <a:cubicBezTo>
                          <a:pt x="3" y="1"/>
                          <a:pt x="2" y="0"/>
                          <a:pt x="1" y="0"/>
                        </a:cubicBezTo>
                        <a:cubicBezTo>
                          <a:pt x="0" y="1"/>
                          <a:pt x="0" y="1"/>
                          <a:pt x="0" y="2"/>
                        </a:cubicBezTo>
                        <a:lnTo>
                          <a:pt x="1" y="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" name="Freeform 274">
                    <a:extLst>
                      <a:ext uri="{FF2B5EF4-FFF2-40B4-BE49-F238E27FC236}">
                        <a16:creationId xmlns:a16="http://schemas.microsoft.com/office/drawing/2014/main" id="{8B42ED85-7215-EFB9-65BB-E5E0A9573CD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7505" y="4951414"/>
                    <a:ext cx="50800" cy="150813"/>
                  </a:xfrm>
                  <a:custGeom>
                    <a:avLst/>
                    <a:gdLst>
                      <a:gd name="T0" fmla="*/ 8 w 26"/>
                      <a:gd name="T1" fmla="*/ 0 h 77"/>
                      <a:gd name="T2" fmla="*/ 1 w 26"/>
                      <a:gd name="T3" fmla="*/ 34 h 77"/>
                      <a:gd name="T4" fmla="*/ 26 w 26"/>
                      <a:gd name="T5" fmla="*/ 77 h 77"/>
                      <a:gd name="T6" fmla="*/ 12 w 26"/>
                      <a:gd name="T7" fmla="*/ 31 h 77"/>
                      <a:gd name="T8" fmla="*/ 5 w 26"/>
                      <a:gd name="T9" fmla="*/ 28 h 77"/>
                      <a:gd name="T10" fmla="*/ 12 w 26"/>
                      <a:gd name="T11" fmla="*/ 23 h 77"/>
                      <a:gd name="T12" fmla="*/ 12 w 26"/>
                      <a:gd name="T13" fmla="*/ 1 h 77"/>
                      <a:gd name="T14" fmla="*/ 8 w 26"/>
                      <a:gd name="T15" fmla="*/ 0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6" h="77">
                        <a:moveTo>
                          <a:pt x="8" y="0"/>
                        </a:moveTo>
                        <a:cubicBezTo>
                          <a:pt x="8" y="0"/>
                          <a:pt x="0" y="15"/>
                          <a:pt x="1" y="34"/>
                        </a:cubicBezTo>
                        <a:cubicBezTo>
                          <a:pt x="2" y="54"/>
                          <a:pt x="22" y="73"/>
                          <a:pt x="26" y="77"/>
                        </a:cubicBezTo>
                        <a:cubicBezTo>
                          <a:pt x="16" y="59"/>
                          <a:pt x="12" y="31"/>
                          <a:pt x="12" y="31"/>
                        </a:cubicBezTo>
                        <a:cubicBezTo>
                          <a:pt x="5" y="28"/>
                          <a:pt x="5" y="28"/>
                          <a:pt x="5" y="28"/>
                        </a:cubicBezTo>
                        <a:cubicBezTo>
                          <a:pt x="12" y="23"/>
                          <a:pt x="12" y="23"/>
                          <a:pt x="12" y="23"/>
                        </a:cubicBezTo>
                        <a:cubicBezTo>
                          <a:pt x="12" y="1"/>
                          <a:pt x="12" y="1"/>
                          <a:pt x="12" y="1"/>
                        </a:cubicBezTo>
                        <a:lnTo>
                          <a:pt x="8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" name="Freeform 275">
                    <a:extLst>
                      <a:ext uri="{FF2B5EF4-FFF2-40B4-BE49-F238E27FC236}">
                        <a16:creationId xmlns:a16="http://schemas.microsoft.com/office/drawing/2014/main" id="{C958CA3F-544D-1C55-FF15-9E367037432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87317" y="5113339"/>
                    <a:ext cx="174625" cy="79375"/>
                  </a:xfrm>
                  <a:custGeom>
                    <a:avLst/>
                    <a:gdLst>
                      <a:gd name="T0" fmla="*/ 1 w 110"/>
                      <a:gd name="T1" fmla="*/ 0 h 50"/>
                      <a:gd name="T2" fmla="*/ 110 w 110"/>
                      <a:gd name="T3" fmla="*/ 22 h 50"/>
                      <a:gd name="T4" fmla="*/ 95 w 110"/>
                      <a:gd name="T5" fmla="*/ 50 h 50"/>
                      <a:gd name="T6" fmla="*/ 0 w 110"/>
                      <a:gd name="T7" fmla="*/ 12 h 50"/>
                      <a:gd name="T8" fmla="*/ 1 w 110"/>
                      <a:gd name="T9" fmla="*/ 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0" h="50">
                        <a:moveTo>
                          <a:pt x="1" y="0"/>
                        </a:moveTo>
                        <a:lnTo>
                          <a:pt x="110" y="22"/>
                        </a:lnTo>
                        <a:lnTo>
                          <a:pt x="95" y="50"/>
                        </a:lnTo>
                        <a:lnTo>
                          <a:pt x="0" y="12"/>
                        </a:ln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" name="Freeform 276">
                    <a:extLst>
                      <a:ext uri="{FF2B5EF4-FFF2-40B4-BE49-F238E27FC236}">
                        <a16:creationId xmlns:a16="http://schemas.microsoft.com/office/drawing/2014/main" id="{8A90B0B8-3B7F-0D8F-4210-1897AEAF2B2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77805" y="4949826"/>
                    <a:ext cx="252413" cy="258763"/>
                  </a:xfrm>
                  <a:custGeom>
                    <a:avLst/>
                    <a:gdLst>
                      <a:gd name="T0" fmla="*/ 7 w 128"/>
                      <a:gd name="T1" fmla="*/ 93 h 132"/>
                      <a:gd name="T2" fmla="*/ 49 w 128"/>
                      <a:gd name="T3" fmla="*/ 102 h 132"/>
                      <a:gd name="T4" fmla="*/ 91 w 128"/>
                      <a:gd name="T5" fmla="*/ 24 h 132"/>
                      <a:gd name="T6" fmla="*/ 121 w 128"/>
                      <a:gd name="T7" fmla="*/ 53 h 132"/>
                      <a:gd name="T8" fmla="*/ 70 w 128"/>
                      <a:gd name="T9" fmla="*/ 119 h 132"/>
                      <a:gd name="T10" fmla="*/ 38 w 128"/>
                      <a:gd name="T11" fmla="*/ 127 h 132"/>
                      <a:gd name="T12" fmla="*/ 0 w 128"/>
                      <a:gd name="T13" fmla="*/ 112 h 132"/>
                      <a:gd name="T14" fmla="*/ 7 w 128"/>
                      <a:gd name="T15" fmla="*/ 93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8" h="132">
                        <a:moveTo>
                          <a:pt x="7" y="93"/>
                        </a:moveTo>
                        <a:cubicBezTo>
                          <a:pt x="49" y="102"/>
                          <a:pt x="49" y="102"/>
                          <a:pt x="49" y="102"/>
                        </a:cubicBezTo>
                        <a:cubicBezTo>
                          <a:pt x="49" y="102"/>
                          <a:pt x="81" y="54"/>
                          <a:pt x="91" y="24"/>
                        </a:cubicBezTo>
                        <a:cubicBezTo>
                          <a:pt x="109" y="0"/>
                          <a:pt x="128" y="26"/>
                          <a:pt x="121" y="53"/>
                        </a:cubicBezTo>
                        <a:cubicBezTo>
                          <a:pt x="101" y="86"/>
                          <a:pt x="82" y="108"/>
                          <a:pt x="70" y="119"/>
                        </a:cubicBezTo>
                        <a:cubicBezTo>
                          <a:pt x="55" y="132"/>
                          <a:pt x="38" y="127"/>
                          <a:pt x="38" y="127"/>
                        </a:cubicBezTo>
                        <a:cubicBezTo>
                          <a:pt x="38" y="127"/>
                          <a:pt x="14" y="117"/>
                          <a:pt x="0" y="112"/>
                        </a:cubicBezTo>
                        <a:lnTo>
                          <a:pt x="7" y="93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" name="Freeform 278">
                    <a:extLst>
                      <a:ext uri="{FF2B5EF4-FFF2-40B4-BE49-F238E27FC236}">
                        <a16:creationId xmlns:a16="http://schemas.microsoft.com/office/drawing/2014/main" id="{3AF428AE-248B-BC6C-2AE0-BB6B2D337D9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12705" y="5087939"/>
                    <a:ext cx="79375" cy="46038"/>
                  </a:xfrm>
                  <a:custGeom>
                    <a:avLst/>
                    <a:gdLst>
                      <a:gd name="T0" fmla="*/ 40 w 40"/>
                      <a:gd name="T1" fmla="*/ 14 h 24"/>
                      <a:gd name="T2" fmla="*/ 31 w 40"/>
                      <a:gd name="T3" fmla="*/ 9 h 24"/>
                      <a:gd name="T4" fmla="*/ 24 w 40"/>
                      <a:gd name="T5" fmla="*/ 4 h 24"/>
                      <a:gd name="T6" fmla="*/ 21 w 40"/>
                      <a:gd name="T7" fmla="*/ 2 h 24"/>
                      <a:gd name="T8" fmla="*/ 4 w 40"/>
                      <a:gd name="T9" fmla="*/ 1 h 24"/>
                      <a:gd name="T10" fmla="*/ 4 w 40"/>
                      <a:gd name="T11" fmla="*/ 2 h 24"/>
                      <a:gd name="T12" fmla="*/ 12 w 40"/>
                      <a:gd name="T13" fmla="*/ 4 h 24"/>
                      <a:gd name="T14" fmla="*/ 1 w 40"/>
                      <a:gd name="T15" fmla="*/ 7 h 24"/>
                      <a:gd name="T16" fmla="*/ 3 w 40"/>
                      <a:gd name="T17" fmla="*/ 9 h 24"/>
                      <a:gd name="T18" fmla="*/ 11 w 40"/>
                      <a:gd name="T19" fmla="*/ 8 h 24"/>
                      <a:gd name="T20" fmla="*/ 25 w 40"/>
                      <a:gd name="T21" fmla="*/ 20 h 24"/>
                      <a:gd name="T22" fmla="*/ 19 w 40"/>
                      <a:gd name="T23" fmla="*/ 21 h 24"/>
                      <a:gd name="T24" fmla="*/ 22 w 40"/>
                      <a:gd name="T25" fmla="*/ 24 h 24"/>
                      <a:gd name="T26" fmla="*/ 39 w 40"/>
                      <a:gd name="T27" fmla="*/ 23 h 24"/>
                      <a:gd name="T28" fmla="*/ 40 w 40"/>
                      <a:gd name="T29" fmla="*/ 14 h 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0" h="24">
                        <a:moveTo>
                          <a:pt x="40" y="14"/>
                        </a:moveTo>
                        <a:cubicBezTo>
                          <a:pt x="40" y="14"/>
                          <a:pt x="35" y="12"/>
                          <a:pt x="31" y="9"/>
                        </a:cubicBezTo>
                        <a:cubicBezTo>
                          <a:pt x="28" y="7"/>
                          <a:pt x="24" y="4"/>
                          <a:pt x="24" y="4"/>
                        </a:cubicBezTo>
                        <a:cubicBezTo>
                          <a:pt x="24" y="4"/>
                          <a:pt x="23" y="3"/>
                          <a:pt x="21" y="2"/>
                        </a:cubicBezTo>
                        <a:cubicBezTo>
                          <a:pt x="20" y="1"/>
                          <a:pt x="12" y="0"/>
                          <a:pt x="4" y="1"/>
                        </a:cubicBezTo>
                        <a:cubicBezTo>
                          <a:pt x="3" y="1"/>
                          <a:pt x="3" y="2"/>
                          <a:pt x="4" y="2"/>
                        </a:cubicBezTo>
                        <a:cubicBezTo>
                          <a:pt x="5" y="3"/>
                          <a:pt x="12" y="4"/>
                          <a:pt x="12" y="4"/>
                        </a:cubicBezTo>
                        <a:cubicBezTo>
                          <a:pt x="12" y="4"/>
                          <a:pt x="3" y="6"/>
                          <a:pt x="1" y="7"/>
                        </a:cubicBezTo>
                        <a:cubicBezTo>
                          <a:pt x="0" y="7"/>
                          <a:pt x="1" y="9"/>
                          <a:pt x="3" y="9"/>
                        </a:cubicBezTo>
                        <a:cubicBezTo>
                          <a:pt x="4" y="9"/>
                          <a:pt x="11" y="8"/>
                          <a:pt x="11" y="8"/>
                        </a:cubicBezTo>
                        <a:cubicBezTo>
                          <a:pt x="25" y="20"/>
                          <a:pt x="25" y="20"/>
                          <a:pt x="25" y="20"/>
                        </a:cubicBezTo>
                        <a:cubicBezTo>
                          <a:pt x="19" y="21"/>
                          <a:pt x="19" y="21"/>
                          <a:pt x="19" y="21"/>
                        </a:cubicBezTo>
                        <a:cubicBezTo>
                          <a:pt x="22" y="24"/>
                          <a:pt x="22" y="24"/>
                          <a:pt x="22" y="24"/>
                        </a:cubicBezTo>
                        <a:cubicBezTo>
                          <a:pt x="22" y="24"/>
                          <a:pt x="30" y="24"/>
                          <a:pt x="39" y="23"/>
                        </a:cubicBezTo>
                        <a:lnTo>
                          <a:pt x="40" y="14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" name="Freeform 279">
                    <a:extLst>
                      <a:ext uri="{FF2B5EF4-FFF2-40B4-BE49-F238E27FC236}">
                        <a16:creationId xmlns:a16="http://schemas.microsoft.com/office/drawing/2014/main" id="{AF263BFC-2BAE-9C91-DB42-39300408FB5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2405" y="5707064"/>
                    <a:ext cx="63500" cy="38100"/>
                  </a:xfrm>
                  <a:custGeom>
                    <a:avLst/>
                    <a:gdLst>
                      <a:gd name="T0" fmla="*/ 11 w 32"/>
                      <a:gd name="T1" fmla="*/ 9 h 19"/>
                      <a:gd name="T2" fmla="*/ 2 w 32"/>
                      <a:gd name="T3" fmla="*/ 11 h 19"/>
                      <a:gd name="T4" fmla="*/ 1 w 32"/>
                      <a:gd name="T5" fmla="*/ 14 h 19"/>
                      <a:gd name="T6" fmla="*/ 13 w 32"/>
                      <a:gd name="T7" fmla="*/ 16 h 19"/>
                      <a:gd name="T8" fmla="*/ 23 w 32"/>
                      <a:gd name="T9" fmla="*/ 10 h 19"/>
                      <a:gd name="T10" fmla="*/ 22 w 32"/>
                      <a:gd name="T11" fmla="*/ 18 h 19"/>
                      <a:gd name="T12" fmla="*/ 26 w 32"/>
                      <a:gd name="T13" fmla="*/ 19 h 19"/>
                      <a:gd name="T14" fmla="*/ 30 w 32"/>
                      <a:gd name="T15" fmla="*/ 6 h 19"/>
                      <a:gd name="T16" fmla="*/ 31 w 32"/>
                      <a:gd name="T17" fmla="*/ 0 h 19"/>
                      <a:gd name="T18" fmla="*/ 23 w 32"/>
                      <a:gd name="T19" fmla="*/ 5 h 19"/>
                      <a:gd name="T20" fmla="*/ 11 w 32"/>
                      <a:gd name="T21" fmla="*/ 9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2" h="19">
                        <a:moveTo>
                          <a:pt x="11" y="9"/>
                        </a:moveTo>
                        <a:cubicBezTo>
                          <a:pt x="8" y="9"/>
                          <a:pt x="3" y="11"/>
                          <a:pt x="2" y="11"/>
                        </a:cubicBezTo>
                        <a:cubicBezTo>
                          <a:pt x="0" y="11"/>
                          <a:pt x="1" y="14"/>
                          <a:pt x="1" y="14"/>
                        </a:cubicBezTo>
                        <a:cubicBezTo>
                          <a:pt x="1" y="14"/>
                          <a:pt x="11" y="15"/>
                          <a:pt x="13" y="16"/>
                        </a:cubicBezTo>
                        <a:cubicBezTo>
                          <a:pt x="15" y="16"/>
                          <a:pt x="23" y="10"/>
                          <a:pt x="23" y="10"/>
                        </a:cubicBezTo>
                        <a:cubicBezTo>
                          <a:pt x="22" y="18"/>
                          <a:pt x="22" y="18"/>
                          <a:pt x="22" y="18"/>
                        </a:cubicBezTo>
                        <a:cubicBezTo>
                          <a:pt x="26" y="19"/>
                          <a:pt x="26" y="19"/>
                          <a:pt x="26" y="19"/>
                        </a:cubicBezTo>
                        <a:cubicBezTo>
                          <a:pt x="26" y="19"/>
                          <a:pt x="28" y="12"/>
                          <a:pt x="30" y="6"/>
                        </a:cubicBezTo>
                        <a:cubicBezTo>
                          <a:pt x="32" y="3"/>
                          <a:pt x="31" y="0"/>
                          <a:pt x="31" y="0"/>
                        </a:cubicBezTo>
                        <a:cubicBezTo>
                          <a:pt x="31" y="0"/>
                          <a:pt x="29" y="0"/>
                          <a:pt x="23" y="5"/>
                        </a:cubicBezTo>
                        <a:cubicBezTo>
                          <a:pt x="17" y="11"/>
                          <a:pt x="13" y="9"/>
                          <a:pt x="11" y="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4" name="Freeform 179">
                  <a:extLst>
                    <a:ext uri="{FF2B5EF4-FFF2-40B4-BE49-F238E27FC236}">
                      <a16:creationId xmlns:a16="http://schemas.microsoft.com/office/drawing/2014/main" id="{7B69E327-B783-17D8-8F21-6ACAD871BB5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81113" y="4808808"/>
                  <a:ext cx="566968" cy="273800"/>
                </a:xfrm>
                <a:custGeom>
                  <a:avLst/>
                  <a:gdLst>
                    <a:gd name="T0" fmla="*/ 262 w 551"/>
                    <a:gd name="T1" fmla="*/ 0 h 266"/>
                    <a:gd name="T2" fmla="*/ 238 w 551"/>
                    <a:gd name="T3" fmla="*/ 1 h 266"/>
                    <a:gd name="T4" fmla="*/ 240 w 551"/>
                    <a:gd name="T5" fmla="*/ 6 h 266"/>
                    <a:gd name="T6" fmla="*/ 264 w 551"/>
                    <a:gd name="T7" fmla="*/ 12 h 266"/>
                    <a:gd name="T8" fmla="*/ 282 w 551"/>
                    <a:gd name="T9" fmla="*/ 24 h 266"/>
                    <a:gd name="T10" fmla="*/ 281 w 551"/>
                    <a:gd name="T11" fmla="*/ 24 h 266"/>
                    <a:gd name="T12" fmla="*/ 280 w 551"/>
                    <a:gd name="T13" fmla="*/ 111 h 266"/>
                    <a:gd name="T14" fmla="*/ 218 w 551"/>
                    <a:gd name="T15" fmla="*/ 100 h 266"/>
                    <a:gd name="T16" fmla="*/ 166 w 551"/>
                    <a:gd name="T17" fmla="*/ 128 h 266"/>
                    <a:gd name="T18" fmla="*/ 94 w 551"/>
                    <a:gd name="T19" fmla="*/ 246 h 266"/>
                    <a:gd name="T20" fmla="*/ 0 w 551"/>
                    <a:gd name="T21" fmla="*/ 266 h 266"/>
                    <a:gd name="T22" fmla="*/ 224 w 551"/>
                    <a:gd name="T23" fmla="*/ 266 h 266"/>
                    <a:gd name="T24" fmla="*/ 241 w 551"/>
                    <a:gd name="T25" fmla="*/ 240 h 266"/>
                    <a:gd name="T26" fmla="*/ 212 w 551"/>
                    <a:gd name="T27" fmla="*/ 236 h 266"/>
                    <a:gd name="T28" fmla="*/ 217 w 551"/>
                    <a:gd name="T29" fmla="*/ 156 h 266"/>
                    <a:gd name="T30" fmla="*/ 280 w 551"/>
                    <a:gd name="T31" fmla="*/ 166 h 266"/>
                    <a:gd name="T32" fmla="*/ 279 w 551"/>
                    <a:gd name="T33" fmla="*/ 266 h 266"/>
                    <a:gd name="T34" fmla="*/ 364 w 551"/>
                    <a:gd name="T35" fmla="*/ 266 h 266"/>
                    <a:gd name="T36" fmla="*/ 348 w 551"/>
                    <a:gd name="T37" fmla="*/ 167 h 266"/>
                    <a:gd name="T38" fmla="*/ 451 w 551"/>
                    <a:gd name="T39" fmla="*/ 166 h 266"/>
                    <a:gd name="T40" fmla="*/ 510 w 551"/>
                    <a:gd name="T41" fmla="*/ 167 h 266"/>
                    <a:gd name="T42" fmla="*/ 519 w 551"/>
                    <a:gd name="T43" fmla="*/ 168 h 266"/>
                    <a:gd name="T44" fmla="*/ 521 w 551"/>
                    <a:gd name="T45" fmla="*/ 168 h 266"/>
                    <a:gd name="T46" fmla="*/ 545 w 551"/>
                    <a:gd name="T47" fmla="*/ 168 h 266"/>
                    <a:gd name="T48" fmla="*/ 546 w 551"/>
                    <a:gd name="T49" fmla="*/ 160 h 266"/>
                    <a:gd name="T50" fmla="*/ 532 w 551"/>
                    <a:gd name="T51" fmla="*/ 158 h 266"/>
                    <a:gd name="T52" fmla="*/ 548 w 551"/>
                    <a:gd name="T53" fmla="*/ 143 h 266"/>
                    <a:gd name="T54" fmla="*/ 551 w 551"/>
                    <a:gd name="T55" fmla="*/ 121 h 266"/>
                    <a:gd name="T56" fmla="*/ 548 w 551"/>
                    <a:gd name="T57" fmla="*/ 119 h 266"/>
                    <a:gd name="T58" fmla="*/ 545 w 551"/>
                    <a:gd name="T59" fmla="*/ 121 h 266"/>
                    <a:gd name="T60" fmla="*/ 537 w 551"/>
                    <a:gd name="T61" fmla="*/ 135 h 266"/>
                    <a:gd name="T62" fmla="*/ 511 w 551"/>
                    <a:gd name="T63" fmla="*/ 150 h 266"/>
                    <a:gd name="T64" fmla="*/ 338 w 551"/>
                    <a:gd name="T65" fmla="*/ 121 h 266"/>
                    <a:gd name="T66" fmla="*/ 315 w 551"/>
                    <a:gd name="T67" fmla="*/ 27 h 266"/>
                    <a:gd name="T68" fmla="*/ 306 w 551"/>
                    <a:gd name="T69" fmla="*/ 25 h 266"/>
                    <a:gd name="T70" fmla="*/ 306 w 551"/>
                    <a:gd name="T71" fmla="*/ 22 h 266"/>
                    <a:gd name="T72" fmla="*/ 306 w 551"/>
                    <a:gd name="T73" fmla="*/ 0 h 266"/>
                    <a:gd name="T74" fmla="*/ 288 w 551"/>
                    <a:gd name="T75" fmla="*/ 0 h 266"/>
                    <a:gd name="T76" fmla="*/ 287 w 551"/>
                    <a:gd name="T77" fmla="*/ 8 h 266"/>
                    <a:gd name="T78" fmla="*/ 262 w 551"/>
                    <a:gd name="T79" fmla="*/ 0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551" h="266">
                      <a:moveTo>
                        <a:pt x="262" y="0"/>
                      </a:moveTo>
                      <a:cubicBezTo>
                        <a:pt x="238" y="1"/>
                        <a:pt x="238" y="1"/>
                        <a:pt x="238" y="1"/>
                      </a:cubicBezTo>
                      <a:cubicBezTo>
                        <a:pt x="238" y="1"/>
                        <a:pt x="235" y="5"/>
                        <a:pt x="240" y="6"/>
                      </a:cubicBezTo>
                      <a:cubicBezTo>
                        <a:pt x="241" y="6"/>
                        <a:pt x="264" y="12"/>
                        <a:pt x="264" y="12"/>
                      </a:cubicBezTo>
                      <a:cubicBezTo>
                        <a:pt x="282" y="24"/>
                        <a:pt x="282" y="24"/>
                        <a:pt x="282" y="24"/>
                      </a:cubicBezTo>
                      <a:cubicBezTo>
                        <a:pt x="281" y="24"/>
                        <a:pt x="281" y="24"/>
                        <a:pt x="281" y="24"/>
                      </a:cubicBezTo>
                      <a:cubicBezTo>
                        <a:pt x="280" y="111"/>
                        <a:pt x="280" y="111"/>
                        <a:pt x="280" y="111"/>
                      </a:cubicBezTo>
                      <a:cubicBezTo>
                        <a:pt x="218" y="100"/>
                        <a:pt x="218" y="100"/>
                        <a:pt x="218" y="100"/>
                      </a:cubicBezTo>
                      <a:cubicBezTo>
                        <a:pt x="218" y="100"/>
                        <a:pt x="187" y="101"/>
                        <a:pt x="166" y="128"/>
                      </a:cubicBezTo>
                      <a:cubicBezTo>
                        <a:pt x="163" y="132"/>
                        <a:pt x="129" y="188"/>
                        <a:pt x="94" y="246"/>
                      </a:cubicBezTo>
                      <a:cubicBezTo>
                        <a:pt x="63" y="251"/>
                        <a:pt x="31" y="258"/>
                        <a:pt x="0" y="266"/>
                      </a:cubicBezTo>
                      <a:cubicBezTo>
                        <a:pt x="224" y="266"/>
                        <a:pt x="224" y="266"/>
                        <a:pt x="224" y="266"/>
                      </a:cubicBezTo>
                      <a:cubicBezTo>
                        <a:pt x="228" y="258"/>
                        <a:pt x="233" y="249"/>
                        <a:pt x="241" y="240"/>
                      </a:cubicBezTo>
                      <a:cubicBezTo>
                        <a:pt x="234" y="238"/>
                        <a:pt x="224" y="237"/>
                        <a:pt x="212" y="236"/>
                      </a:cubicBezTo>
                      <a:cubicBezTo>
                        <a:pt x="215" y="205"/>
                        <a:pt x="216" y="176"/>
                        <a:pt x="217" y="156"/>
                      </a:cubicBezTo>
                      <a:cubicBezTo>
                        <a:pt x="224" y="162"/>
                        <a:pt x="248" y="165"/>
                        <a:pt x="280" y="166"/>
                      </a:cubicBezTo>
                      <a:cubicBezTo>
                        <a:pt x="279" y="266"/>
                        <a:pt x="279" y="266"/>
                        <a:pt x="279" y="266"/>
                      </a:cubicBezTo>
                      <a:cubicBezTo>
                        <a:pt x="364" y="266"/>
                        <a:pt x="364" y="266"/>
                        <a:pt x="364" y="266"/>
                      </a:cubicBezTo>
                      <a:cubicBezTo>
                        <a:pt x="362" y="236"/>
                        <a:pt x="356" y="201"/>
                        <a:pt x="348" y="167"/>
                      </a:cubicBezTo>
                      <a:cubicBezTo>
                        <a:pt x="382" y="166"/>
                        <a:pt x="417" y="166"/>
                        <a:pt x="451" y="166"/>
                      </a:cubicBezTo>
                      <a:cubicBezTo>
                        <a:pt x="472" y="166"/>
                        <a:pt x="492" y="166"/>
                        <a:pt x="510" y="167"/>
                      </a:cubicBezTo>
                      <a:cubicBezTo>
                        <a:pt x="510" y="167"/>
                        <a:pt x="514" y="168"/>
                        <a:pt x="519" y="168"/>
                      </a:cubicBezTo>
                      <a:cubicBezTo>
                        <a:pt x="520" y="168"/>
                        <a:pt x="520" y="168"/>
                        <a:pt x="521" y="168"/>
                      </a:cubicBezTo>
                      <a:cubicBezTo>
                        <a:pt x="532" y="168"/>
                        <a:pt x="545" y="168"/>
                        <a:pt x="545" y="168"/>
                      </a:cubicBezTo>
                      <a:cubicBezTo>
                        <a:pt x="546" y="160"/>
                        <a:pt x="546" y="160"/>
                        <a:pt x="546" y="160"/>
                      </a:cubicBezTo>
                      <a:cubicBezTo>
                        <a:pt x="532" y="158"/>
                        <a:pt x="532" y="158"/>
                        <a:pt x="532" y="158"/>
                      </a:cubicBezTo>
                      <a:cubicBezTo>
                        <a:pt x="532" y="158"/>
                        <a:pt x="547" y="147"/>
                        <a:pt x="548" y="143"/>
                      </a:cubicBezTo>
                      <a:cubicBezTo>
                        <a:pt x="548" y="139"/>
                        <a:pt x="551" y="121"/>
                        <a:pt x="551" y="121"/>
                      </a:cubicBezTo>
                      <a:cubicBezTo>
                        <a:pt x="551" y="121"/>
                        <a:pt x="549" y="119"/>
                        <a:pt x="548" y="119"/>
                      </a:cubicBezTo>
                      <a:cubicBezTo>
                        <a:pt x="547" y="119"/>
                        <a:pt x="546" y="120"/>
                        <a:pt x="545" y="121"/>
                      </a:cubicBezTo>
                      <a:cubicBezTo>
                        <a:pt x="545" y="123"/>
                        <a:pt x="539" y="131"/>
                        <a:pt x="537" y="135"/>
                      </a:cubicBezTo>
                      <a:cubicBezTo>
                        <a:pt x="511" y="150"/>
                        <a:pt x="511" y="150"/>
                        <a:pt x="511" y="150"/>
                      </a:cubicBezTo>
                      <a:cubicBezTo>
                        <a:pt x="338" y="121"/>
                        <a:pt x="338" y="121"/>
                        <a:pt x="338" y="121"/>
                      </a:cubicBezTo>
                      <a:cubicBezTo>
                        <a:pt x="326" y="73"/>
                        <a:pt x="315" y="27"/>
                        <a:pt x="315" y="27"/>
                      </a:cubicBezTo>
                      <a:cubicBezTo>
                        <a:pt x="306" y="25"/>
                        <a:pt x="306" y="25"/>
                        <a:pt x="306" y="25"/>
                      </a:cubicBezTo>
                      <a:cubicBezTo>
                        <a:pt x="306" y="22"/>
                        <a:pt x="306" y="22"/>
                        <a:pt x="306" y="22"/>
                      </a:cubicBezTo>
                      <a:cubicBezTo>
                        <a:pt x="306" y="0"/>
                        <a:pt x="306" y="0"/>
                        <a:pt x="306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87" y="8"/>
                        <a:pt x="287" y="8"/>
                        <a:pt x="287" y="8"/>
                      </a:cubicBezTo>
                      <a:cubicBezTo>
                        <a:pt x="262" y="0"/>
                        <a:pt x="262" y="0"/>
                        <a:pt x="262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5" name="Freeform 178">
                  <a:extLst>
                    <a:ext uri="{FF2B5EF4-FFF2-40B4-BE49-F238E27FC236}">
                      <a16:creationId xmlns:a16="http://schemas.microsoft.com/office/drawing/2014/main" id="{C8A993DC-B113-3436-8FAF-016085CAD54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695018" y="4798755"/>
                  <a:ext cx="340636" cy="295218"/>
                </a:xfrm>
                <a:custGeom>
                  <a:avLst/>
                  <a:gdLst>
                    <a:gd name="T0" fmla="*/ 214 w 308"/>
                    <a:gd name="T1" fmla="*/ 0 h 267"/>
                    <a:gd name="T2" fmla="*/ 208 w 308"/>
                    <a:gd name="T3" fmla="*/ 1 h 267"/>
                    <a:gd name="T4" fmla="*/ 210 w 308"/>
                    <a:gd name="T5" fmla="*/ 13 h 267"/>
                    <a:gd name="T6" fmla="*/ 195 w 308"/>
                    <a:gd name="T7" fmla="*/ 4 h 267"/>
                    <a:gd name="T8" fmla="*/ 194 w 308"/>
                    <a:gd name="T9" fmla="*/ 4 h 267"/>
                    <a:gd name="T10" fmla="*/ 175 w 308"/>
                    <a:gd name="T11" fmla="*/ 8 h 267"/>
                    <a:gd name="T12" fmla="*/ 177 w 308"/>
                    <a:gd name="T13" fmla="*/ 12 h 267"/>
                    <a:gd name="T14" fmla="*/ 190 w 308"/>
                    <a:gd name="T15" fmla="*/ 16 h 267"/>
                    <a:gd name="T16" fmla="*/ 210 w 308"/>
                    <a:gd name="T17" fmla="*/ 32 h 267"/>
                    <a:gd name="T18" fmla="*/ 230 w 308"/>
                    <a:gd name="T19" fmla="*/ 190 h 267"/>
                    <a:gd name="T20" fmla="*/ 172 w 308"/>
                    <a:gd name="T21" fmla="*/ 119 h 267"/>
                    <a:gd name="T22" fmla="*/ 124 w 308"/>
                    <a:gd name="T23" fmla="*/ 94 h 267"/>
                    <a:gd name="T24" fmla="*/ 74 w 308"/>
                    <a:gd name="T25" fmla="*/ 128 h 267"/>
                    <a:gd name="T26" fmla="*/ 0 w 308"/>
                    <a:gd name="T27" fmla="*/ 267 h 267"/>
                    <a:gd name="T28" fmla="*/ 135 w 308"/>
                    <a:gd name="T29" fmla="*/ 267 h 267"/>
                    <a:gd name="T30" fmla="*/ 139 w 308"/>
                    <a:gd name="T31" fmla="*/ 192 h 267"/>
                    <a:gd name="T32" fmla="*/ 218 w 308"/>
                    <a:gd name="T33" fmla="*/ 267 h 267"/>
                    <a:gd name="T34" fmla="*/ 308 w 308"/>
                    <a:gd name="T35" fmla="*/ 267 h 267"/>
                    <a:gd name="T36" fmla="*/ 223 w 308"/>
                    <a:gd name="T37" fmla="*/ 29 h 267"/>
                    <a:gd name="T38" fmla="*/ 222 w 308"/>
                    <a:gd name="T39" fmla="*/ 20 h 267"/>
                    <a:gd name="T40" fmla="*/ 214 w 308"/>
                    <a:gd name="T41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08" h="267">
                      <a:moveTo>
                        <a:pt x="214" y="0"/>
                      </a:moveTo>
                      <a:cubicBezTo>
                        <a:pt x="208" y="1"/>
                        <a:pt x="208" y="1"/>
                        <a:pt x="208" y="1"/>
                      </a:cubicBezTo>
                      <a:cubicBezTo>
                        <a:pt x="210" y="13"/>
                        <a:pt x="210" y="13"/>
                        <a:pt x="210" y="13"/>
                      </a:cubicBezTo>
                      <a:cubicBezTo>
                        <a:pt x="210" y="13"/>
                        <a:pt x="198" y="4"/>
                        <a:pt x="195" y="4"/>
                      </a:cubicBezTo>
                      <a:cubicBezTo>
                        <a:pt x="194" y="4"/>
                        <a:pt x="194" y="4"/>
                        <a:pt x="194" y="4"/>
                      </a:cubicBezTo>
                      <a:cubicBezTo>
                        <a:pt x="191" y="5"/>
                        <a:pt x="175" y="8"/>
                        <a:pt x="175" y="8"/>
                      </a:cubicBezTo>
                      <a:cubicBezTo>
                        <a:pt x="175" y="8"/>
                        <a:pt x="173" y="12"/>
                        <a:pt x="177" y="12"/>
                      </a:cubicBezTo>
                      <a:cubicBezTo>
                        <a:pt x="178" y="12"/>
                        <a:pt x="187" y="15"/>
                        <a:pt x="190" y="16"/>
                      </a:cubicBezTo>
                      <a:cubicBezTo>
                        <a:pt x="210" y="32"/>
                        <a:pt x="210" y="32"/>
                        <a:pt x="210" y="32"/>
                      </a:cubicBezTo>
                      <a:cubicBezTo>
                        <a:pt x="230" y="190"/>
                        <a:pt x="230" y="190"/>
                        <a:pt x="230" y="190"/>
                      </a:cubicBezTo>
                      <a:cubicBezTo>
                        <a:pt x="200" y="154"/>
                        <a:pt x="177" y="125"/>
                        <a:pt x="172" y="119"/>
                      </a:cubicBezTo>
                      <a:cubicBezTo>
                        <a:pt x="164" y="107"/>
                        <a:pt x="145" y="94"/>
                        <a:pt x="124" y="94"/>
                      </a:cubicBezTo>
                      <a:cubicBezTo>
                        <a:pt x="107" y="94"/>
                        <a:pt x="89" y="102"/>
                        <a:pt x="74" y="128"/>
                      </a:cubicBezTo>
                      <a:cubicBezTo>
                        <a:pt x="54" y="164"/>
                        <a:pt x="24" y="222"/>
                        <a:pt x="0" y="267"/>
                      </a:cubicBezTo>
                      <a:cubicBezTo>
                        <a:pt x="135" y="267"/>
                        <a:pt x="135" y="267"/>
                        <a:pt x="135" y="267"/>
                      </a:cubicBezTo>
                      <a:cubicBezTo>
                        <a:pt x="138" y="241"/>
                        <a:pt x="139" y="214"/>
                        <a:pt x="139" y="192"/>
                      </a:cubicBezTo>
                      <a:cubicBezTo>
                        <a:pt x="218" y="267"/>
                        <a:pt x="218" y="267"/>
                        <a:pt x="218" y="267"/>
                      </a:cubicBezTo>
                      <a:cubicBezTo>
                        <a:pt x="308" y="267"/>
                        <a:pt x="308" y="267"/>
                        <a:pt x="308" y="267"/>
                      </a:cubicBezTo>
                      <a:cubicBezTo>
                        <a:pt x="297" y="187"/>
                        <a:pt x="223" y="29"/>
                        <a:pt x="223" y="29"/>
                      </a:cubicBezTo>
                      <a:cubicBezTo>
                        <a:pt x="223" y="29"/>
                        <a:pt x="223" y="24"/>
                        <a:pt x="222" y="20"/>
                      </a:cubicBezTo>
                      <a:cubicBezTo>
                        <a:pt x="218" y="11"/>
                        <a:pt x="214" y="0"/>
                        <a:pt x="214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6" name="Freeform 176">
                  <a:extLst>
                    <a:ext uri="{FF2B5EF4-FFF2-40B4-BE49-F238E27FC236}">
                      <a16:creationId xmlns:a16="http://schemas.microsoft.com/office/drawing/2014/main" id="{6C3E3FB2-4979-4576-56A6-F0A24343BB0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36034" y="4916018"/>
                  <a:ext cx="541027" cy="181578"/>
                </a:xfrm>
                <a:custGeom>
                  <a:avLst/>
                  <a:gdLst>
                    <a:gd name="T0" fmla="*/ 91 w 375"/>
                    <a:gd name="T1" fmla="*/ 0 h 126"/>
                    <a:gd name="T2" fmla="*/ 48 w 375"/>
                    <a:gd name="T3" fmla="*/ 25 h 126"/>
                    <a:gd name="T4" fmla="*/ 0 w 375"/>
                    <a:gd name="T5" fmla="*/ 126 h 126"/>
                    <a:gd name="T6" fmla="*/ 88 w 375"/>
                    <a:gd name="T7" fmla="*/ 126 h 126"/>
                    <a:gd name="T8" fmla="*/ 92 w 375"/>
                    <a:gd name="T9" fmla="*/ 48 h 126"/>
                    <a:gd name="T10" fmla="*/ 152 w 375"/>
                    <a:gd name="T11" fmla="*/ 55 h 126"/>
                    <a:gd name="T12" fmla="*/ 240 w 375"/>
                    <a:gd name="T13" fmla="*/ 52 h 126"/>
                    <a:gd name="T14" fmla="*/ 331 w 375"/>
                    <a:gd name="T15" fmla="*/ 50 h 126"/>
                    <a:gd name="T16" fmla="*/ 341 w 375"/>
                    <a:gd name="T17" fmla="*/ 50 h 126"/>
                    <a:gd name="T18" fmla="*/ 349 w 375"/>
                    <a:gd name="T19" fmla="*/ 51 h 126"/>
                    <a:gd name="T20" fmla="*/ 351 w 375"/>
                    <a:gd name="T21" fmla="*/ 51 h 126"/>
                    <a:gd name="T22" fmla="*/ 371 w 375"/>
                    <a:gd name="T23" fmla="*/ 50 h 126"/>
                    <a:gd name="T24" fmla="*/ 372 w 375"/>
                    <a:gd name="T25" fmla="*/ 44 h 126"/>
                    <a:gd name="T26" fmla="*/ 360 w 375"/>
                    <a:gd name="T27" fmla="*/ 42 h 126"/>
                    <a:gd name="T28" fmla="*/ 373 w 375"/>
                    <a:gd name="T29" fmla="*/ 29 h 126"/>
                    <a:gd name="T30" fmla="*/ 375 w 375"/>
                    <a:gd name="T31" fmla="*/ 10 h 126"/>
                    <a:gd name="T32" fmla="*/ 372 w 375"/>
                    <a:gd name="T33" fmla="*/ 9 h 126"/>
                    <a:gd name="T34" fmla="*/ 370 w 375"/>
                    <a:gd name="T35" fmla="*/ 10 h 126"/>
                    <a:gd name="T36" fmla="*/ 363 w 375"/>
                    <a:gd name="T37" fmla="*/ 22 h 126"/>
                    <a:gd name="T38" fmla="*/ 342 w 375"/>
                    <a:gd name="T39" fmla="*/ 36 h 126"/>
                    <a:gd name="T40" fmla="*/ 176 w 375"/>
                    <a:gd name="T41" fmla="*/ 13 h 126"/>
                    <a:gd name="T42" fmla="*/ 91 w 375"/>
                    <a:gd name="T43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75" h="126">
                      <a:moveTo>
                        <a:pt x="91" y="0"/>
                      </a:moveTo>
                      <a:cubicBezTo>
                        <a:pt x="91" y="0"/>
                        <a:pt x="65" y="2"/>
                        <a:pt x="48" y="25"/>
                      </a:cubicBezTo>
                      <a:cubicBezTo>
                        <a:pt x="46" y="29"/>
                        <a:pt x="23" y="76"/>
                        <a:pt x="0" y="126"/>
                      </a:cubicBezTo>
                      <a:cubicBezTo>
                        <a:pt x="88" y="126"/>
                        <a:pt x="88" y="126"/>
                        <a:pt x="88" y="126"/>
                      </a:cubicBezTo>
                      <a:cubicBezTo>
                        <a:pt x="91" y="96"/>
                        <a:pt x="92" y="67"/>
                        <a:pt x="92" y="48"/>
                      </a:cubicBezTo>
                      <a:cubicBezTo>
                        <a:pt x="99" y="53"/>
                        <a:pt x="121" y="55"/>
                        <a:pt x="152" y="55"/>
                      </a:cubicBezTo>
                      <a:cubicBezTo>
                        <a:pt x="177" y="55"/>
                        <a:pt x="208" y="53"/>
                        <a:pt x="240" y="52"/>
                      </a:cubicBezTo>
                      <a:cubicBezTo>
                        <a:pt x="271" y="51"/>
                        <a:pt x="303" y="50"/>
                        <a:pt x="331" y="50"/>
                      </a:cubicBezTo>
                      <a:cubicBezTo>
                        <a:pt x="334" y="50"/>
                        <a:pt x="338" y="50"/>
                        <a:pt x="341" y="50"/>
                      </a:cubicBezTo>
                      <a:cubicBezTo>
                        <a:pt x="341" y="50"/>
                        <a:pt x="345" y="51"/>
                        <a:pt x="349" y="51"/>
                      </a:cubicBezTo>
                      <a:cubicBezTo>
                        <a:pt x="349" y="51"/>
                        <a:pt x="350" y="51"/>
                        <a:pt x="351" y="51"/>
                      </a:cubicBezTo>
                      <a:cubicBezTo>
                        <a:pt x="360" y="50"/>
                        <a:pt x="371" y="50"/>
                        <a:pt x="371" y="50"/>
                      </a:cubicBezTo>
                      <a:cubicBezTo>
                        <a:pt x="372" y="44"/>
                        <a:pt x="372" y="44"/>
                        <a:pt x="372" y="44"/>
                      </a:cubicBezTo>
                      <a:cubicBezTo>
                        <a:pt x="360" y="42"/>
                        <a:pt x="360" y="42"/>
                        <a:pt x="360" y="42"/>
                      </a:cubicBezTo>
                      <a:cubicBezTo>
                        <a:pt x="360" y="42"/>
                        <a:pt x="373" y="33"/>
                        <a:pt x="373" y="29"/>
                      </a:cubicBezTo>
                      <a:cubicBezTo>
                        <a:pt x="373" y="26"/>
                        <a:pt x="375" y="10"/>
                        <a:pt x="375" y="10"/>
                      </a:cubicBezTo>
                      <a:cubicBezTo>
                        <a:pt x="375" y="10"/>
                        <a:pt x="374" y="9"/>
                        <a:pt x="372" y="9"/>
                      </a:cubicBezTo>
                      <a:cubicBezTo>
                        <a:pt x="372" y="9"/>
                        <a:pt x="371" y="9"/>
                        <a:pt x="370" y="10"/>
                      </a:cubicBezTo>
                      <a:cubicBezTo>
                        <a:pt x="370" y="11"/>
                        <a:pt x="365" y="19"/>
                        <a:pt x="363" y="22"/>
                      </a:cubicBezTo>
                      <a:cubicBezTo>
                        <a:pt x="342" y="36"/>
                        <a:pt x="342" y="36"/>
                        <a:pt x="342" y="36"/>
                      </a:cubicBezTo>
                      <a:cubicBezTo>
                        <a:pt x="176" y="13"/>
                        <a:pt x="176" y="13"/>
                        <a:pt x="176" y="13"/>
                      </a:cubicBezTo>
                      <a:cubicBezTo>
                        <a:pt x="91" y="0"/>
                        <a:pt x="91" y="0"/>
                        <a:pt x="91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612794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133CDBA-0E1C-093B-42FC-9A79F64000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2464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606" imgH="608" progId="TCLayout.ActiveDocument.1">
                  <p:embed/>
                </p:oleObj>
              </mc:Choice>
              <mc:Fallback>
                <p:oleObj name="think-cell Folie" r:id="rId7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EA78E29-6B9C-E699-34B8-E8921929984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3371" y="3501008"/>
            <a:ext cx="5436605" cy="402418"/>
          </a:xfrm>
        </p:spPr>
        <p:txBody>
          <a:bodyPr>
            <a:spAutoFit/>
          </a:bodyPr>
          <a:lstStyle/>
          <a:p>
            <a:r>
              <a:rPr lang="de-DE" sz="2400" b="1" dirty="0"/>
              <a:t>Ohne Versicherung geht‘s nicht! 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542D6AA-4EA1-9547-B14A-E13968646C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5472609" cy="936104"/>
          </a:xfrm>
        </p:spPr>
        <p:txBody>
          <a:bodyPr vert="horz"/>
          <a:lstStyle/>
          <a:p>
            <a:r>
              <a:rPr lang="de-DE" dirty="0"/>
              <a:t>Aber: Alles wird gut…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30995D4-DB32-8CD6-B1CE-D9D94AFE9EB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B58C3F2-3AE3-417E-B204-81AF71A01582}" type="slidenum">
              <a:rPr lang="de-DE" smtClean="0">
                <a:solidFill>
                  <a:srgbClr val="FFFFFF"/>
                </a:solidFill>
              </a:rPr>
              <a:pPr/>
              <a:t>30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B6BC03A-8687-1DA0-0715-932288B560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9712AB7-73F7-9548-AE62-9510BB2EC887}" type="datetime1">
              <a:rPr lang="de-DE" smtClean="0">
                <a:solidFill>
                  <a:srgbClr val="FFFFFF"/>
                </a:solidFill>
              </a:rPr>
              <a:t>03.03.2025</a:t>
            </a:fld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8C0B68A-D5A0-37BE-9600-54A9BA23EB7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63952" y="766667"/>
            <a:ext cx="5968675" cy="5468681"/>
          </a:xfrm>
          <a:prstGeom prst="rect">
            <a:avLst/>
          </a:prstGeom>
        </p:spPr>
      </p:pic>
      <p:grpSp>
        <p:nvGrpSpPr>
          <p:cNvPr id="13" name="easyIcon">
            <a:extLst>
              <a:ext uri="{FF2B5EF4-FFF2-40B4-BE49-F238E27FC236}">
                <a16:creationId xmlns:a16="http://schemas.microsoft.com/office/drawing/2014/main" id="{9035B566-BAEE-7BE8-EE17-239AF8068A6E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3719736" y="2076077"/>
            <a:ext cx="1280915" cy="1280915"/>
            <a:chOff x="3042987" y="885569"/>
            <a:chExt cx="714051" cy="714051"/>
          </a:xfrm>
        </p:grpSpPr>
        <p:sp>
          <p:nvSpPr>
            <p:cNvPr id="16" name="Background">
              <a:extLst>
                <a:ext uri="{FF2B5EF4-FFF2-40B4-BE49-F238E27FC236}">
                  <a16:creationId xmlns:a16="http://schemas.microsoft.com/office/drawing/2014/main" id="{5B5A26B4-8946-50EA-8911-55F0E4774919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3042987" y="885569"/>
              <a:ext cx="714051" cy="714051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50D2"/>
                  </a:solidFill>
                </a14:hiddenFill>
              </a:ext>
              <a:ext uri="{91240B29-F687-4F45-9708-019B960494DF}">
                <a14:hiddenLine xmlns:a14="http://schemas.microsoft.com/office/drawing/2010/main" w="19050" cap="flat" cmpd="sng" algn="ctr">
                  <a:solidFill>
                    <a:srgbClr val="0050D2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Aft>
                  <a:spcPts val="800"/>
                </a:spcAft>
              </a:pPr>
              <a:endParaRPr lang="de-DE" sz="1600" dirty="0">
                <a:solidFill>
                  <a:schemeClr val="bg1"/>
                </a:solidFill>
                <a:ea typeface="Arial" panose="020B060403050404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7" name="Vector">
              <a:extLst>
                <a:ext uri="{FF2B5EF4-FFF2-40B4-BE49-F238E27FC236}">
                  <a16:creationId xmlns:a16="http://schemas.microsoft.com/office/drawing/2014/main" id="{F5C3004D-961B-FCD1-C1B0-13F56F7E1EF9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 bwMode="gray">
            <a:xfrm>
              <a:off x="3148012" y="1038226"/>
              <a:ext cx="504001" cy="40873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2546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5F07488C-9962-D6F5-AADF-057F06FAB3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0370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06" imgH="608" progId="TCLayout.ActiveDocument.1">
                  <p:embed/>
                </p:oleObj>
              </mc:Choice>
              <mc:Fallback>
                <p:oleObj name="think-cell Folie" r:id="rId4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FDCC7388-6E74-F5A9-2B18-04D3C36CFE4B}"/>
              </a:ext>
            </a:extLst>
          </p:cNvPr>
          <p:cNvGrpSpPr/>
          <p:nvPr/>
        </p:nvGrpSpPr>
        <p:grpSpPr>
          <a:xfrm>
            <a:off x="3372122" y="1901046"/>
            <a:ext cx="7846822" cy="4071486"/>
            <a:chOff x="3372122" y="1901046"/>
            <a:chExt cx="7846822" cy="4071486"/>
          </a:xfrm>
        </p:grpSpPr>
        <p:sp>
          <p:nvSpPr>
            <p:cNvPr id="61" name="Abgerundetes Rechteck 60">
              <a:extLst>
                <a:ext uri="{FF2B5EF4-FFF2-40B4-BE49-F238E27FC236}">
                  <a16:creationId xmlns:a16="http://schemas.microsoft.com/office/drawing/2014/main" id="{52A2B642-C522-7248-89D1-D184746E2D27}"/>
                </a:ext>
              </a:extLst>
            </p:cNvPr>
            <p:cNvSpPr/>
            <p:nvPr/>
          </p:nvSpPr>
          <p:spPr>
            <a:xfrm>
              <a:off x="3372122" y="1901046"/>
              <a:ext cx="7817574" cy="4071486"/>
            </a:xfrm>
            <a:prstGeom prst="roundRect">
              <a:avLst>
                <a:gd name="adj" fmla="val 1537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788AAA"/>
                </a:solidFill>
                <a:effectLst/>
                <a:uLnTx/>
                <a:uFillTx/>
                <a:latin typeface="TeXGyreHeros" panose="00000500000000000000" pitchFamily="50" charset="0"/>
                <a:ea typeface="+mn-ea"/>
                <a:cs typeface="+mn-cs"/>
              </a:endParaRPr>
            </a:p>
          </p:txBody>
        </p:sp>
        <p:cxnSp>
          <p:nvCxnSpPr>
            <p:cNvPr id="63" name="Gerade Verbindung 62">
              <a:extLst>
                <a:ext uri="{FF2B5EF4-FFF2-40B4-BE49-F238E27FC236}">
                  <a16:creationId xmlns:a16="http://schemas.microsoft.com/office/drawing/2014/main" id="{AA5C3057-0A45-604B-94A5-BE96A0E3546D}"/>
                </a:ext>
              </a:extLst>
            </p:cNvPr>
            <p:cNvCxnSpPr/>
            <p:nvPr/>
          </p:nvCxnSpPr>
          <p:spPr>
            <a:xfrm>
              <a:off x="3372494" y="2727436"/>
              <a:ext cx="7846450" cy="0"/>
            </a:xfrm>
            <a:prstGeom prst="line">
              <a:avLst/>
            </a:prstGeom>
            <a:ln w="190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B9A64587-3986-1E46-BB28-2C27C6AB940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78810" y="5202539"/>
              <a:ext cx="544398" cy="338327"/>
            </a:xfrm>
            <a:prstGeom prst="rect">
              <a:avLst/>
            </a:prstGeom>
          </p:spPr>
        </p:pic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1CBE370D-7F96-8C43-B58C-84D2A6DFD91A}"/>
                </a:ext>
              </a:extLst>
            </p:cNvPr>
            <p:cNvSpPr txBox="1"/>
            <p:nvPr/>
          </p:nvSpPr>
          <p:spPr>
            <a:xfrm>
              <a:off x="4135053" y="3254978"/>
              <a:ext cx="236728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dirty="0">
                  <a:solidFill>
                    <a:srgbClr val="1E3F72"/>
                  </a:solidFill>
                  <a:latin typeface="TeXGyreHeros" panose="00000500000000000000" pitchFamily="50" charset="0"/>
                </a:rPr>
                <a:t>m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ehr als 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2.800 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Mitarbeitende</a:t>
              </a: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ECFACA2E-F209-A040-A6EB-82E30933A774}"/>
                </a:ext>
              </a:extLst>
            </p:cNvPr>
            <p:cNvSpPr txBox="1"/>
            <p:nvPr/>
          </p:nvSpPr>
          <p:spPr>
            <a:xfrm>
              <a:off x="4135052" y="3687664"/>
              <a:ext cx="1892181" cy="7596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dirty="0">
                  <a:solidFill>
                    <a:srgbClr val="1E3F72"/>
                  </a:solidFill>
                  <a:latin typeface="TeXGyreHeros" panose="00000500000000000000" pitchFamily="50" charset="0"/>
                </a:rPr>
                <a:t>m</a:t>
              </a:r>
              <a:r>
                <a:rPr kumimoji="0" lang="de-DE" sz="1000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ehr als 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200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 Expertinnen und Experten in der Schaden-bearbeitung mit ca. 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185.000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 Schäden</a:t>
              </a: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5BDD18E9-7840-144E-9A46-C01C724433EC}"/>
                </a:ext>
              </a:extLst>
            </p:cNvPr>
            <p:cNvSpPr txBox="1"/>
            <p:nvPr/>
          </p:nvSpPr>
          <p:spPr>
            <a:xfrm>
              <a:off x="4135893" y="4391208"/>
              <a:ext cx="1787628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dirty="0">
                  <a:solidFill>
                    <a:srgbClr val="1E3F72"/>
                  </a:solidFill>
                  <a:latin typeface="TeXGyreHeros" panose="00000500000000000000" pitchFamily="50" charset="0"/>
                </a:rPr>
                <a:t>p</a:t>
              </a:r>
              <a:r>
                <a:rPr kumimoji="0" lang="de-DE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latziertes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 Prämienvolumen in Deutschland: </a:t>
              </a:r>
              <a:r>
                <a:rPr lang="de-DE" sz="1000" b="1" dirty="0">
                  <a:solidFill>
                    <a:srgbClr val="1E3F72"/>
                  </a:solidFill>
                  <a:latin typeface="TeXGyreHeros" panose="00000500000000000000" pitchFamily="50" charset="0"/>
                  <a:cs typeface="+mn-cs"/>
                </a:rPr>
                <a:t>3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 Milliarden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Euro p. a.</a:t>
              </a:r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FC05D266-8581-B649-99F1-943AB49D6C7E}"/>
                </a:ext>
              </a:extLst>
            </p:cNvPr>
            <p:cNvSpPr txBox="1"/>
            <p:nvPr/>
          </p:nvSpPr>
          <p:spPr>
            <a:xfrm>
              <a:off x="4135053" y="5094753"/>
              <a:ext cx="1754940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Präsenz in 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170 Ländern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durch das ECCLESIA GLOBAL NETWORK</a:t>
              </a:r>
              <a:endPara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1E3F72"/>
                </a:solidFill>
                <a:effectLst/>
                <a:uLnTx/>
                <a:uFillTx/>
                <a:latin typeface="TeXGyreHeros" panose="00000500000000000000" pitchFamily="50" charset="0"/>
                <a:ea typeface="+mn-ea"/>
                <a:cs typeface="+mn-cs"/>
              </a:endParaRPr>
            </a:p>
          </p:txBody>
        </p:sp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3B5645ED-784B-727A-FE24-68D4E2F070F6}"/>
                </a:ext>
              </a:extLst>
            </p:cNvPr>
            <p:cNvGrpSpPr/>
            <p:nvPr/>
          </p:nvGrpSpPr>
          <p:grpSpPr>
            <a:xfrm>
              <a:off x="3604684" y="3203419"/>
              <a:ext cx="457264" cy="339206"/>
              <a:chOff x="3693652" y="3283043"/>
              <a:chExt cx="457264" cy="339206"/>
            </a:xfrm>
          </p:grpSpPr>
          <p:sp>
            <p:nvSpPr>
              <p:cNvPr id="162" name="Freihandform 161">
                <a:extLst>
                  <a:ext uri="{FF2B5EF4-FFF2-40B4-BE49-F238E27FC236}">
                    <a16:creationId xmlns:a16="http://schemas.microsoft.com/office/drawing/2014/main" id="{A8E00D21-EA51-50E1-DE29-7398A1C956A5}"/>
                  </a:ext>
                </a:extLst>
              </p:cNvPr>
              <p:cNvSpPr/>
              <p:nvPr/>
            </p:nvSpPr>
            <p:spPr>
              <a:xfrm>
                <a:off x="3741328" y="3283043"/>
                <a:ext cx="122876" cy="170743"/>
              </a:xfrm>
              <a:custGeom>
                <a:avLst/>
                <a:gdLst>
                  <a:gd name="connsiteX0" fmla="*/ 60865 w 122876"/>
                  <a:gd name="connsiteY0" fmla="*/ 170740 h 170743"/>
                  <a:gd name="connsiteX1" fmla="*/ 0 w 122876"/>
                  <a:gd name="connsiteY1" fmla="*/ 109866 h 170743"/>
                  <a:gd name="connsiteX2" fmla="*/ 0 w 122876"/>
                  <a:gd name="connsiteY2" fmla="*/ 61037 h 170743"/>
                  <a:gd name="connsiteX3" fmla="*/ 61438 w 122876"/>
                  <a:gd name="connsiteY3" fmla="*/ 0 h 170743"/>
                  <a:gd name="connsiteX4" fmla="*/ 122877 w 122876"/>
                  <a:gd name="connsiteY4" fmla="*/ 61037 h 170743"/>
                  <a:gd name="connsiteX5" fmla="*/ 122877 w 122876"/>
                  <a:gd name="connsiteY5" fmla="*/ 109866 h 170743"/>
                  <a:gd name="connsiteX6" fmla="*/ 61442 w 122876"/>
                  <a:gd name="connsiteY6" fmla="*/ 170743 h 170743"/>
                  <a:gd name="connsiteX7" fmla="*/ 60865 w 122876"/>
                  <a:gd name="connsiteY7" fmla="*/ 170740 h 170743"/>
                  <a:gd name="connsiteX8" fmla="*/ 60865 w 122876"/>
                  <a:gd name="connsiteY8" fmla="*/ 12126 h 170743"/>
                  <a:gd name="connsiteX9" fmla="*/ 11714 w 122876"/>
                  <a:gd name="connsiteY9" fmla="*/ 60955 h 170743"/>
                  <a:gd name="connsiteX10" fmla="*/ 11714 w 122876"/>
                  <a:gd name="connsiteY10" fmla="*/ 109785 h 170743"/>
                  <a:gd name="connsiteX11" fmla="*/ 60865 w 122876"/>
                  <a:gd name="connsiteY11" fmla="*/ 158614 h 170743"/>
                  <a:gd name="connsiteX12" fmla="*/ 110016 w 122876"/>
                  <a:gd name="connsiteY12" fmla="*/ 109785 h 170743"/>
                  <a:gd name="connsiteX13" fmla="*/ 110016 w 122876"/>
                  <a:gd name="connsiteY13" fmla="*/ 60955 h 170743"/>
                  <a:gd name="connsiteX14" fmla="*/ 60865 w 122876"/>
                  <a:gd name="connsiteY14" fmla="*/ 12126 h 170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2876" h="170743">
                    <a:moveTo>
                      <a:pt x="60865" y="170740"/>
                    </a:moveTo>
                    <a:cubicBezTo>
                      <a:pt x="27184" y="170516"/>
                      <a:pt x="-1" y="143327"/>
                      <a:pt x="0" y="109866"/>
                    </a:cubicBezTo>
                    <a:lnTo>
                      <a:pt x="0" y="61037"/>
                    </a:lnTo>
                    <a:cubicBezTo>
                      <a:pt x="0" y="27327"/>
                      <a:pt x="27507" y="0"/>
                      <a:pt x="61438" y="0"/>
                    </a:cubicBezTo>
                    <a:cubicBezTo>
                      <a:pt x="95370" y="0"/>
                      <a:pt x="122877" y="27327"/>
                      <a:pt x="122877" y="61037"/>
                    </a:cubicBezTo>
                    <a:lnTo>
                      <a:pt x="122877" y="109866"/>
                    </a:lnTo>
                    <a:cubicBezTo>
                      <a:pt x="122833" y="143531"/>
                      <a:pt x="95328" y="170787"/>
                      <a:pt x="61442" y="170743"/>
                    </a:cubicBezTo>
                    <a:cubicBezTo>
                      <a:pt x="61250" y="170743"/>
                      <a:pt x="61057" y="170743"/>
                      <a:pt x="60865" y="170740"/>
                    </a:cubicBezTo>
                    <a:close/>
                    <a:moveTo>
                      <a:pt x="60865" y="12126"/>
                    </a:moveTo>
                    <a:cubicBezTo>
                      <a:pt x="33720" y="12126"/>
                      <a:pt x="11714" y="33988"/>
                      <a:pt x="11714" y="60955"/>
                    </a:cubicBezTo>
                    <a:lnTo>
                      <a:pt x="11714" y="109785"/>
                    </a:lnTo>
                    <a:cubicBezTo>
                      <a:pt x="11714" y="136752"/>
                      <a:pt x="33720" y="158614"/>
                      <a:pt x="60865" y="158614"/>
                    </a:cubicBezTo>
                    <a:cubicBezTo>
                      <a:pt x="88010" y="158614"/>
                      <a:pt x="110016" y="136752"/>
                      <a:pt x="110016" y="109785"/>
                    </a:cubicBezTo>
                    <a:lnTo>
                      <a:pt x="110016" y="60955"/>
                    </a:lnTo>
                    <a:cubicBezTo>
                      <a:pt x="110016" y="33988"/>
                      <a:pt x="88010" y="12126"/>
                      <a:pt x="60865" y="12126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63" name="Freihandform 162">
                <a:extLst>
                  <a:ext uri="{FF2B5EF4-FFF2-40B4-BE49-F238E27FC236}">
                    <a16:creationId xmlns:a16="http://schemas.microsoft.com/office/drawing/2014/main" id="{1B79716D-DD8E-1D94-75FB-3B72469934A2}"/>
                  </a:ext>
                </a:extLst>
              </p:cNvPr>
              <p:cNvSpPr/>
              <p:nvPr/>
            </p:nvSpPr>
            <p:spPr>
              <a:xfrm>
                <a:off x="3719885" y="3364465"/>
                <a:ext cx="24392" cy="45737"/>
              </a:xfrm>
              <a:custGeom>
                <a:avLst/>
                <a:gdLst>
                  <a:gd name="connsiteX0" fmla="*/ 24392 w 24392"/>
                  <a:gd name="connsiteY0" fmla="*/ 45696 h 45737"/>
                  <a:gd name="connsiteX1" fmla="*/ 42 w 24392"/>
                  <a:gd name="connsiteY1" fmla="*/ 24233 h 45737"/>
                  <a:gd name="connsiteX2" fmla="*/ 21647 w 24392"/>
                  <a:gd name="connsiteY2" fmla="*/ 41 h 45737"/>
                  <a:gd name="connsiteX3" fmla="*/ 24392 w 24392"/>
                  <a:gd name="connsiteY3" fmla="*/ 41 h 45737"/>
                  <a:gd name="connsiteX4" fmla="*/ 24392 w 24392"/>
                  <a:gd name="connsiteY4" fmla="*/ 12248 h 45737"/>
                  <a:gd name="connsiteX5" fmla="*/ 12765 w 24392"/>
                  <a:gd name="connsiteY5" fmla="*/ 21938 h 45737"/>
                  <a:gd name="connsiteX6" fmla="*/ 22519 w 24392"/>
                  <a:gd name="connsiteY6" fmla="*/ 33489 h 45737"/>
                  <a:gd name="connsiteX7" fmla="*/ 24392 w 24392"/>
                  <a:gd name="connsiteY7" fmla="*/ 33489 h 45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392" h="45737">
                    <a:moveTo>
                      <a:pt x="24392" y="45696"/>
                    </a:moveTo>
                    <a:cubicBezTo>
                      <a:pt x="11702" y="46449"/>
                      <a:pt x="800" y="36840"/>
                      <a:pt x="42" y="24233"/>
                    </a:cubicBezTo>
                    <a:cubicBezTo>
                      <a:pt x="-716" y="11625"/>
                      <a:pt x="8957" y="794"/>
                      <a:pt x="21647" y="41"/>
                    </a:cubicBezTo>
                    <a:cubicBezTo>
                      <a:pt x="22561" y="-14"/>
                      <a:pt x="23478" y="-14"/>
                      <a:pt x="24392" y="41"/>
                    </a:cubicBezTo>
                    <a:lnTo>
                      <a:pt x="24392" y="12248"/>
                    </a:lnTo>
                    <a:cubicBezTo>
                      <a:pt x="18488" y="11734"/>
                      <a:pt x="13283" y="16072"/>
                      <a:pt x="12765" y="21938"/>
                    </a:cubicBezTo>
                    <a:cubicBezTo>
                      <a:pt x="12248" y="27804"/>
                      <a:pt x="16615" y="32975"/>
                      <a:pt x="22519" y="33489"/>
                    </a:cubicBezTo>
                    <a:cubicBezTo>
                      <a:pt x="23142" y="33544"/>
                      <a:pt x="23769" y="33544"/>
                      <a:pt x="24392" y="33489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64" name="Freihandform 163">
                <a:extLst>
                  <a:ext uri="{FF2B5EF4-FFF2-40B4-BE49-F238E27FC236}">
                    <a16:creationId xmlns:a16="http://schemas.microsoft.com/office/drawing/2014/main" id="{C4FB4A79-DFAF-E6BE-2BC0-F6BB563012E9}"/>
                  </a:ext>
                </a:extLst>
              </p:cNvPr>
              <p:cNvSpPr/>
              <p:nvPr/>
            </p:nvSpPr>
            <p:spPr>
              <a:xfrm>
                <a:off x="3860272" y="3364506"/>
                <a:ext cx="21646" cy="45655"/>
              </a:xfrm>
              <a:custGeom>
                <a:avLst/>
                <a:gdLst>
                  <a:gd name="connsiteX0" fmla="*/ 0 w 21646"/>
                  <a:gd name="connsiteY0" fmla="*/ 45656 h 45655"/>
                  <a:gd name="connsiteX1" fmla="*/ 0 w 21646"/>
                  <a:gd name="connsiteY1" fmla="*/ 33448 h 45655"/>
                  <a:gd name="connsiteX2" fmla="*/ 9754 w 21646"/>
                  <a:gd name="connsiteY2" fmla="*/ 21898 h 45655"/>
                  <a:gd name="connsiteX3" fmla="*/ 0 w 21646"/>
                  <a:gd name="connsiteY3" fmla="*/ 12207 h 45655"/>
                  <a:gd name="connsiteX4" fmla="*/ 0 w 21646"/>
                  <a:gd name="connsiteY4" fmla="*/ 0 h 45655"/>
                  <a:gd name="connsiteX5" fmla="*/ 21605 w 21646"/>
                  <a:gd name="connsiteY5" fmla="*/ 24192 h 45655"/>
                  <a:gd name="connsiteX6" fmla="*/ 0 w 21646"/>
                  <a:gd name="connsiteY6" fmla="*/ 45656 h 45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646" h="45655">
                    <a:moveTo>
                      <a:pt x="0" y="45656"/>
                    </a:moveTo>
                    <a:lnTo>
                      <a:pt x="0" y="33448"/>
                    </a:lnTo>
                    <a:cubicBezTo>
                      <a:pt x="5904" y="32934"/>
                      <a:pt x="10271" y="27763"/>
                      <a:pt x="9754" y="21898"/>
                    </a:cubicBezTo>
                    <a:cubicBezTo>
                      <a:pt x="9299" y="16744"/>
                      <a:pt x="5187" y="12659"/>
                      <a:pt x="0" y="12207"/>
                    </a:cubicBezTo>
                    <a:lnTo>
                      <a:pt x="0" y="0"/>
                    </a:lnTo>
                    <a:cubicBezTo>
                      <a:pt x="12691" y="753"/>
                      <a:pt x="22364" y="11584"/>
                      <a:pt x="21605" y="24192"/>
                    </a:cubicBezTo>
                    <a:cubicBezTo>
                      <a:pt x="20910" y="35748"/>
                      <a:pt x="11632" y="44965"/>
                      <a:pt x="0" y="45656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65" name="Freihandform 164">
                <a:extLst>
                  <a:ext uri="{FF2B5EF4-FFF2-40B4-BE49-F238E27FC236}">
                    <a16:creationId xmlns:a16="http://schemas.microsoft.com/office/drawing/2014/main" id="{57F3560D-0C17-E40E-5FB0-72B4D67AA6D6}"/>
                  </a:ext>
                </a:extLst>
              </p:cNvPr>
              <p:cNvSpPr/>
              <p:nvPr/>
            </p:nvSpPr>
            <p:spPr>
              <a:xfrm>
                <a:off x="3744768" y="3340855"/>
                <a:ext cx="78791" cy="29266"/>
              </a:xfrm>
              <a:custGeom>
                <a:avLst/>
                <a:gdLst>
                  <a:gd name="connsiteX0" fmla="*/ 47103 w 78791"/>
                  <a:gd name="connsiteY0" fmla="*/ 29267 h 29266"/>
                  <a:gd name="connsiteX1" fmla="*/ 6144 w 78791"/>
                  <a:gd name="connsiteY1" fmla="*/ 29267 h 29266"/>
                  <a:gd name="connsiteX2" fmla="*/ 0 w 78791"/>
                  <a:gd name="connsiteY2" fmla="*/ 23163 h 29266"/>
                  <a:gd name="connsiteX3" fmla="*/ 6144 w 78791"/>
                  <a:gd name="connsiteY3" fmla="*/ 17059 h 29266"/>
                  <a:gd name="connsiteX4" fmla="*/ 47103 w 78791"/>
                  <a:gd name="connsiteY4" fmla="*/ 17059 h 29266"/>
                  <a:gd name="connsiteX5" fmla="*/ 58162 w 78791"/>
                  <a:gd name="connsiteY5" fmla="*/ 12421 h 29266"/>
                  <a:gd name="connsiteX6" fmla="*/ 67418 w 78791"/>
                  <a:gd name="connsiteY6" fmla="*/ 2899 h 29266"/>
                  <a:gd name="connsiteX7" fmla="*/ 75873 w 78791"/>
                  <a:gd name="connsiteY7" fmla="*/ 911 h 29266"/>
                  <a:gd name="connsiteX8" fmla="*/ 77874 w 78791"/>
                  <a:gd name="connsiteY8" fmla="*/ 9310 h 29266"/>
                  <a:gd name="connsiteX9" fmla="*/ 76266 w 78791"/>
                  <a:gd name="connsiteY9" fmla="*/ 11037 h 29266"/>
                  <a:gd name="connsiteX10" fmla="*/ 66927 w 78791"/>
                  <a:gd name="connsiteY10" fmla="*/ 20559 h 29266"/>
                  <a:gd name="connsiteX11" fmla="*/ 47103 w 78791"/>
                  <a:gd name="connsiteY11" fmla="*/ 29267 h 29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8791" h="29266">
                    <a:moveTo>
                      <a:pt x="47103" y="29267"/>
                    </a:moveTo>
                    <a:lnTo>
                      <a:pt x="6144" y="29267"/>
                    </a:lnTo>
                    <a:cubicBezTo>
                      <a:pt x="2751" y="29267"/>
                      <a:pt x="0" y="26534"/>
                      <a:pt x="0" y="23163"/>
                    </a:cubicBezTo>
                    <a:cubicBezTo>
                      <a:pt x="0" y="19792"/>
                      <a:pt x="2751" y="17059"/>
                      <a:pt x="6144" y="17059"/>
                    </a:cubicBezTo>
                    <a:lnTo>
                      <a:pt x="47103" y="17059"/>
                    </a:lnTo>
                    <a:cubicBezTo>
                      <a:pt x="51263" y="17035"/>
                      <a:pt x="55243" y="15366"/>
                      <a:pt x="58162" y="12421"/>
                    </a:cubicBezTo>
                    <a:lnTo>
                      <a:pt x="67418" y="2899"/>
                    </a:lnTo>
                    <a:cubicBezTo>
                      <a:pt x="69201" y="30"/>
                      <a:pt x="72986" y="-860"/>
                      <a:pt x="75873" y="911"/>
                    </a:cubicBezTo>
                    <a:cubicBezTo>
                      <a:pt x="78761" y="2682"/>
                      <a:pt x="79657" y="6442"/>
                      <a:pt x="77874" y="9310"/>
                    </a:cubicBezTo>
                    <a:cubicBezTo>
                      <a:pt x="77456" y="9984"/>
                      <a:pt x="76909" y="10571"/>
                      <a:pt x="76266" y="11037"/>
                    </a:cubicBezTo>
                    <a:lnTo>
                      <a:pt x="66927" y="20559"/>
                    </a:lnTo>
                    <a:cubicBezTo>
                      <a:pt x="61779" y="26010"/>
                      <a:pt x="54625" y="29152"/>
                      <a:pt x="47103" y="2926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66" name="Freihandform 165">
                <a:extLst>
                  <a:ext uri="{FF2B5EF4-FFF2-40B4-BE49-F238E27FC236}">
                    <a16:creationId xmlns:a16="http://schemas.microsoft.com/office/drawing/2014/main" id="{B421CE65-1DD5-16F3-DD63-03EC912E86B8}"/>
                  </a:ext>
                </a:extLst>
              </p:cNvPr>
              <p:cNvSpPr/>
              <p:nvPr/>
            </p:nvSpPr>
            <p:spPr>
              <a:xfrm>
                <a:off x="3775569" y="3382166"/>
                <a:ext cx="11468" cy="11393"/>
              </a:xfrm>
              <a:custGeom>
                <a:avLst/>
                <a:gdLst>
                  <a:gd name="connsiteX0" fmla="*/ 11468 w 11468"/>
                  <a:gd name="connsiteY0" fmla="*/ 5697 h 11393"/>
                  <a:gd name="connsiteX1" fmla="*/ 5734 w 11468"/>
                  <a:gd name="connsiteY1" fmla="*/ 11394 h 11393"/>
                  <a:gd name="connsiteX2" fmla="*/ 0 w 11468"/>
                  <a:gd name="connsiteY2" fmla="*/ 5697 h 11393"/>
                  <a:gd name="connsiteX3" fmla="*/ 5734 w 11468"/>
                  <a:gd name="connsiteY3" fmla="*/ 0 h 11393"/>
                  <a:gd name="connsiteX4" fmla="*/ 11468 w 11468"/>
                  <a:gd name="connsiteY4" fmla="*/ 5697 h 11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68" h="11393">
                    <a:moveTo>
                      <a:pt x="11468" y="5697"/>
                    </a:moveTo>
                    <a:cubicBezTo>
                      <a:pt x="11468" y="8843"/>
                      <a:pt x="8901" y="11394"/>
                      <a:pt x="5734" y="11394"/>
                    </a:cubicBezTo>
                    <a:cubicBezTo>
                      <a:pt x="2567" y="11394"/>
                      <a:pt x="0" y="8843"/>
                      <a:pt x="0" y="5697"/>
                    </a:cubicBezTo>
                    <a:cubicBezTo>
                      <a:pt x="0" y="2551"/>
                      <a:pt x="2567" y="0"/>
                      <a:pt x="5734" y="0"/>
                    </a:cubicBezTo>
                    <a:cubicBezTo>
                      <a:pt x="8901" y="0"/>
                      <a:pt x="11468" y="2551"/>
                      <a:pt x="11468" y="569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67" name="Freihandform 166">
                <a:extLst>
                  <a:ext uri="{FF2B5EF4-FFF2-40B4-BE49-F238E27FC236}">
                    <a16:creationId xmlns:a16="http://schemas.microsoft.com/office/drawing/2014/main" id="{72C9F14C-C22F-A263-84C2-E2C582757F00}"/>
                  </a:ext>
                </a:extLst>
              </p:cNvPr>
              <p:cNvSpPr/>
              <p:nvPr/>
            </p:nvSpPr>
            <p:spPr>
              <a:xfrm>
                <a:off x="3816856" y="3382166"/>
                <a:ext cx="11468" cy="11393"/>
              </a:xfrm>
              <a:custGeom>
                <a:avLst/>
                <a:gdLst>
                  <a:gd name="connsiteX0" fmla="*/ 11469 w 11468"/>
                  <a:gd name="connsiteY0" fmla="*/ 5697 h 11393"/>
                  <a:gd name="connsiteX1" fmla="*/ 5734 w 11468"/>
                  <a:gd name="connsiteY1" fmla="*/ 11394 h 11393"/>
                  <a:gd name="connsiteX2" fmla="*/ 0 w 11468"/>
                  <a:gd name="connsiteY2" fmla="*/ 5697 h 11393"/>
                  <a:gd name="connsiteX3" fmla="*/ 5734 w 11468"/>
                  <a:gd name="connsiteY3" fmla="*/ 0 h 11393"/>
                  <a:gd name="connsiteX4" fmla="*/ 11469 w 11468"/>
                  <a:gd name="connsiteY4" fmla="*/ 5697 h 11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68" h="11393">
                    <a:moveTo>
                      <a:pt x="11469" y="5697"/>
                    </a:moveTo>
                    <a:cubicBezTo>
                      <a:pt x="11469" y="8843"/>
                      <a:pt x="8901" y="11394"/>
                      <a:pt x="5734" y="11394"/>
                    </a:cubicBezTo>
                    <a:cubicBezTo>
                      <a:pt x="2567" y="11394"/>
                      <a:pt x="0" y="8843"/>
                      <a:pt x="0" y="5697"/>
                    </a:cubicBezTo>
                    <a:cubicBezTo>
                      <a:pt x="0" y="2551"/>
                      <a:pt x="2567" y="0"/>
                      <a:pt x="5734" y="0"/>
                    </a:cubicBezTo>
                    <a:cubicBezTo>
                      <a:pt x="8901" y="0"/>
                      <a:pt x="11469" y="2551"/>
                      <a:pt x="11469" y="569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68" name="Freihandform 167">
                <a:extLst>
                  <a:ext uri="{FF2B5EF4-FFF2-40B4-BE49-F238E27FC236}">
                    <a16:creationId xmlns:a16="http://schemas.microsoft.com/office/drawing/2014/main" id="{801769EA-3870-61D9-9982-29E70229AF05}"/>
                  </a:ext>
                </a:extLst>
              </p:cNvPr>
              <p:cNvSpPr/>
              <p:nvPr/>
            </p:nvSpPr>
            <p:spPr>
              <a:xfrm>
                <a:off x="3773276" y="3438483"/>
                <a:ext cx="12287" cy="40284"/>
              </a:xfrm>
              <a:custGeom>
                <a:avLst/>
                <a:gdLst>
                  <a:gd name="connsiteX0" fmla="*/ 6144 w 12287"/>
                  <a:gd name="connsiteY0" fmla="*/ 40284 h 40284"/>
                  <a:gd name="connsiteX1" fmla="*/ 0 w 12287"/>
                  <a:gd name="connsiteY1" fmla="*/ 34181 h 40284"/>
                  <a:gd name="connsiteX2" fmla="*/ 0 w 12287"/>
                  <a:gd name="connsiteY2" fmla="*/ 6104 h 40284"/>
                  <a:gd name="connsiteX3" fmla="*/ 6144 w 12287"/>
                  <a:gd name="connsiteY3" fmla="*/ 0 h 40284"/>
                  <a:gd name="connsiteX4" fmla="*/ 12288 w 12287"/>
                  <a:gd name="connsiteY4" fmla="*/ 6104 h 40284"/>
                  <a:gd name="connsiteX5" fmla="*/ 12288 w 12287"/>
                  <a:gd name="connsiteY5" fmla="*/ 34181 h 40284"/>
                  <a:gd name="connsiteX6" fmla="*/ 6144 w 12287"/>
                  <a:gd name="connsiteY6" fmla="*/ 40284 h 40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87" h="40284">
                    <a:moveTo>
                      <a:pt x="6144" y="40284"/>
                    </a:moveTo>
                    <a:cubicBezTo>
                      <a:pt x="2751" y="40284"/>
                      <a:pt x="0" y="37551"/>
                      <a:pt x="0" y="34181"/>
                    </a:cubicBezTo>
                    <a:lnTo>
                      <a:pt x="0" y="6104"/>
                    </a:lnTo>
                    <a:cubicBezTo>
                      <a:pt x="0" y="2733"/>
                      <a:pt x="2751" y="0"/>
                      <a:pt x="6144" y="0"/>
                    </a:cubicBezTo>
                    <a:cubicBezTo>
                      <a:pt x="9537" y="0"/>
                      <a:pt x="12288" y="2733"/>
                      <a:pt x="12288" y="6104"/>
                    </a:cubicBezTo>
                    <a:lnTo>
                      <a:pt x="12288" y="34181"/>
                    </a:lnTo>
                    <a:cubicBezTo>
                      <a:pt x="12243" y="37534"/>
                      <a:pt x="9519" y="40240"/>
                      <a:pt x="6144" y="40284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69" name="Freihandform 168">
                <a:extLst>
                  <a:ext uri="{FF2B5EF4-FFF2-40B4-BE49-F238E27FC236}">
                    <a16:creationId xmlns:a16="http://schemas.microsoft.com/office/drawing/2014/main" id="{5348C179-0C97-BF62-5D1D-8864C30A1370}"/>
                  </a:ext>
                </a:extLst>
              </p:cNvPr>
              <p:cNvSpPr/>
              <p:nvPr/>
            </p:nvSpPr>
            <p:spPr>
              <a:xfrm>
                <a:off x="3820788" y="3438483"/>
                <a:ext cx="12287" cy="37924"/>
              </a:xfrm>
              <a:custGeom>
                <a:avLst/>
                <a:gdLst>
                  <a:gd name="connsiteX0" fmla="*/ 6144 w 12287"/>
                  <a:gd name="connsiteY0" fmla="*/ 37924 h 37924"/>
                  <a:gd name="connsiteX1" fmla="*/ 0 w 12287"/>
                  <a:gd name="connsiteY1" fmla="*/ 31820 h 37924"/>
                  <a:gd name="connsiteX2" fmla="*/ 0 w 12287"/>
                  <a:gd name="connsiteY2" fmla="*/ 6104 h 37924"/>
                  <a:gd name="connsiteX3" fmla="*/ 6144 w 12287"/>
                  <a:gd name="connsiteY3" fmla="*/ 0 h 37924"/>
                  <a:gd name="connsiteX4" fmla="*/ 12288 w 12287"/>
                  <a:gd name="connsiteY4" fmla="*/ 6104 h 37924"/>
                  <a:gd name="connsiteX5" fmla="*/ 12288 w 12287"/>
                  <a:gd name="connsiteY5" fmla="*/ 31820 h 37924"/>
                  <a:gd name="connsiteX6" fmla="*/ 6144 w 12287"/>
                  <a:gd name="connsiteY6" fmla="*/ 37924 h 37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87" h="37924">
                    <a:moveTo>
                      <a:pt x="6144" y="37924"/>
                    </a:moveTo>
                    <a:cubicBezTo>
                      <a:pt x="2769" y="37880"/>
                      <a:pt x="44" y="35173"/>
                      <a:pt x="0" y="31820"/>
                    </a:cubicBezTo>
                    <a:lnTo>
                      <a:pt x="0" y="6104"/>
                    </a:lnTo>
                    <a:cubicBezTo>
                      <a:pt x="0" y="2733"/>
                      <a:pt x="2751" y="0"/>
                      <a:pt x="6144" y="0"/>
                    </a:cubicBezTo>
                    <a:cubicBezTo>
                      <a:pt x="9537" y="0"/>
                      <a:pt x="12288" y="2733"/>
                      <a:pt x="12288" y="6104"/>
                    </a:cubicBezTo>
                    <a:lnTo>
                      <a:pt x="12288" y="31820"/>
                    </a:lnTo>
                    <a:cubicBezTo>
                      <a:pt x="12243" y="35173"/>
                      <a:pt x="9519" y="37880"/>
                      <a:pt x="6144" y="37924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70" name="Freihandform 169">
                <a:extLst>
                  <a:ext uri="{FF2B5EF4-FFF2-40B4-BE49-F238E27FC236}">
                    <a16:creationId xmlns:a16="http://schemas.microsoft.com/office/drawing/2014/main" id="{E0E66ED0-080A-C003-1777-56162FC666B7}"/>
                  </a:ext>
                </a:extLst>
              </p:cNvPr>
              <p:cNvSpPr/>
              <p:nvPr/>
            </p:nvSpPr>
            <p:spPr>
              <a:xfrm>
                <a:off x="3975367" y="3283043"/>
                <a:ext cx="122876" cy="170740"/>
              </a:xfrm>
              <a:custGeom>
                <a:avLst/>
                <a:gdLst>
                  <a:gd name="connsiteX0" fmla="*/ 61275 w 122876"/>
                  <a:gd name="connsiteY0" fmla="*/ 170740 h 170740"/>
                  <a:gd name="connsiteX1" fmla="*/ 0 w 122876"/>
                  <a:gd name="connsiteY1" fmla="*/ 109866 h 170740"/>
                  <a:gd name="connsiteX2" fmla="*/ 0 w 122876"/>
                  <a:gd name="connsiteY2" fmla="*/ 96845 h 170740"/>
                  <a:gd name="connsiteX3" fmla="*/ 6144 w 122876"/>
                  <a:gd name="connsiteY3" fmla="*/ 90741 h 170740"/>
                  <a:gd name="connsiteX4" fmla="*/ 12288 w 122876"/>
                  <a:gd name="connsiteY4" fmla="*/ 96845 h 170740"/>
                  <a:gd name="connsiteX5" fmla="*/ 12288 w 122876"/>
                  <a:gd name="connsiteY5" fmla="*/ 109866 h 170740"/>
                  <a:gd name="connsiteX6" fmla="*/ 61438 w 122876"/>
                  <a:gd name="connsiteY6" fmla="*/ 158696 h 170740"/>
                  <a:gd name="connsiteX7" fmla="*/ 110589 w 122876"/>
                  <a:gd name="connsiteY7" fmla="*/ 109866 h 170740"/>
                  <a:gd name="connsiteX8" fmla="*/ 110589 w 122876"/>
                  <a:gd name="connsiteY8" fmla="*/ 61037 h 170740"/>
                  <a:gd name="connsiteX9" fmla="*/ 61438 w 122876"/>
                  <a:gd name="connsiteY9" fmla="*/ 12207 h 170740"/>
                  <a:gd name="connsiteX10" fmla="*/ 12288 w 122876"/>
                  <a:gd name="connsiteY10" fmla="*/ 61037 h 170740"/>
                  <a:gd name="connsiteX11" fmla="*/ 6144 w 122876"/>
                  <a:gd name="connsiteY11" fmla="*/ 67140 h 170740"/>
                  <a:gd name="connsiteX12" fmla="*/ 0 w 122876"/>
                  <a:gd name="connsiteY12" fmla="*/ 61037 h 170740"/>
                  <a:gd name="connsiteX13" fmla="*/ 61438 w 122876"/>
                  <a:gd name="connsiteY13" fmla="*/ 0 h 170740"/>
                  <a:gd name="connsiteX14" fmla="*/ 122877 w 122876"/>
                  <a:gd name="connsiteY14" fmla="*/ 61037 h 170740"/>
                  <a:gd name="connsiteX15" fmla="*/ 122877 w 122876"/>
                  <a:gd name="connsiteY15" fmla="*/ 109866 h 170740"/>
                  <a:gd name="connsiteX16" fmla="*/ 61603 w 122876"/>
                  <a:gd name="connsiteY16" fmla="*/ 170741 h 170740"/>
                  <a:gd name="connsiteX17" fmla="*/ 61275 w 122876"/>
                  <a:gd name="connsiteY17" fmla="*/ 170740 h 170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2876" h="170740">
                    <a:moveTo>
                      <a:pt x="61275" y="170740"/>
                    </a:moveTo>
                    <a:cubicBezTo>
                      <a:pt x="27433" y="170740"/>
                      <a:pt x="0" y="143486"/>
                      <a:pt x="0" y="109866"/>
                    </a:cubicBezTo>
                    <a:lnTo>
                      <a:pt x="0" y="96845"/>
                    </a:lnTo>
                    <a:cubicBezTo>
                      <a:pt x="0" y="93474"/>
                      <a:pt x="2751" y="90741"/>
                      <a:pt x="6144" y="90741"/>
                    </a:cubicBezTo>
                    <a:cubicBezTo>
                      <a:pt x="9537" y="90741"/>
                      <a:pt x="12288" y="93474"/>
                      <a:pt x="12288" y="96845"/>
                    </a:cubicBezTo>
                    <a:lnTo>
                      <a:pt x="12288" y="109866"/>
                    </a:lnTo>
                    <a:cubicBezTo>
                      <a:pt x="12288" y="136834"/>
                      <a:pt x="34293" y="158696"/>
                      <a:pt x="61438" y="158696"/>
                    </a:cubicBezTo>
                    <a:cubicBezTo>
                      <a:pt x="88584" y="158696"/>
                      <a:pt x="110589" y="136834"/>
                      <a:pt x="110589" y="109866"/>
                    </a:cubicBezTo>
                    <a:lnTo>
                      <a:pt x="110589" y="61037"/>
                    </a:lnTo>
                    <a:cubicBezTo>
                      <a:pt x="110589" y="34069"/>
                      <a:pt x="88584" y="12207"/>
                      <a:pt x="61438" y="12207"/>
                    </a:cubicBezTo>
                    <a:cubicBezTo>
                      <a:pt x="34293" y="12207"/>
                      <a:pt x="12288" y="34069"/>
                      <a:pt x="12288" y="61037"/>
                    </a:cubicBezTo>
                    <a:cubicBezTo>
                      <a:pt x="12288" y="64408"/>
                      <a:pt x="9537" y="67140"/>
                      <a:pt x="6144" y="67140"/>
                    </a:cubicBezTo>
                    <a:cubicBezTo>
                      <a:pt x="2751" y="67140"/>
                      <a:pt x="0" y="64408"/>
                      <a:pt x="0" y="61037"/>
                    </a:cubicBezTo>
                    <a:cubicBezTo>
                      <a:pt x="0" y="27327"/>
                      <a:pt x="27507" y="0"/>
                      <a:pt x="61438" y="0"/>
                    </a:cubicBezTo>
                    <a:cubicBezTo>
                      <a:pt x="95370" y="0"/>
                      <a:pt x="122877" y="27327"/>
                      <a:pt x="122877" y="61037"/>
                    </a:cubicBezTo>
                    <a:lnTo>
                      <a:pt x="122877" y="109866"/>
                    </a:lnTo>
                    <a:cubicBezTo>
                      <a:pt x="122878" y="143486"/>
                      <a:pt x="95444" y="170740"/>
                      <a:pt x="61603" y="170741"/>
                    </a:cubicBezTo>
                    <a:cubicBezTo>
                      <a:pt x="61493" y="170741"/>
                      <a:pt x="61384" y="170741"/>
                      <a:pt x="61275" y="170740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71" name="Freihandform 170">
                <a:extLst>
                  <a:ext uri="{FF2B5EF4-FFF2-40B4-BE49-F238E27FC236}">
                    <a16:creationId xmlns:a16="http://schemas.microsoft.com/office/drawing/2014/main" id="{F25DF3C2-C794-C1E7-DD2D-5035CA9D243D}"/>
                  </a:ext>
                </a:extLst>
              </p:cNvPr>
              <p:cNvSpPr/>
              <p:nvPr/>
            </p:nvSpPr>
            <p:spPr>
              <a:xfrm>
                <a:off x="3940794" y="3371833"/>
                <a:ext cx="45856" cy="51187"/>
              </a:xfrm>
              <a:custGeom>
                <a:avLst/>
                <a:gdLst>
                  <a:gd name="connsiteX0" fmla="*/ 10408 w 45856"/>
                  <a:gd name="connsiteY0" fmla="*/ 51188 h 51187"/>
                  <a:gd name="connsiteX1" fmla="*/ 5247 w 45856"/>
                  <a:gd name="connsiteY1" fmla="*/ 48421 h 51187"/>
                  <a:gd name="connsiteX2" fmla="*/ 14014 w 45856"/>
                  <a:gd name="connsiteY2" fmla="*/ 5209 h 51187"/>
                  <a:gd name="connsiteX3" fmla="*/ 41618 w 45856"/>
                  <a:gd name="connsiteY3" fmla="*/ 1707 h 51187"/>
                  <a:gd name="connsiteX4" fmla="*/ 45550 w 45856"/>
                  <a:gd name="connsiteY4" fmla="*/ 9404 h 51187"/>
                  <a:gd name="connsiteX5" fmla="*/ 45387 w 45856"/>
                  <a:gd name="connsiteY5" fmla="*/ 9845 h 51187"/>
                  <a:gd name="connsiteX6" fmla="*/ 37800 w 45856"/>
                  <a:gd name="connsiteY6" fmla="*/ 13811 h 51187"/>
                  <a:gd name="connsiteX7" fmla="*/ 37195 w 45856"/>
                  <a:gd name="connsiteY7" fmla="*/ 13589 h 51187"/>
                  <a:gd name="connsiteX8" fmla="*/ 12940 w 45856"/>
                  <a:gd name="connsiteY8" fmla="*/ 25358 h 51187"/>
                  <a:gd name="connsiteX9" fmla="*/ 15077 w 45856"/>
                  <a:gd name="connsiteY9" fmla="*/ 41991 h 51187"/>
                  <a:gd name="connsiteX10" fmla="*/ 13357 w 45856"/>
                  <a:gd name="connsiteY10" fmla="*/ 50130 h 51187"/>
                  <a:gd name="connsiteX11" fmla="*/ 10408 w 45856"/>
                  <a:gd name="connsiteY11" fmla="*/ 51188 h 5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5856" h="51187">
                    <a:moveTo>
                      <a:pt x="10408" y="51188"/>
                    </a:moveTo>
                    <a:cubicBezTo>
                      <a:pt x="8323" y="51208"/>
                      <a:pt x="6374" y="50163"/>
                      <a:pt x="5247" y="48421"/>
                    </a:cubicBezTo>
                    <a:cubicBezTo>
                      <a:pt x="-4343" y="34083"/>
                      <a:pt x="-419" y="14736"/>
                      <a:pt x="14014" y="5209"/>
                    </a:cubicBezTo>
                    <a:cubicBezTo>
                      <a:pt x="22162" y="-170"/>
                      <a:pt x="32371" y="-1465"/>
                      <a:pt x="41618" y="1707"/>
                    </a:cubicBezTo>
                    <a:cubicBezTo>
                      <a:pt x="44843" y="2754"/>
                      <a:pt x="46605" y="6200"/>
                      <a:pt x="45550" y="9404"/>
                    </a:cubicBezTo>
                    <a:cubicBezTo>
                      <a:pt x="45502" y="9553"/>
                      <a:pt x="45447" y="9700"/>
                      <a:pt x="45387" y="9845"/>
                    </a:cubicBezTo>
                    <a:cubicBezTo>
                      <a:pt x="44394" y="13022"/>
                      <a:pt x="40997" y="14797"/>
                      <a:pt x="37800" y="13811"/>
                    </a:cubicBezTo>
                    <a:cubicBezTo>
                      <a:pt x="37595" y="13748"/>
                      <a:pt x="37392" y="13674"/>
                      <a:pt x="37195" y="13589"/>
                    </a:cubicBezTo>
                    <a:cubicBezTo>
                      <a:pt x="27226" y="10185"/>
                      <a:pt x="16366" y="15453"/>
                      <a:pt x="12940" y="25358"/>
                    </a:cubicBezTo>
                    <a:cubicBezTo>
                      <a:pt x="11011" y="30931"/>
                      <a:pt x="11801" y="37078"/>
                      <a:pt x="15077" y="41991"/>
                    </a:cubicBezTo>
                    <a:cubicBezTo>
                      <a:pt x="16783" y="44725"/>
                      <a:pt x="16026" y="48308"/>
                      <a:pt x="13357" y="50130"/>
                    </a:cubicBezTo>
                    <a:cubicBezTo>
                      <a:pt x="12490" y="50744"/>
                      <a:pt x="11469" y="51109"/>
                      <a:pt x="10408" y="51188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72" name="Freihandform 171">
                <a:extLst>
                  <a:ext uri="{FF2B5EF4-FFF2-40B4-BE49-F238E27FC236}">
                    <a16:creationId xmlns:a16="http://schemas.microsoft.com/office/drawing/2014/main" id="{C0922162-2AAF-DA66-05CB-FEA64DE15CBA}"/>
                  </a:ext>
                </a:extLst>
              </p:cNvPr>
              <p:cNvSpPr/>
              <p:nvPr/>
            </p:nvSpPr>
            <p:spPr>
              <a:xfrm>
                <a:off x="4010018" y="3382166"/>
                <a:ext cx="11468" cy="11393"/>
              </a:xfrm>
              <a:custGeom>
                <a:avLst/>
                <a:gdLst>
                  <a:gd name="connsiteX0" fmla="*/ 11469 w 11468"/>
                  <a:gd name="connsiteY0" fmla="*/ 5697 h 11393"/>
                  <a:gd name="connsiteX1" fmla="*/ 5734 w 11468"/>
                  <a:gd name="connsiteY1" fmla="*/ 11394 h 11393"/>
                  <a:gd name="connsiteX2" fmla="*/ 0 w 11468"/>
                  <a:gd name="connsiteY2" fmla="*/ 5697 h 11393"/>
                  <a:gd name="connsiteX3" fmla="*/ 5734 w 11468"/>
                  <a:gd name="connsiteY3" fmla="*/ 0 h 11393"/>
                  <a:gd name="connsiteX4" fmla="*/ 11469 w 11468"/>
                  <a:gd name="connsiteY4" fmla="*/ 5697 h 11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68" h="11393">
                    <a:moveTo>
                      <a:pt x="11469" y="5697"/>
                    </a:moveTo>
                    <a:cubicBezTo>
                      <a:pt x="11469" y="8843"/>
                      <a:pt x="8901" y="11394"/>
                      <a:pt x="5734" y="11394"/>
                    </a:cubicBezTo>
                    <a:cubicBezTo>
                      <a:pt x="2567" y="11394"/>
                      <a:pt x="0" y="8843"/>
                      <a:pt x="0" y="5697"/>
                    </a:cubicBezTo>
                    <a:cubicBezTo>
                      <a:pt x="0" y="2551"/>
                      <a:pt x="2567" y="0"/>
                      <a:pt x="5734" y="0"/>
                    </a:cubicBezTo>
                    <a:cubicBezTo>
                      <a:pt x="8901" y="0"/>
                      <a:pt x="11469" y="2551"/>
                      <a:pt x="11469" y="569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73" name="Freihandform 172">
                <a:extLst>
                  <a:ext uri="{FF2B5EF4-FFF2-40B4-BE49-F238E27FC236}">
                    <a16:creationId xmlns:a16="http://schemas.microsoft.com/office/drawing/2014/main" id="{7EBEB6F3-6598-97D9-98A9-4F0413E647D7}"/>
                  </a:ext>
                </a:extLst>
              </p:cNvPr>
              <p:cNvSpPr/>
              <p:nvPr/>
            </p:nvSpPr>
            <p:spPr>
              <a:xfrm>
                <a:off x="4052616" y="3382166"/>
                <a:ext cx="11468" cy="11393"/>
              </a:xfrm>
              <a:custGeom>
                <a:avLst/>
                <a:gdLst>
                  <a:gd name="connsiteX0" fmla="*/ 11469 w 11468"/>
                  <a:gd name="connsiteY0" fmla="*/ 5697 h 11393"/>
                  <a:gd name="connsiteX1" fmla="*/ 5734 w 11468"/>
                  <a:gd name="connsiteY1" fmla="*/ 11394 h 11393"/>
                  <a:gd name="connsiteX2" fmla="*/ 0 w 11468"/>
                  <a:gd name="connsiteY2" fmla="*/ 5697 h 11393"/>
                  <a:gd name="connsiteX3" fmla="*/ 5734 w 11468"/>
                  <a:gd name="connsiteY3" fmla="*/ 0 h 11393"/>
                  <a:gd name="connsiteX4" fmla="*/ 11469 w 11468"/>
                  <a:gd name="connsiteY4" fmla="*/ 5697 h 11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68" h="11393">
                    <a:moveTo>
                      <a:pt x="11469" y="5697"/>
                    </a:moveTo>
                    <a:cubicBezTo>
                      <a:pt x="11469" y="8843"/>
                      <a:pt x="8901" y="11394"/>
                      <a:pt x="5734" y="11394"/>
                    </a:cubicBezTo>
                    <a:cubicBezTo>
                      <a:pt x="2567" y="11394"/>
                      <a:pt x="0" y="8843"/>
                      <a:pt x="0" y="5697"/>
                    </a:cubicBezTo>
                    <a:cubicBezTo>
                      <a:pt x="0" y="2551"/>
                      <a:pt x="2567" y="0"/>
                      <a:pt x="5734" y="0"/>
                    </a:cubicBezTo>
                    <a:cubicBezTo>
                      <a:pt x="8901" y="0"/>
                      <a:pt x="11469" y="2551"/>
                      <a:pt x="11469" y="569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74" name="Freihandform 173">
                <a:extLst>
                  <a:ext uri="{FF2B5EF4-FFF2-40B4-BE49-F238E27FC236}">
                    <a16:creationId xmlns:a16="http://schemas.microsoft.com/office/drawing/2014/main" id="{7855098E-C11E-AB4C-75A6-AF93C2E13FE9}"/>
                  </a:ext>
                </a:extLst>
              </p:cNvPr>
              <p:cNvSpPr/>
              <p:nvPr/>
            </p:nvSpPr>
            <p:spPr>
              <a:xfrm>
                <a:off x="4007643" y="3438483"/>
                <a:ext cx="12287" cy="37924"/>
              </a:xfrm>
              <a:custGeom>
                <a:avLst/>
                <a:gdLst>
                  <a:gd name="connsiteX0" fmla="*/ 6144 w 12287"/>
                  <a:gd name="connsiteY0" fmla="*/ 37924 h 37924"/>
                  <a:gd name="connsiteX1" fmla="*/ 0 w 12287"/>
                  <a:gd name="connsiteY1" fmla="*/ 31820 h 37924"/>
                  <a:gd name="connsiteX2" fmla="*/ 0 w 12287"/>
                  <a:gd name="connsiteY2" fmla="*/ 6104 h 37924"/>
                  <a:gd name="connsiteX3" fmla="*/ 6144 w 12287"/>
                  <a:gd name="connsiteY3" fmla="*/ 0 h 37924"/>
                  <a:gd name="connsiteX4" fmla="*/ 12288 w 12287"/>
                  <a:gd name="connsiteY4" fmla="*/ 6104 h 37924"/>
                  <a:gd name="connsiteX5" fmla="*/ 12288 w 12287"/>
                  <a:gd name="connsiteY5" fmla="*/ 31820 h 37924"/>
                  <a:gd name="connsiteX6" fmla="*/ 6144 w 12287"/>
                  <a:gd name="connsiteY6" fmla="*/ 37924 h 37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87" h="37924">
                    <a:moveTo>
                      <a:pt x="6144" y="37924"/>
                    </a:moveTo>
                    <a:cubicBezTo>
                      <a:pt x="2769" y="37880"/>
                      <a:pt x="44" y="35173"/>
                      <a:pt x="0" y="31820"/>
                    </a:cubicBezTo>
                    <a:lnTo>
                      <a:pt x="0" y="6104"/>
                    </a:lnTo>
                    <a:cubicBezTo>
                      <a:pt x="0" y="2733"/>
                      <a:pt x="2751" y="0"/>
                      <a:pt x="6144" y="0"/>
                    </a:cubicBezTo>
                    <a:cubicBezTo>
                      <a:pt x="9537" y="0"/>
                      <a:pt x="12288" y="2733"/>
                      <a:pt x="12288" y="6104"/>
                    </a:cubicBezTo>
                    <a:lnTo>
                      <a:pt x="12288" y="31820"/>
                    </a:lnTo>
                    <a:cubicBezTo>
                      <a:pt x="12243" y="35173"/>
                      <a:pt x="9519" y="37880"/>
                      <a:pt x="6144" y="37924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75" name="Freihandform 174">
                <a:extLst>
                  <a:ext uri="{FF2B5EF4-FFF2-40B4-BE49-F238E27FC236}">
                    <a16:creationId xmlns:a16="http://schemas.microsoft.com/office/drawing/2014/main" id="{95777EFC-F9DE-7A18-5E80-245234C7EAF0}"/>
                  </a:ext>
                </a:extLst>
              </p:cNvPr>
              <p:cNvSpPr/>
              <p:nvPr/>
            </p:nvSpPr>
            <p:spPr>
              <a:xfrm>
                <a:off x="4055155" y="3438483"/>
                <a:ext cx="12287" cy="37924"/>
              </a:xfrm>
              <a:custGeom>
                <a:avLst/>
                <a:gdLst>
                  <a:gd name="connsiteX0" fmla="*/ 6144 w 12287"/>
                  <a:gd name="connsiteY0" fmla="*/ 37924 h 37924"/>
                  <a:gd name="connsiteX1" fmla="*/ 0 w 12287"/>
                  <a:gd name="connsiteY1" fmla="*/ 31820 h 37924"/>
                  <a:gd name="connsiteX2" fmla="*/ 0 w 12287"/>
                  <a:gd name="connsiteY2" fmla="*/ 6104 h 37924"/>
                  <a:gd name="connsiteX3" fmla="*/ 6144 w 12287"/>
                  <a:gd name="connsiteY3" fmla="*/ 0 h 37924"/>
                  <a:gd name="connsiteX4" fmla="*/ 12288 w 12287"/>
                  <a:gd name="connsiteY4" fmla="*/ 6104 h 37924"/>
                  <a:gd name="connsiteX5" fmla="*/ 12288 w 12287"/>
                  <a:gd name="connsiteY5" fmla="*/ 31820 h 37924"/>
                  <a:gd name="connsiteX6" fmla="*/ 6144 w 12287"/>
                  <a:gd name="connsiteY6" fmla="*/ 37924 h 37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87" h="37924">
                    <a:moveTo>
                      <a:pt x="6144" y="37924"/>
                    </a:moveTo>
                    <a:cubicBezTo>
                      <a:pt x="2769" y="37880"/>
                      <a:pt x="44" y="35173"/>
                      <a:pt x="0" y="31820"/>
                    </a:cubicBezTo>
                    <a:lnTo>
                      <a:pt x="0" y="6104"/>
                    </a:lnTo>
                    <a:cubicBezTo>
                      <a:pt x="0" y="2733"/>
                      <a:pt x="2751" y="0"/>
                      <a:pt x="6144" y="0"/>
                    </a:cubicBezTo>
                    <a:cubicBezTo>
                      <a:pt x="9537" y="0"/>
                      <a:pt x="12288" y="2733"/>
                      <a:pt x="12288" y="6104"/>
                    </a:cubicBezTo>
                    <a:lnTo>
                      <a:pt x="12288" y="31820"/>
                    </a:lnTo>
                    <a:cubicBezTo>
                      <a:pt x="12288" y="35191"/>
                      <a:pt x="9537" y="37924"/>
                      <a:pt x="6144" y="37924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76" name="Freihandform 175">
                <a:extLst>
                  <a:ext uri="{FF2B5EF4-FFF2-40B4-BE49-F238E27FC236}">
                    <a16:creationId xmlns:a16="http://schemas.microsoft.com/office/drawing/2014/main" id="{33419DCD-E74D-9498-F42D-717EFCC132C5}"/>
                  </a:ext>
                </a:extLst>
              </p:cNvPr>
              <p:cNvSpPr/>
              <p:nvPr/>
            </p:nvSpPr>
            <p:spPr>
              <a:xfrm>
                <a:off x="3693652" y="3466826"/>
                <a:ext cx="223635" cy="155418"/>
              </a:xfrm>
              <a:custGeom>
                <a:avLst/>
                <a:gdLst>
                  <a:gd name="connsiteX0" fmla="*/ 217492 w 223635"/>
                  <a:gd name="connsiteY0" fmla="*/ 155419 h 155418"/>
                  <a:gd name="connsiteX1" fmla="*/ 6144 w 223635"/>
                  <a:gd name="connsiteY1" fmla="*/ 155419 h 155418"/>
                  <a:gd name="connsiteX2" fmla="*/ 0 w 223635"/>
                  <a:gd name="connsiteY2" fmla="*/ 149315 h 155418"/>
                  <a:gd name="connsiteX3" fmla="*/ 0 w 223635"/>
                  <a:gd name="connsiteY3" fmla="*/ 79163 h 155418"/>
                  <a:gd name="connsiteX4" fmla="*/ 44727 w 223635"/>
                  <a:gd name="connsiteY4" fmla="*/ 14058 h 155418"/>
                  <a:gd name="connsiteX5" fmla="*/ 79624 w 223635"/>
                  <a:gd name="connsiteY5" fmla="*/ 304 h 155418"/>
                  <a:gd name="connsiteX6" fmla="*/ 83556 w 223635"/>
                  <a:gd name="connsiteY6" fmla="*/ 304 h 155418"/>
                  <a:gd name="connsiteX7" fmla="*/ 99940 w 223635"/>
                  <a:gd name="connsiteY7" fmla="*/ 4861 h 155418"/>
                  <a:gd name="connsiteX8" fmla="*/ 120173 w 223635"/>
                  <a:gd name="connsiteY8" fmla="*/ 4861 h 155418"/>
                  <a:gd name="connsiteX9" fmla="*/ 134673 w 223635"/>
                  <a:gd name="connsiteY9" fmla="*/ 548 h 155418"/>
                  <a:gd name="connsiteX10" fmla="*/ 138605 w 223635"/>
                  <a:gd name="connsiteY10" fmla="*/ 548 h 155418"/>
                  <a:gd name="connsiteX11" fmla="*/ 177516 w 223635"/>
                  <a:gd name="connsiteY11" fmla="*/ 14627 h 155418"/>
                  <a:gd name="connsiteX12" fmla="*/ 223636 w 223635"/>
                  <a:gd name="connsiteY12" fmla="*/ 80466 h 155418"/>
                  <a:gd name="connsiteX13" fmla="*/ 223636 w 223635"/>
                  <a:gd name="connsiteY13" fmla="*/ 149641 h 155418"/>
                  <a:gd name="connsiteX14" fmla="*/ 217492 w 223635"/>
                  <a:gd name="connsiteY14" fmla="*/ 155419 h 155418"/>
                  <a:gd name="connsiteX15" fmla="*/ 12697 w 223635"/>
                  <a:gd name="connsiteY15" fmla="*/ 143211 h 155418"/>
                  <a:gd name="connsiteX16" fmla="*/ 211512 w 223635"/>
                  <a:gd name="connsiteY16" fmla="*/ 143211 h 155418"/>
                  <a:gd name="connsiteX17" fmla="*/ 211512 w 223635"/>
                  <a:gd name="connsiteY17" fmla="*/ 80140 h 155418"/>
                  <a:gd name="connsiteX18" fmla="*/ 173420 w 223635"/>
                  <a:gd name="connsiteY18" fmla="*/ 25777 h 155418"/>
                  <a:gd name="connsiteX19" fmla="*/ 136803 w 223635"/>
                  <a:gd name="connsiteY19" fmla="*/ 12267 h 155418"/>
                  <a:gd name="connsiteX20" fmla="*/ 124269 w 223635"/>
                  <a:gd name="connsiteY20" fmla="*/ 15929 h 155418"/>
                  <a:gd name="connsiteX21" fmla="*/ 97236 w 223635"/>
                  <a:gd name="connsiteY21" fmla="*/ 15929 h 155418"/>
                  <a:gd name="connsiteX22" fmla="*/ 82409 w 223635"/>
                  <a:gd name="connsiteY22" fmla="*/ 11942 h 155418"/>
                  <a:gd name="connsiteX23" fmla="*/ 49642 w 223635"/>
                  <a:gd name="connsiteY23" fmla="*/ 24881 h 155418"/>
                  <a:gd name="connsiteX24" fmla="*/ 12697 w 223635"/>
                  <a:gd name="connsiteY24" fmla="*/ 78838 h 155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23635" h="155418">
                    <a:moveTo>
                      <a:pt x="217492" y="155419"/>
                    </a:moveTo>
                    <a:lnTo>
                      <a:pt x="6144" y="155419"/>
                    </a:lnTo>
                    <a:cubicBezTo>
                      <a:pt x="2751" y="155419"/>
                      <a:pt x="0" y="152686"/>
                      <a:pt x="0" y="149315"/>
                    </a:cubicBezTo>
                    <a:lnTo>
                      <a:pt x="0" y="79163"/>
                    </a:lnTo>
                    <a:cubicBezTo>
                      <a:pt x="-2" y="50384"/>
                      <a:pt x="17750" y="24545"/>
                      <a:pt x="44727" y="14058"/>
                    </a:cubicBezTo>
                    <a:lnTo>
                      <a:pt x="79624" y="304"/>
                    </a:lnTo>
                    <a:cubicBezTo>
                      <a:pt x="80903" y="-101"/>
                      <a:pt x="82277" y="-101"/>
                      <a:pt x="83556" y="304"/>
                    </a:cubicBezTo>
                    <a:lnTo>
                      <a:pt x="99940" y="4861"/>
                    </a:lnTo>
                    <a:cubicBezTo>
                      <a:pt x="106547" y="6771"/>
                      <a:pt x="113566" y="6771"/>
                      <a:pt x="120173" y="4861"/>
                    </a:cubicBezTo>
                    <a:lnTo>
                      <a:pt x="134673" y="548"/>
                    </a:lnTo>
                    <a:cubicBezTo>
                      <a:pt x="135952" y="143"/>
                      <a:pt x="137326" y="143"/>
                      <a:pt x="138605" y="548"/>
                    </a:cubicBezTo>
                    <a:lnTo>
                      <a:pt x="177516" y="14627"/>
                    </a:lnTo>
                    <a:cubicBezTo>
                      <a:pt x="205187" y="24894"/>
                      <a:pt x="223559" y="51121"/>
                      <a:pt x="223636" y="80466"/>
                    </a:cubicBezTo>
                    <a:lnTo>
                      <a:pt x="223636" y="149641"/>
                    </a:lnTo>
                    <a:cubicBezTo>
                      <a:pt x="223461" y="152884"/>
                      <a:pt x="220761" y="155424"/>
                      <a:pt x="217492" y="155419"/>
                    </a:cubicBezTo>
                    <a:close/>
                    <a:moveTo>
                      <a:pt x="12697" y="143211"/>
                    </a:moveTo>
                    <a:lnTo>
                      <a:pt x="211512" y="143211"/>
                    </a:lnTo>
                    <a:lnTo>
                      <a:pt x="211512" y="80140"/>
                    </a:lnTo>
                    <a:cubicBezTo>
                      <a:pt x="211424" y="55914"/>
                      <a:pt x="196258" y="34269"/>
                      <a:pt x="173420" y="25777"/>
                    </a:cubicBezTo>
                    <a:lnTo>
                      <a:pt x="136803" y="12267"/>
                    </a:lnTo>
                    <a:lnTo>
                      <a:pt x="124269" y="15929"/>
                    </a:lnTo>
                    <a:cubicBezTo>
                      <a:pt x="115435" y="18439"/>
                      <a:pt x="106070" y="18439"/>
                      <a:pt x="97236" y="15929"/>
                    </a:cubicBezTo>
                    <a:lnTo>
                      <a:pt x="82409" y="11942"/>
                    </a:lnTo>
                    <a:lnTo>
                      <a:pt x="49642" y="24881"/>
                    </a:lnTo>
                    <a:cubicBezTo>
                      <a:pt x="27304" y="33576"/>
                      <a:pt x="12632" y="55004"/>
                      <a:pt x="12697" y="78838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77" name="Freihandform 176">
                <a:extLst>
                  <a:ext uri="{FF2B5EF4-FFF2-40B4-BE49-F238E27FC236}">
                    <a16:creationId xmlns:a16="http://schemas.microsoft.com/office/drawing/2014/main" id="{AC3166BA-EEA2-FD99-F8D8-EFF3A2B80DDB}"/>
                  </a:ext>
                </a:extLst>
              </p:cNvPr>
              <p:cNvSpPr/>
              <p:nvPr/>
            </p:nvSpPr>
            <p:spPr>
              <a:xfrm>
                <a:off x="3927035" y="3464232"/>
                <a:ext cx="223881" cy="158017"/>
              </a:xfrm>
              <a:custGeom>
                <a:avLst/>
                <a:gdLst>
                  <a:gd name="connsiteX0" fmla="*/ 217492 w 223881"/>
                  <a:gd name="connsiteY0" fmla="*/ 158012 h 158017"/>
                  <a:gd name="connsiteX1" fmla="*/ 6144 w 223881"/>
                  <a:gd name="connsiteY1" fmla="*/ 158012 h 158017"/>
                  <a:gd name="connsiteX2" fmla="*/ 0 w 223881"/>
                  <a:gd name="connsiteY2" fmla="*/ 151909 h 158017"/>
                  <a:gd name="connsiteX3" fmla="*/ 0 w 223881"/>
                  <a:gd name="connsiteY3" fmla="*/ 81757 h 158017"/>
                  <a:gd name="connsiteX4" fmla="*/ 44727 w 223881"/>
                  <a:gd name="connsiteY4" fmla="*/ 16651 h 158017"/>
                  <a:gd name="connsiteX5" fmla="*/ 83638 w 223881"/>
                  <a:gd name="connsiteY5" fmla="*/ 944 h 158017"/>
                  <a:gd name="connsiteX6" fmla="*/ 91774 w 223881"/>
                  <a:gd name="connsiteY6" fmla="*/ 3974 h 158017"/>
                  <a:gd name="connsiteX7" fmla="*/ 88724 w 223881"/>
                  <a:gd name="connsiteY7" fmla="*/ 12057 h 158017"/>
                  <a:gd name="connsiteX8" fmla="*/ 88226 w 223881"/>
                  <a:gd name="connsiteY8" fmla="*/ 12256 h 158017"/>
                  <a:gd name="connsiteX9" fmla="*/ 49233 w 223881"/>
                  <a:gd name="connsiteY9" fmla="*/ 27800 h 158017"/>
                  <a:gd name="connsiteX10" fmla="*/ 12288 w 223881"/>
                  <a:gd name="connsiteY10" fmla="*/ 81757 h 158017"/>
                  <a:gd name="connsiteX11" fmla="*/ 12288 w 223881"/>
                  <a:gd name="connsiteY11" fmla="*/ 145805 h 158017"/>
                  <a:gd name="connsiteX12" fmla="*/ 211348 w 223881"/>
                  <a:gd name="connsiteY12" fmla="*/ 145805 h 158017"/>
                  <a:gd name="connsiteX13" fmla="*/ 211348 w 223881"/>
                  <a:gd name="connsiteY13" fmla="*/ 82734 h 158017"/>
                  <a:gd name="connsiteX14" fmla="*/ 173256 w 223881"/>
                  <a:gd name="connsiteY14" fmla="*/ 28370 h 158017"/>
                  <a:gd name="connsiteX15" fmla="*/ 132297 w 223881"/>
                  <a:gd name="connsiteY15" fmla="*/ 12094 h 158017"/>
                  <a:gd name="connsiteX16" fmla="*/ 128686 w 223881"/>
                  <a:gd name="connsiteY16" fmla="*/ 4369 h 158017"/>
                  <a:gd name="connsiteX17" fmla="*/ 128857 w 223881"/>
                  <a:gd name="connsiteY17" fmla="*/ 3955 h 158017"/>
                  <a:gd name="connsiteX18" fmla="*/ 136632 w 223881"/>
                  <a:gd name="connsiteY18" fmla="*/ 368 h 158017"/>
                  <a:gd name="connsiteX19" fmla="*/ 137049 w 223881"/>
                  <a:gd name="connsiteY19" fmla="*/ 537 h 158017"/>
                  <a:gd name="connsiteX20" fmla="*/ 177680 w 223881"/>
                  <a:gd name="connsiteY20" fmla="*/ 17221 h 158017"/>
                  <a:gd name="connsiteX21" fmla="*/ 223881 w 223881"/>
                  <a:gd name="connsiteY21" fmla="*/ 82734 h 158017"/>
                  <a:gd name="connsiteX22" fmla="*/ 223881 w 223881"/>
                  <a:gd name="connsiteY22" fmla="*/ 151909 h 158017"/>
                  <a:gd name="connsiteX23" fmla="*/ 217743 w 223881"/>
                  <a:gd name="connsiteY23" fmla="*/ 158017 h 158017"/>
                  <a:gd name="connsiteX24" fmla="*/ 217492 w 223881"/>
                  <a:gd name="connsiteY24" fmla="*/ 158012 h 158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23881" h="158017">
                    <a:moveTo>
                      <a:pt x="217492" y="158012"/>
                    </a:moveTo>
                    <a:lnTo>
                      <a:pt x="6144" y="158012"/>
                    </a:lnTo>
                    <a:cubicBezTo>
                      <a:pt x="2751" y="158012"/>
                      <a:pt x="0" y="155279"/>
                      <a:pt x="0" y="151909"/>
                    </a:cubicBezTo>
                    <a:lnTo>
                      <a:pt x="0" y="81757"/>
                    </a:lnTo>
                    <a:cubicBezTo>
                      <a:pt x="-25" y="52970"/>
                      <a:pt x="17734" y="27119"/>
                      <a:pt x="44727" y="16651"/>
                    </a:cubicBezTo>
                    <a:lnTo>
                      <a:pt x="83638" y="944"/>
                    </a:lnTo>
                    <a:cubicBezTo>
                      <a:pt x="86727" y="-451"/>
                      <a:pt x="90369" y="906"/>
                      <a:pt x="91774" y="3974"/>
                    </a:cubicBezTo>
                    <a:cubicBezTo>
                      <a:pt x="93178" y="7043"/>
                      <a:pt x="91813" y="10662"/>
                      <a:pt x="88724" y="12057"/>
                    </a:cubicBezTo>
                    <a:cubicBezTo>
                      <a:pt x="88561" y="12130"/>
                      <a:pt x="88394" y="12197"/>
                      <a:pt x="88226" y="12256"/>
                    </a:cubicBezTo>
                    <a:lnTo>
                      <a:pt x="49233" y="27800"/>
                    </a:lnTo>
                    <a:cubicBezTo>
                      <a:pt x="26895" y="36495"/>
                      <a:pt x="12223" y="57923"/>
                      <a:pt x="12288" y="81757"/>
                    </a:cubicBezTo>
                    <a:lnTo>
                      <a:pt x="12288" y="145805"/>
                    </a:lnTo>
                    <a:lnTo>
                      <a:pt x="211348" y="145805"/>
                    </a:lnTo>
                    <a:lnTo>
                      <a:pt x="211348" y="82734"/>
                    </a:lnTo>
                    <a:cubicBezTo>
                      <a:pt x="211260" y="58508"/>
                      <a:pt x="196094" y="36862"/>
                      <a:pt x="173256" y="28370"/>
                    </a:cubicBezTo>
                    <a:lnTo>
                      <a:pt x="132297" y="12094"/>
                    </a:lnTo>
                    <a:cubicBezTo>
                      <a:pt x="129153" y="10951"/>
                      <a:pt x="127536" y="7492"/>
                      <a:pt x="128686" y="4369"/>
                    </a:cubicBezTo>
                    <a:cubicBezTo>
                      <a:pt x="128738" y="4229"/>
                      <a:pt x="128795" y="4091"/>
                      <a:pt x="128857" y="3955"/>
                    </a:cubicBezTo>
                    <a:cubicBezTo>
                      <a:pt x="130007" y="832"/>
                      <a:pt x="133488" y="-775"/>
                      <a:pt x="136632" y="368"/>
                    </a:cubicBezTo>
                    <a:cubicBezTo>
                      <a:pt x="136773" y="419"/>
                      <a:pt x="136912" y="476"/>
                      <a:pt x="137049" y="537"/>
                    </a:cubicBezTo>
                    <a:lnTo>
                      <a:pt x="177680" y="17221"/>
                    </a:lnTo>
                    <a:cubicBezTo>
                      <a:pt x="205271" y="27419"/>
                      <a:pt x="223655" y="53487"/>
                      <a:pt x="223881" y="82734"/>
                    </a:cubicBezTo>
                    <a:lnTo>
                      <a:pt x="223881" y="151909"/>
                    </a:lnTo>
                    <a:cubicBezTo>
                      <a:pt x="223884" y="155279"/>
                      <a:pt x="221136" y="158015"/>
                      <a:pt x="217743" y="158017"/>
                    </a:cubicBezTo>
                    <a:cubicBezTo>
                      <a:pt x="217659" y="158017"/>
                      <a:pt x="217575" y="158015"/>
                      <a:pt x="217492" y="158012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78" name="Freihandform 177">
                <a:extLst>
                  <a:ext uri="{FF2B5EF4-FFF2-40B4-BE49-F238E27FC236}">
                    <a16:creationId xmlns:a16="http://schemas.microsoft.com/office/drawing/2014/main" id="{C164F5A4-0699-E347-4AAC-4422A7FE4605}"/>
                  </a:ext>
                </a:extLst>
              </p:cNvPr>
              <p:cNvSpPr/>
              <p:nvPr/>
            </p:nvSpPr>
            <p:spPr>
              <a:xfrm>
                <a:off x="3927424" y="3407900"/>
                <a:ext cx="57442" cy="83567"/>
              </a:xfrm>
              <a:custGeom>
                <a:avLst/>
                <a:gdLst>
                  <a:gd name="connsiteX0" fmla="*/ 43274 w 57442"/>
                  <a:gd name="connsiteY0" fmla="*/ 83563 h 83567"/>
                  <a:gd name="connsiteX1" fmla="*/ 0 w 57442"/>
                  <a:gd name="connsiteY1" fmla="*/ 40615 h 83567"/>
                  <a:gd name="connsiteX2" fmla="*/ 28201 w 57442"/>
                  <a:gd name="connsiteY2" fmla="*/ 309 h 83567"/>
                  <a:gd name="connsiteX3" fmla="*/ 35961 w 57442"/>
                  <a:gd name="connsiteY3" fmla="*/ 4193 h 83567"/>
                  <a:gd name="connsiteX4" fmla="*/ 32379 w 57442"/>
                  <a:gd name="connsiteY4" fmla="*/ 11784 h 83567"/>
                  <a:gd name="connsiteX5" fmla="*/ 13503 w 57442"/>
                  <a:gd name="connsiteY5" fmla="*/ 51040 h 83567"/>
                  <a:gd name="connsiteX6" fmla="*/ 49909 w 57442"/>
                  <a:gd name="connsiteY6" fmla="*/ 70705 h 83567"/>
                  <a:gd name="connsiteX7" fmla="*/ 57282 w 57442"/>
                  <a:gd name="connsiteY7" fmla="*/ 75262 h 83567"/>
                  <a:gd name="connsiteX8" fmla="*/ 52694 w 57442"/>
                  <a:gd name="connsiteY8" fmla="*/ 82587 h 83567"/>
                  <a:gd name="connsiteX9" fmla="*/ 43274 w 57442"/>
                  <a:gd name="connsiteY9" fmla="*/ 83563 h 83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7442" h="83567">
                    <a:moveTo>
                      <a:pt x="43274" y="83563"/>
                    </a:moveTo>
                    <a:cubicBezTo>
                      <a:pt x="19386" y="83575"/>
                      <a:pt x="11" y="64346"/>
                      <a:pt x="0" y="40615"/>
                    </a:cubicBezTo>
                    <a:cubicBezTo>
                      <a:pt x="-9" y="22643"/>
                      <a:pt x="11241" y="6563"/>
                      <a:pt x="28201" y="309"/>
                    </a:cubicBezTo>
                    <a:cubicBezTo>
                      <a:pt x="31423" y="-747"/>
                      <a:pt x="34898" y="991"/>
                      <a:pt x="35961" y="4193"/>
                    </a:cubicBezTo>
                    <a:cubicBezTo>
                      <a:pt x="36982" y="7267"/>
                      <a:pt x="35410" y="10597"/>
                      <a:pt x="32379" y="11784"/>
                    </a:cubicBezTo>
                    <a:cubicBezTo>
                      <a:pt x="16255" y="17446"/>
                      <a:pt x="7804" y="35021"/>
                      <a:pt x="13503" y="51040"/>
                    </a:cubicBezTo>
                    <a:cubicBezTo>
                      <a:pt x="18784" y="65885"/>
                      <a:pt x="34496" y="74372"/>
                      <a:pt x="49909" y="70705"/>
                    </a:cubicBezTo>
                    <a:cubicBezTo>
                      <a:pt x="53204" y="69990"/>
                      <a:pt x="56473" y="72010"/>
                      <a:pt x="57282" y="75262"/>
                    </a:cubicBezTo>
                    <a:cubicBezTo>
                      <a:pt x="58049" y="78543"/>
                      <a:pt x="55996" y="81821"/>
                      <a:pt x="52694" y="82587"/>
                    </a:cubicBezTo>
                    <a:cubicBezTo>
                      <a:pt x="49604" y="83279"/>
                      <a:pt x="46442" y="83606"/>
                      <a:pt x="43274" y="83563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79" name="Freihandform 178">
                <a:extLst>
                  <a:ext uri="{FF2B5EF4-FFF2-40B4-BE49-F238E27FC236}">
                    <a16:creationId xmlns:a16="http://schemas.microsoft.com/office/drawing/2014/main" id="{AF8CF991-2C83-38FC-8704-EC05C2D38EFF}"/>
                  </a:ext>
                </a:extLst>
              </p:cNvPr>
              <p:cNvSpPr/>
              <p:nvPr/>
            </p:nvSpPr>
            <p:spPr>
              <a:xfrm>
                <a:off x="4088927" y="3371824"/>
                <a:ext cx="45852" cy="51195"/>
              </a:xfrm>
              <a:custGeom>
                <a:avLst/>
                <a:gdLst>
                  <a:gd name="connsiteX0" fmla="*/ 35448 w 45852"/>
                  <a:gd name="connsiteY0" fmla="*/ 51196 h 51195"/>
                  <a:gd name="connsiteX1" fmla="*/ 32090 w 45852"/>
                  <a:gd name="connsiteY1" fmla="*/ 50138 h 51195"/>
                  <a:gd name="connsiteX2" fmla="*/ 30369 w 45852"/>
                  <a:gd name="connsiteY2" fmla="*/ 42000 h 51195"/>
                  <a:gd name="connsiteX3" fmla="*/ 24995 w 45852"/>
                  <a:gd name="connsiteY3" fmla="*/ 15721 h 51195"/>
                  <a:gd name="connsiteX4" fmla="*/ 8252 w 45852"/>
                  <a:gd name="connsiteY4" fmla="*/ 13597 h 51195"/>
                  <a:gd name="connsiteX5" fmla="*/ 504 w 45852"/>
                  <a:gd name="connsiteY5" fmla="*/ 9952 h 51195"/>
                  <a:gd name="connsiteX6" fmla="*/ 469 w 45852"/>
                  <a:gd name="connsiteY6" fmla="*/ 9854 h 51195"/>
                  <a:gd name="connsiteX7" fmla="*/ 3794 w 45852"/>
                  <a:gd name="connsiteY7" fmla="*/ 1878 h 51195"/>
                  <a:gd name="connsiteX8" fmla="*/ 4238 w 45852"/>
                  <a:gd name="connsiteY8" fmla="*/ 1715 h 51195"/>
                  <a:gd name="connsiteX9" fmla="*/ 44134 w 45852"/>
                  <a:gd name="connsiteY9" fmla="*/ 21005 h 51195"/>
                  <a:gd name="connsiteX10" fmla="*/ 40609 w 45852"/>
                  <a:gd name="connsiteY10" fmla="*/ 48429 h 51195"/>
                  <a:gd name="connsiteX11" fmla="*/ 35448 w 45852"/>
                  <a:gd name="connsiteY11" fmla="*/ 51196 h 51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5852" h="51195">
                    <a:moveTo>
                      <a:pt x="35448" y="51196"/>
                    </a:moveTo>
                    <a:cubicBezTo>
                      <a:pt x="34246" y="51197"/>
                      <a:pt x="33072" y="50827"/>
                      <a:pt x="32090" y="50138"/>
                    </a:cubicBezTo>
                    <a:cubicBezTo>
                      <a:pt x="29421" y="48317"/>
                      <a:pt x="28663" y="44733"/>
                      <a:pt x="30369" y="42000"/>
                    </a:cubicBezTo>
                    <a:cubicBezTo>
                      <a:pt x="36190" y="33268"/>
                      <a:pt x="33784" y="21503"/>
                      <a:pt x="24995" y="15721"/>
                    </a:cubicBezTo>
                    <a:cubicBezTo>
                      <a:pt x="20049" y="12466"/>
                      <a:pt x="13861" y="11682"/>
                      <a:pt x="8252" y="13597"/>
                    </a:cubicBezTo>
                    <a:cubicBezTo>
                      <a:pt x="5099" y="14716"/>
                      <a:pt x="1630" y="13084"/>
                      <a:pt x="504" y="9952"/>
                    </a:cubicBezTo>
                    <a:cubicBezTo>
                      <a:pt x="492" y="9920"/>
                      <a:pt x="481" y="9886"/>
                      <a:pt x="469" y="9854"/>
                    </a:cubicBezTo>
                    <a:cubicBezTo>
                      <a:pt x="-829" y="6739"/>
                      <a:pt x="659" y="3169"/>
                      <a:pt x="3794" y="1878"/>
                    </a:cubicBezTo>
                    <a:cubicBezTo>
                      <a:pt x="3939" y="1819"/>
                      <a:pt x="4088" y="1764"/>
                      <a:pt x="4238" y="1715"/>
                    </a:cubicBezTo>
                    <a:cubicBezTo>
                      <a:pt x="20616" y="-3903"/>
                      <a:pt x="38478" y="4733"/>
                      <a:pt x="44134" y="21005"/>
                    </a:cubicBezTo>
                    <a:cubicBezTo>
                      <a:pt x="47328" y="30192"/>
                      <a:pt x="46024" y="40334"/>
                      <a:pt x="40609" y="48429"/>
                    </a:cubicBezTo>
                    <a:cubicBezTo>
                      <a:pt x="39471" y="50160"/>
                      <a:pt x="37529" y="51202"/>
                      <a:pt x="35448" y="51196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80" name="Freihandform 179">
                <a:extLst>
                  <a:ext uri="{FF2B5EF4-FFF2-40B4-BE49-F238E27FC236}">
                    <a16:creationId xmlns:a16="http://schemas.microsoft.com/office/drawing/2014/main" id="{A822F853-564B-36BA-2D07-79C64854DDC4}"/>
                  </a:ext>
                </a:extLst>
              </p:cNvPr>
              <p:cNvSpPr/>
              <p:nvPr/>
            </p:nvSpPr>
            <p:spPr>
              <a:xfrm>
                <a:off x="4086451" y="3408098"/>
                <a:ext cx="62164" cy="83528"/>
              </a:xfrm>
              <a:custGeom>
                <a:avLst/>
                <a:gdLst>
                  <a:gd name="connsiteX0" fmla="*/ 18756 w 62164"/>
                  <a:gd name="connsiteY0" fmla="*/ 83365 h 83528"/>
                  <a:gd name="connsiteX1" fmla="*/ 4093 w 62164"/>
                  <a:gd name="connsiteY1" fmla="*/ 80842 h 83528"/>
                  <a:gd name="connsiteX2" fmla="*/ 365 w 62164"/>
                  <a:gd name="connsiteY2" fmla="*/ 72989 h 83528"/>
                  <a:gd name="connsiteX3" fmla="*/ 8270 w 62164"/>
                  <a:gd name="connsiteY3" fmla="*/ 69286 h 83528"/>
                  <a:gd name="connsiteX4" fmla="*/ 47919 w 62164"/>
                  <a:gd name="connsiteY4" fmla="*/ 50812 h 83528"/>
                  <a:gd name="connsiteX5" fmla="*/ 29323 w 62164"/>
                  <a:gd name="connsiteY5" fmla="*/ 11423 h 83528"/>
                  <a:gd name="connsiteX6" fmla="*/ 26983 w 62164"/>
                  <a:gd name="connsiteY6" fmla="*/ 3111 h 83528"/>
                  <a:gd name="connsiteX7" fmla="*/ 33501 w 62164"/>
                  <a:gd name="connsiteY7" fmla="*/ 111 h 83528"/>
                  <a:gd name="connsiteX8" fmla="*/ 59613 w 62164"/>
                  <a:gd name="connsiteY8" fmla="*/ 55064 h 83528"/>
                  <a:gd name="connsiteX9" fmla="*/ 18756 w 62164"/>
                  <a:gd name="connsiteY9" fmla="*/ 83528 h 83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164" h="83528">
                    <a:moveTo>
                      <a:pt x="18756" y="83365"/>
                    </a:moveTo>
                    <a:cubicBezTo>
                      <a:pt x="13759" y="83368"/>
                      <a:pt x="8798" y="82514"/>
                      <a:pt x="4093" y="80842"/>
                    </a:cubicBezTo>
                    <a:cubicBezTo>
                      <a:pt x="881" y="79696"/>
                      <a:pt x="-788" y="76180"/>
                      <a:pt x="365" y="72989"/>
                    </a:cubicBezTo>
                    <a:cubicBezTo>
                      <a:pt x="1519" y="69798"/>
                      <a:pt x="5058" y="68140"/>
                      <a:pt x="8270" y="69286"/>
                    </a:cubicBezTo>
                    <a:cubicBezTo>
                      <a:pt x="24354" y="75062"/>
                      <a:pt x="42105" y="66791"/>
                      <a:pt x="47919" y="50812"/>
                    </a:cubicBezTo>
                    <a:cubicBezTo>
                      <a:pt x="53732" y="34834"/>
                      <a:pt x="45407" y="17199"/>
                      <a:pt x="29323" y="11423"/>
                    </a:cubicBezTo>
                    <a:cubicBezTo>
                      <a:pt x="26366" y="9770"/>
                      <a:pt x="25318" y="6048"/>
                      <a:pt x="26983" y="3111"/>
                    </a:cubicBezTo>
                    <a:cubicBezTo>
                      <a:pt x="28280" y="822"/>
                      <a:pt x="30905" y="-387"/>
                      <a:pt x="33501" y="111"/>
                    </a:cubicBezTo>
                    <a:cubicBezTo>
                      <a:pt x="55987" y="8122"/>
                      <a:pt x="67677" y="32726"/>
                      <a:pt x="59613" y="55064"/>
                    </a:cubicBezTo>
                    <a:cubicBezTo>
                      <a:pt x="53432" y="72187"/>
                      <a:pt x="37066" y="83588"/>
                      <a:pt x="18756" y="83528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81" name="Freihandform 180">
                <a:extLst>
                  <a:ext uri="{FF2B5EF4-FFF2-40B4-BE49-F238E27FC236}">
                    <a16:creationId xmlns:a16="http://schemas.microsoft.com/office/drawing/2014/main" id="{A7C1EF12-A4CC-9413-F8A4-83499A30B3E5}"/>
                  </a:ext>
                </a:extLst>
              </p:cNvPr>
              <p:cNvSpPr/>
              <p:nvPr/>
            </p:nvSpPr>
            <p:spPr>
              <a:xfrm>
                <a:off x="3996420" y="3335534"/>
                <a:ext cx="46037" cy="34587"/>
              </a:xfrm>
              <a:custGeom>
                <a:avLst/>
                <a:gdLst>
                  <a:gd name="connsiteX0" fmla="*/ 17367 w 46037"/>
                  <a:gd name="connsiteY0" fmla="*/ 34588 h 34587"/>
                  <a:gd name="connsiteX1" fmla="*/ 6144 w 46037"/>
                  <a:gd name="connsiteY1" fmla="*/ 34588 h 34587"/>
                  <a:gd name="connsiteX2" fmla="*/ 0 w 46037"/>
                  <a:gd name="connsiteY2" fmla="*/ 28484 h 34587"/>
                  <a:gd name="connsiteX3" fmla="*/ 6144 w 46037"/>
                  <a:gd name="connsiteY3" fmla="*/ 22380 h 34587"/>
                  <a:gd name="connsiteX4" fmla="*/ 17367 w 46037"/>
                  <a:gd name="connsiteY4" fmla="*/ 22380 h 34587"/>
                  <a:gd name="connsiteX5" fmla="*/ 33750 w 46037"/>
                  <a:gd name="connsiteY5" fmla="*/ 6104 h 34587"/>
                  <a:gd name="connsiteX6" fmla="*/ 39894 w 46037"/>
                  <a:gd name="connsiteY6" fmla="*/ 0 h 34587"/>
                  <a:gd name="connsiteX7" fmla="*/ 46038 w 46037"/>
                  <a:gd name="connsiteY7" fmla="*/ 6104 h 34587"/>
                  <a:gd name="connsiteX8" fmla="*/ 17367 w 46037"/>
                  <a:gd name="connsiteY8" fmla="*/ 34588 h 34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037" h="34587">
                    <a:moveTo>
                      <a:pt x="17367" y="34588"/>
                    </a:moveTo>
                    <a:lnTo>
                      <a:pt x="6144" y="34588"/>
                    </a:lnTo>
                    <a:cubicBezTo>
                      <a:pt x="2751" y="34588"/>
                      <a:pt x="0" y="31855"/>
                      <a:pt x="0" y="28484"/>
                    </a:cubicBezTo>
                    <a:cubicBezTo>
                      <a:pt x="0" y="25113"/>
                      <a:pt x="2751" y="22380"/>
                      <a:pt x="6144" y="22380"/>
                    </a:cubicBezTo>
                    <a:lnTo>
                      <a:pt x="17367" y="22380"/>
                    </a:lnTo>
                    <a:cubicBezTo>
                      <a:pt x="26415" y="22380"/>
                      <a:pt x="33750" y="15093"/>
                      <a:pt x="33750" y="6104"/>
                    </a:cubicBezTo>
                    <a:cubicBezTo>
                      <a:pt x="33750" y="2733"/>
                      <a:pt x="36501" y="0"/>
                      <a:pt x="39894" y="0"/>
                    </a:cubicBezTo>
                    <a:cubicBezTo>
                      <a:pt x="43287" y="0"/>
                      <a:pt x="46038" y="2733"/>
                      <a:pt x="46038" y="6104"/>
                    </a:cubicBezTo>
                    <a:cubicBezTo>
                      <a:pt x="45861" y="21762"/>
                      <a:pt x="33128" y="34412"/>
                      <a:pt x="17367" y="34588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82" name="Freihandform 181">
                <a:extLst>
                  <a:ext uri="{FF2B5EF4-FFF2-40B4-BE49-F238E27FC236}">
                    <a16:creationId xmlns:a16="http://schemas.microsoft.com/office/drawing/2014/main" id="{3942ECAE-C7CA-BAB7-35F4-C008C78B0A2A}"/>
                  </a:ext>
                </a:extLst>
              </p:cNvPr>
              <p:cNvSpPr/>
              <p:nvPr/>
            </p:nvSpPr>
            <p:spPr>
              <a:xfrm>
                <a:off x="4030416" y="3335290"/>
                <a:ext cx="64387" cy="34831"/>
              </a:xfrm>
              <a:custGeom>
                <a:avLst/>
                <a:gdLst>
                  <a:gd name="connsiteX0" fmla="*/ 58489 w 64387"/>
                  <a:gd name="connsiteY0" fmla="*/ 34832 h 34831"/>
                  <a:gd name="connsiteX1" fmla="*/ 28917 w 64387"/>
                  <a:gd name="connsiteY1" fmla="*/ 34832 h 34831"/>
                  <a:gd name="connsiteX2" fmla="*/ 0 w 64387"/>
                  <a:gd name="connsiteY2" fmla="*/ 6104 h 34831"/>
                  <a:gd name="connsiteX3" fmla="*/ 6144 w 64387"/>
                  <a:gd name="connsiteY3" fmla="*/ 0 h 34831"/>
                  <a:gd name="connsiteX4" fmla="*/ 12288 w 64387"/>
                  <a:gd name="connsiteY4" fmla="*/ 6104 h 34831"/>
                  <a:gd name="connsiteX5" fmla="*/ 28671 w 64387"/>
                  <a:gd name="connsiteY5" fmla="*/ 22380 h 34831"/>
                  <a:gd name="connsiteX6" fmla="*/ 58244 w 64387"/>
                  <a:gd name="connsiteY6" fmla="*/ 22380 h 34831"/>
                  <a:gd name="connsiteX7" fmla="*/ 64387 w 64387"/>
                  <a:gd name="connsiteY7" fmla="*/ 28484 h 34831"/>
                  <a:gd name="connsiteX8" fmla="*/ 58244 w 64387"/>
                  <a:gd name="connsiteY8" fmla="*/ 34588 h 34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387" h="34831">
                    <a:moveTo>
                      <a:pt x="58489" y="34832"/>
                    </a:moveTo>
                    <a:lnTo>
                      <a:pt x="28917" y="34832"/>
                    </a:lnTo>
                    <a:cubicBezTo>
                      <a:pt x="12965" y="34787"/>
                      <a:pt x="45" y="21951"/>
                      <a:pt x="0" y="6104"/>
                    </a:cubicBezTo>
                    <a:cubicBezTo>
                      <a:pt x="0" y="2733"/>
                      <a:pt x="2751" y="0"/>
                      <a:pt x="6144" y="0"/>
                    </a:cubicBezTo>
                    <a:cubicBezTo>
                      <a:pt x="9537" y="0"/>
                      <a:pt x="12288" y="2733"/>
                      <a:pt x="12288" y="6104"/>
                    </a:cubicBezTo>
                    <a:cubicBezTo>
                      <a:pt x="12288" y="15093"/>
                      <a:pt x="19623" y="22380"/>
                      <a:pt x="28671" y="22380"/>
                    </a:cubicBezTo>
                    <a:lnTo>
                      <a:pt x="58244" y="22380"/>
                    </a:lnTo>
                    <a:cubicBezTo>
                      <a:pt x="61637" y="22380"/>
                      <a:pt x="64387" y="25113"/>
                      <a:pt x="64387" y="28484"/>
                    </a:cubicBezTo>
                    <a:cubicBezTo>
                      <a:pt x="64387" y="31855"/>
                      <a:pt x="61637" y="34588"/>
                      <a:pt x="58244" y="34588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83" name="Freihandform 182">
                <a:extLst>
                  <a:ext uri="{FF2B5EF4-FFF2-40B4-BE49-F238E27FC236}">
                    <a16:creationId xmlns:a16="http://schemas.microsoft.com/office/drawing/2014/main" id="{0E308C9A-CC8D-20AC-2CD9-1B588559C1F7}"/>
                  </a:ext>
                </a:extLst>
              </p:cNvPr>
              <p:cNvSpPr/>
              <p:nvPr/>
            </p:nvSpPr>
            <p:spPr>
              <a:xfrm>
                <a:off x="3744887" y="3475983"/>
                <a:ext cx="114530" cy="53567"/>
              </a:xfrm>
              <a:custGeom>
                <a:avLst/>
                <a:gdLst>
                  <a:gd name="connsiteX0" fmla="*/ 86960 w 114530"/>
                  <a:gd name="connsiteY0" fmla="*/ 53567 h 53567"/>
                  <a:gd name="connsiteX1" fmla="*/ 81881 w 114530"/>
                  <a:gd name="connsiteY1" fmla="*/ 50881 h 53567"/>
                  <a:gd name="connsiteX2" fmla="*/ 59190 w 114530"/>
                  <a:gd name="connsiteY2" fmla="*/ 17759 h 53567"/>
                  <a:gd name="connsiteX3" fmla="*/ 39775 w 114530"/>
                  <a:gd name="connsiteY3" fmla="*/ 50312 h 53567"/>
                  <a:gd name="connsiteX4" fmla="*/ 34697 w 114530"/>
                  <a:gd name="connsiteY4" fmla="*/ 53323 h 53567"/>
                  <a:gd name="connsiteX5" fmla="*/ 29454 w 114530"/>
                  <a:gd name="connsiteY5" fmla="*/ 50719 h 53567"/>
                  <a:gd name="connsiteX6" fmla="*/ 1028 w 114530"/>
                  <a:gd name="connsiteY6" fmla="*/ 9783 h 53567"/>
                  <a:gd name="connsiteX7" fmla="*/ 2667 w 114530"/>
                  <a:gd name="connsiteY7" fmla="*/ 1238 h 53567"/>
                  <a:gd name="connsiteX8" fmla="*/ 10858 w 114530"/>
                  <a:gd name="connsiteY8" fmla="*/ 2866 h 53567"/>
                  <a:gd name="connsiteX9" fmla="*/ 33795 w 114530"/>
                  <a:gd name="connsiteY9" fmla="*/ 36070 h 53567"/>
                  <a:gd name="connsiteX10" fmla="*/ 53210 w 114530"/>
                  <a:gd name="connsiteY10" fmla="*/ 3517 h 53567"/>
                  <a:gd name="connsiteX11" fmla="*/ 58289 w 114530"/>
                  <a:gd name="connsiteY11" fmla="*/ 506 h 53567"/>
                  <a:gd name="connsiteX12" fmla="*/ 63614 w 114530"/>
                  <a:gd name="connsiteY12" fmla="*/ 3191 h 53567"/>
                  <a:gd name="connsiteX13" fmla="*/ 85977 w 114530"/>
                  <a:gd name="connsiteY13" fmla="*/ 35744 h 53567"/>
                  <a:gd name="connsiteX14" fmla="*/ 103098 w 114530"/>
                  <a:gd name="connsiteY14" fmla="*/ 3191 h 53567"/>
                  <a:gd name="connsiteX15" fmla="*/ 111290 w 114530"/>
                  <a:gd name="connsiteY15" fmla="*/ 668 h 53567"/>
                  <a:gd name="connsiteX16" fmla="*/ 113832 w 114530"/>
                  <a:gd name="connsiteY16" fmla="*/ 8803 h 53567"/>
                  <a:gd name="connsiteX17" fmla="*/ 113829 w 114530"/>
                  <a:gd name="connsiteY17" fmla="*/ 8807 h 53567"/>
                  <a:gd name="connsiteX18" fmla="*/ 92039 w 114530"/>
                  <a:gd name="connsiteY18" fmla="*/ 49986 h 53567"/>
                  <a:gd name="connsiteX19" fmla="*/ 86960 w 114530"/>
                  <a:gd name="connsiteY19" fmla="*/ 53241 h 53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4530" h="53567">
                    <a:moveTo>
                      <a:pt x="86960" y="53567"/>
                    </a:moveTo>
                    <a:cubicBezTo>
                      <a:pt x="84920" y="53578"/>
                      <a:pt x="83012" y="52568"/>
                      <a:pt x="81881" y="50881"/>
                    </a:cubicBezTo>
                    <a:lnTo>
                      <a:pt x="59190" y="17759"/>
                    </a:lnTo>
                    <a:lnTo>
                      <a:pt x="39775" y="50312"/>
                    </a:lnTo>
                    <a:cubicBezTo>
                      <a:pt x="38712" y="52112"/>
                      <a:pt x="36796" y="53248"/>
                      <a:pt x="34697" y="53323"/>
                    </a:cubicBezTo>
                    <a:cubicBezTo>
                      <a:pt x="32614" y="53407"/>
                      <a:pt x="30635" y="52424"/>
                      <a:pt x="29454" y="50719"/>
                    </a:cubicBezTo>
                    <a:lnTo>
                      <a:pt x="1028" y="9783"/>
                    </a:lnTo>
                    <a:cubicBezTo>
                      <a:pt x="-829" y="6961"/>
                      <a:pt x="-105" y="3185"/>
                      <a:pt x="2667" y="1238"/>
                    </a:cubicBezTo>
                    <a:cubicBezTo>
                      <a:pt x="5406" y="-431"/>
                      <a:pt x="8976" y="279"/>
                      <a:pt x="10858" y="2866"/>
                    </a:cubicBezTo>
                    <a:lnTo>
                      <a:pt x="33795" y="36070"/>
                    </a:lnTo>
                    <a:lnTo>
                      <a:pt x="53210" y="3517"/>
                    </a:lnTo>
                    <a:cubicBezTo>
                      <a:pt x="54273" y="1717"/>
                      <a:pt x="56189" y="581"/>
                      <a:pt x="58289" y="506"/>
                    </a:cubicBezTo>
                    <a:cubicBezTo>
                      <a:pt x="60398" y="485"/>
                      <a:pt x="62386" y="1487"/>
                      <a:pt x="63614" y="3191"/>
                    </a:cubicBezTo>
                    <a:lnTo>
                      <a:pt x="85977" y="35744"/>
                    </a:lnTo>
                    <a:lnTo>
                      <a:pt x="103098" y="3191"/>
                    </a:lnTo>
                    <a:cubicBezTo>
                      <a:pt x="104688" y="283"/>
                      <a:pt x="108323" y="-836"/>
                      <a:pt x="111290" y="668"/>
                    </a:cubicBezTo>
                    <a:cubicBezTo>
                      <a:pt x="114253" y="2217"/>
                      <a:pt x="115391" y="5859"/>
                      <a:pt x="113832" y="8803"/>
                    </a:cubicBezTo>
                    <a:cubicBezTo>
                      <a:pt x="113831" y="8803"/>
                      <a:pt x="113830" y="8805"/>
                      <a:pt x="113829" y="8807"/>
                    </a:cubicBezTo>
                    <a:lnTo>
                      <a:pt x="92039" y="49986"/>
                    </a:lnTo>
                    <a:cubicBezTo>
                      <a:pt x="91050" y="51892"/>
                      <a:pt x="89115" y="53132"/>
                      <a:pt x="86960" y="53241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84" name="Freihandform 183">
                <a:extLst>
                  <a:ext uri="{FF2B5EF4-FFF2-40B4-BE49-F238E27FC236}">
                    <a16:creationId xmlns:a16="http://schemas.microsoft.com/office/drawing/2014/main" id="{05F1919D-1B44-9A7E-6173-B747E45C8395}"/>
                  </a:ext>
                </a:extLst>
              </p:cNvPr>
              <p:cNvSpPr/>
              <p:nvPr/>
            </p:nvSpPr>
            <p:spPr>
              <a:xfrm>
                <a:off x="3967943" y="3478922"/>
                <a:ext cx="133154" cy="26945"/>
              </a:xfrm>
              <a:custGeom>
                <a:avLst/>
                <a:gdLst>
                  <a:gd name="connsiteX0" fmla="*/ 65831 w 133154"/>
                  <a:gd name="connsiteY0" fmla="*/ 26946 h 26945"/>
                  <a:gd name="connsiteX1" fmla="*/ 2591 w 133154"/>
                  <a:gd name="connsiteY1" fmla="*/ 12541 h 26945"/>
                  <a:gd name="connsiteX2" fmla="*/ 1157 w 133154"/>
                  <a:gd name="connsiteY2" fmla="*/ 3955 h 26945"/>
                  <a:gd name="connsiteX3" fmla="*/ 9800 w 133154"/>
                  <a:gd name="connsiteY3" fmla="*/ 2531 h 26945"/>
                  <a:gd name="connsiteX4" fmla="*/ 65831 w 133154"/>
                  <a:gd name="connsiteY4" fmla="*/ 14575 h 26945"/>
                  <a:gd name="connsiteX5" fmla="*/ 123665 w 133154"/>
                  <a:gd name="connsiteY5" fmla="*/ 985 h 26945"/>
                  <a:gd name="connsiteX6" fmla="*/ 132163 w 133154"/>
                  <a:gd name="connsiteY6" fmla="*/ 2782 h 26945"/>
                  <a:gd name="connsiteX7" fmla="*/ 131857 w 133154"/>
                  <a:gd name="connsiteY7" fmla="*/ 9855 h 26945"/>
                  <a:gd name="connsiteX8" fmla="*/ 65831 w 133154"/>
                  <a:gd name="connsiteY8" fmla="*/ 26946 h 26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3154" h="26945">
                    <a:moveTo>
                      <a:pt x="65831" y="26946"/>
                    </a:moveTo>
                    <a:cubicBezTo>
                      <a:pt x="38962" y="26946"/>
                      <a:pt x="14796" y="21412"/>
                      <a:pt x="2591" y="12541"/>
                    </a:cubicBezTo>
                    <a:cubicBezTo>
                      <a:pt x="-192" y="10563"/>
                      <a:pt x="-833" y="6720"/>
                      <a:pt x="1157" y="3955"/>
                    </a:cubicBezTo>
                    <a:cubicBezTo>
                      <a:pt x="3148" y="1191"/>
                      <a:pt x="7017" y="553"/>
                      <a:pt x="9800" y="2531"/>
                    </a:cubicBezTo>
                    <a:cubicBezTo>
                      <a:pt x="19875" y="9855"/>
                      <a:pt x="41829" y="14575"/>
                      <a:pt x="65831" y="14575"/>
                    </a:cubicBezTo>
                    <a:cubicBezTo>
                      <a:pt x="95731" y="14575"/>
                      <a:pt x="116784" y="7495"/>
                      <a:pt x="123665" y="985"/>
                    </a:cubicBezTo>
                    <a:cubicBezTo>
                      <a:pt x="126511" y="-851"/>
                      <a:pt x="130316" y="-46"/>
                      <a:pt x="132163" y="2782"/>
                    </a:cubicBezTo>
                    <a:cubicBezTo>
                      <a:pt x="133590" y="4963"/>
                      <a:pt x="133466" y="7803"/>
                      <a:pt x="131857" y="9855"/>
                    </a:cubicBezTo>
                    <a:cubicBezTo>
                      <a:pt x="121290" y="19947"/>
                      <a:pt x="95240" y="26946"/>
                      <a:pt x="65831" y="26946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70BF86BA-B556-FA29-3228-A4B173C7795D}"/>
                </a:ext>
              </a:extLst>
            </p:cNvPr>
            <p:cNvGrpSpPr/>
            <p:nvPr/>
          </p:nvGrpSpPr>
          <p:grpSpPr>
            <a:xfrm>
              <a:off x="3616676" y="3784783"/>
              <a:ext cx="414806" cy="410168"/>
              <a:chOff x="3686823" y="3789393"/>
              <a:chExt cx="414806" cy="410168"/>
            </a:xfrm>
          </p:grpSpPr>
          <p:sp>
            <p:nvSpPr>
              <p:cNvPr id="136" name="Freihandform 135">
                <a:extLst>
                  <a:ext uri="{FF2B5EF4-FFF2-40B4-BE49-F238E27FC236}">
                    <a16:creationId xmlns:a16="http://schemas.microsoft.com/office/drawing/2014/main" id="{80D97F83-8959-7BE2-FD99-62733FA8A641}"/>
                  </a:ext>
                </a:extLst>
              </p:cNvPr>
              <p:cNvSpPr/>
              <p:nvPr/>
            </p:nvSpPr>
            <p:spPr>
              <a:xfrm>
                <a:off x="3724829" y="3789393"/>
                <a:ext cx="341805" cy="232103"/>
              </a:xfrm>
              <a:custGeom>
                <a:avLst/>
                <a:gdLst>
                  <a:gd name="connsiteX0" fmla="*/ 341806 w 341805"/>
                  <a:gd name="connsiteY0" fmla="*/ 232104 h 232103"/>
                  <a:gd name="connsiteX1" fmla="*/ 0 w 341805"/>
                  <a:gd name="connsiteY1" fmla="*/ 232104 h 232103"/>
                  <a:gd name="connsiteX2" fmla="*/ 0 w 341805"/>
                  <a:gd name="connsiteY2" fmla="*/ 26125 h 232103"/>
                  <a:gd name="connsiteX3" fmla="*/ 25717 w 341805"/>
                  <a:gd name="connsiteY3" fmla="*/ 1 h 232103"/>
                  <a:gd name="connsiteX4" fmla="*/ 315438 w 341805"/>
                  <a:gd name="connsiteY4" fmla="*/ 1 h 232103"/>
                  <a:gd name="connsiteX5" fmla="*/ 341805 w 341805"/>
                  <a:gd name="connsiteY5" fmla="*/ 25880 h 232103"/>
                  <a:gd name="connsiteX6" fmla="*/ 341806 w 341805"/>
                  <a:gd name="connsiteY6" fmla="*/ 26125 h 232103"/>
                  <a:gd name="connsiteX7" fmla="*/ 11800 w 341805"/>
                  <a:gd name="connsiteY7" fmla="*/ 219896 h 232103"/>
                  <a:gd name="connsiteX8" fmla="*/ 329192 w 341805"/>
                  <a:gd name="connsiteY8" fmla="*/ 219896 h 232103"/>
                  <a:gd name="connsiteX9" fmla="*/ 329192 w 341805"/>
                  <a:gd name="connsiteY9" fmla="*/ 26125 h 232103"/>
                  <a:gd name="connsiteX10" fmla="*/ 315438 w 341805"/>
                  <a:gd name="connsiteY10" fmla="*/ 12209 h 232103"/>
                  <a:gd name="connsiteX11" fmla="*/ 25717 w 341805"/>
                  <a:gd name="connsiteY11" fmla="*/ 12209 h 232103"/>
                  <a:gd name="connsiteX12" fmla="*/ 11800 w 341805"/>
                  <a:gd name="connsiteY12" fmla="*/ 26125 h 232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41805" h="232103">
                    <a:moveTo>
                      <a:pt x="341806" y="232104"/>
                    </a:moveTo>
                    <a:lnTo>
                      <a:pt x="0" y="232104"/>
                    </a:lnTo>
                    <a:lnTo>
                      <a:pt x="0" y="26125"/>
                    </a:lnTo>
                    <a:cubicBezTo>
                      <a:pt x="-2" y="11855"/>
                      <a:pt x="11448" y="223"/>
                      <a:pt x="25717" y="1"/>
                    </a:cubicBezTo>
                    <a:lnTo>
                      <a:pt x="315438" y="1"/>
                    </a:lnTo>
                    <a:cubicBezTo>
                      <a:pt x="329865" y="-134"/>
                      <a:pt x="341670" y="11452"/>
                      <a:pt x="341805" y="25880"/>
                    </a:cubicBezTo>
                    <a:cubicBezTo>
                      <a:pt x="341806" y="25961"/>
                      <a:pt x="341806" y="26043"/>
                      <a:pt x="341806" y="26125"/>
                    </a:cubicBezTo>
                    <a:close/>
                    <a:moveTo>
                      <a:pt x="11800" y="219896"/>
                    </a:moveTo>
                    <a:lnTo>
                      <a:pt x="329192" y="219896"/>
                    </a:lnTo>
                    <a:lnTo>
                      <a:pt x="329192" y="26125"/>
                    </a:lnTo>
                    <a:cubicBezTo>
                      <a:pt x="329148" y="18520"/>
                      <a:pt x="323042" y="12341"/>
                      <a:pt x="315438" y="12209"/>
                    </a:cubicBezTo>
                    <a:lnTo>
                      <a:pt x="25717" y="12209"/>
                    </a:lnTo>
                    <a:cubicBezTo>
                      <a:pt x="18049" y="12253"/>
                      <a:pt x="11845" y="18458"/>
                      <a:pt x="11800" y="26125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37" name="Freihandform 136">
                <a:extLst>
                  <a:ext uri="{FF2B5EF4-FFF2-40B4-BE49-F238E27FC236}">
                    <a16:creationId xmlns:a16="http://schemas.microsoft.com/office/drawing/2014/main" id="{40B18578-349A-B672-7CF6-E6A5C2186432}"/>
                  </a:ext>
                </a:extLst>
              </p:cNvPr>
              <p:cNvSpPr/>
              <p:nvPr/>
            </p:nvSpPr>
            <p:spPr>
              <a:xfrm>
                <a:off x="3686968" y="4011799"/>
                <a:ext cx="48942" cy="90104"/>
              </a:xfrm>
              <a:custGeom>
                <a:avLst/>
                <a:gdLst>
                  <a:gd name="connsiteX0" fmla="*/ 6122 w 48942"/>
                  <a:gd name="connsiteY0" fmla="*/ 90104 h 90104"/>
                  <a:gd name="connsiteX1" fmla="*/ 3517 w 48942"/>
                  <a:gd name="connsiteY1" fmla="*/ 89534 h 90104"/>
                  <a:gd name="connsiteX2" fmla="*/ 577 w 48942"/>
                  <a:gd name="connsiteY2" fmla="*/ 81419 h 90104"/>
                  <a:gd name="connsiteX3" fmla="*/ 588 w 48942"/>
                  <a:gd name="connsiteY3" fmla="*/ 81396 h 90104"/>
                  <a:gd name="connsiteX4" fmla="*/ 37291 w 48942"/>
                  <a:gd name="connsiteY4" fmla="*/ 3513 h 90104"/>
                  <a:gd name="connsiteX5" fmla="*/ 45429 w 48942"/>
                  <a:gd name="connsiteY5" fmla="*/ 584 h 90104"/>
                  <a:gd name="connsiteX6" fmla="*/ 48359 w 48942"/>
                  <a:gd name="connsiteY6" fmla="*/ 8722 h 90104"/>
                  <a:gd name="connsiteX7" fmla="*/ 11574 w 48942"/>
                  <a:gd name="connsiteY7" fmla="*/ 86279 h 90104"/>
                  <a:gd name="connsiteX8" fmla="*/ 6122 w 48942"/>
                  <a:gd name="connsiteY8" fmla="*/ 90104 h 90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942" h="90104">
                    <a:moveTo>
                      <a:pt x="6122" y="90104"/>
                    </a:moveTo>
                    <a:cubicBezTo>
                      <a:pt x="5221" y="90120"/>
                      <a:pt x="4329" y="89925"/>
                      <a:pt x="3517" y="89534"/>
                    </a:cubicBezTo>
                    <a:cubicBezTo>
                      <a:pt x="464" y="88105"/>
                      <a:pt x="-852" y="84472"/>
                      <a:pt x="577" y="81419"/>
                    </a:cubicBezTo>
                    <a:cubicBezTo>
                      <a:pt x="581" y="81411"/>
                      <a:pt x="584" y="81404"/>
                      <a:pt x="588" y="81396"/>
                    </a:cubicBezTo>
                    <a:lnTo>
                      <a:pt x="37291" y="3513"/>
                    </a:lnTo>
                    <a:cubicBezTo>
                      <a:pt x="38729" y="457"/>
                      <a:pt x="42373" y="-854"/>
                      <a:pt x="45429" y="584"/>
                    </a:cubicBezTo>
                    <a:cubicBezTo>
                      <a:pt x="48486" y="2022"/>
                      <a:pt x="49797" y="5665"/>
                      <a:pt x="48359" y="8722"/>
                    </a:cubicBezTo>
                    <a:lnTo>
                      <a:pt x="11574" y="86279"/>
                    </a:lnTo>
                    <a:cubicBezTo>
                      <a:pt x="10710" y="88549"/>
                      <a:pt x="8550" y="90063"/>
                      <a:pt x="6122" y="90104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38" name="Freihandform 137">
                <a:extLst>
                  <a:ext uri="{FF2B5EF4-FFF2-40B4-BE49-F238E27FC236}">
                    <a16:creationId xmlns:a16="http://schemas.microsoft.com/office/drawing/2014/main" id="{2993C215-D9D1-164F-4D2E-3EF6EB0E0D92}"/>
                  </a:ext>
                </a:extLst>
              </p:cNvPr>
              <p:cNvSpPr/>
              <p:nvPr/>
            </p:nvSpPr>
            <p:spPr>
              <a:xfrm>
                <a:off x="4051039" y="4006786"/>
                <a:ext cx="49835" cy="94059"/>
              </a:xfrm>
              <a:custGeom>
                <a:avLst/>
                <a:gdLst>
                  <a:gd name="connsiteX0" fmla="*/ 43754 w 49835"/>
                  <a:gd name="connsiteY0" fmla="*/ 94059 h 94059"/>
                  <a:gd name="connsiteX1" fmla="*/ 38220 w 49835"/>
                  <a:gd name="connsiteY1" fmla="*/ 90478 h 94059"/>
                  <a:gd name="connsiteX2" fmla="*/ 784 w 49835"/>
                  <a:gd name="connsiteY2" fmla="*/ 9096 h 94059"/>
                  <a:gd name="connsiteX3" fmla="*/ 3113 w 49835"/>
                  <a:gd name="connsiteY3" fmla="*/ 784 h 94059"/>
                  <a:gd name="connsiteX4" fmla="*/ 11425 w 49835"/>
                  <a:gd name="connsiteY4" fmla="*/ 3114 h 94059"/>
                  <a:gd name="connsiteX5" fmla="*/ 11852 w 49835"/>
                  <a:gd name="connsiteY5" fmla="*/ 4050 h 94059"/>
                  <a:gd name="connsiteX6" fmla="*/ 49288 w 49835"/>
                  <a:gd name="connsiteY6" fmla="*/ 85433 h 94059"/>
                  <a:gd name="connsiteX7" fmla="*/ 46253 w 49835"/>
                  <a:gd name="connsiteY7" fmla="*/ 93513 h 94059"/>
                  <a:gd name="connsiteX8" fmla="*/ 43754 w 49835"/>
                  <a:gd name="connsiteY8" fmla="*/ 94059 h 94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835" h="94059">
                    <a:moveTo>
                      <a:pt x="43754" y="94059"/>
                    </a:moveTo>
                    <a:cubicBezTo>
                      <a:pt x="41368" y="94050"/>
                      <a:pt x="39206" y="92651"/>
                      <a:pt x="38220" y="90478"/>
                    </a:cubicBezTo>
                    <a:lnTo>
                      <a:pt x="784" y="9096"/>
                    </a:lnTo>
                    <a:cubicBezTo>
                      <a:pt x="-868" y="6157"/>
                      <a:pt x="175" y="2436"/>
                      <a:pt x="3113" y="784"/>
                    </a:cubicBezTo>
                    <a:cubicBezTo>
                      <a:pt x="6052" y="-868"/>
                      <a:pt x="9773" y="175"/>
                      <a:pt x="11425" y="3114"/>
                    </a:cubicBezTo>
                    <a:cubicBezTo>
                      <a:pt x="11593" y="3413"/>
                      <a:pt x="11737" y="3726"/>
                      <a:pt x="11852" y="4050"/>
                    </a:cubicBezTo>
                    <a:lnTo>
                      <a:pt x="49288" y="85433"/>
                    </a:lnTo>
                    <a:cubicBezTo>
                      <a:pt x="50681" y="88502"/>
                      <a:pt x="49322" y="92120"/>
                      <a:pt x="46253" y="93513"/>
                    </a:cubicBezTo>
                    <a:cubicBezTo>
                      <a:pt x="45468" y="93870"/>
                      <a:pt x="44616" y="94056"/>
                      <a:pt x="43754" y="94059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39" name="Freihandform 138">
                <a:extLst>
                  <a:ext uri="{FF2B5EF4-FFF2-40B4-BE49-F238E27FC236}">
                    <a16:creationId xmlns:a16="http://schemas.microsoft.com/office/drawing/2014/main" id="{4FA2C287-8CE0-13B4-4827-72AB190F12FB}"/>
                  </a:ext>
                </a:extLst>
              </p:cNvPr>
              <p:cNvSpPr/>
              <p:nvPr/>
            </p:nvSpPr>
            <p:spPr>
              <a:xfrm>
                <a:off x="3686823" y="4090346"/>
                <a:ext cx="72023" cy="52817"/>
              </a:xfrm>
              <a:custGeom>
                <a:avLst/>
                <a:gdLst>
                  <a:gd name="connsiteX0" fmla="*/ 65920 w 72023"/>
                  <a:gd name="connsiteY0" fmla="*/ 52817 h 52817"/>
                  <a:gd name="connsiteX1" fmla="*/ 26042 w 72023"/>
                  <a:gd name="connsiteY1" fmla="*/ 52817 h 52817"/>
                  <a:gd name="connsiteX2" fmla="*/ 0 w 72023"/>
                  <a:gd name="connsiteY2" fmla="*/ 26693 h 52817"/>
                  <a:gd name="connsiteX3" fmla="*/ 0 w 72023"/>
                  <a:gd name="connsiteY3" fmla="*/ 6104 h 52817"/>
                  <a:gd name="connsiteX4" fmla="*/ 6104 w 72023"/>
                  <a:gd name="connsiteY4" fmla="*/ 0 h 52817"/>
                  <a:gd name="connsiteX5" fmla="*/ 12207 w 72023"/>
                  <a:gd name="connsiteY5" fmla="*/ 6104 h 52817"/>
                  <a:gd name="connsiteX6" fmla="*/ 12207 w 72023"/>
                  <a:gd name="connsiteY6" fmla="*/ 26693 h 52817"/>
                  <a:gd name="connsiteX7" fmla="*/ 26042 w 72023"/>
                  <a:gd name="connsiteY7" fmla="*/ 40610 h 52817"/>
                  <a:gd name="connsiteX8" fmla="*/ 65920 w 72023"/>
                  <a:gd name="connsiteY8" fmla="*/ 40610 h 52817"/>
                  <a:gd name="connsiteX9" fmla="*/ 72023 w 72023"/>
                  <a:gd name="connsiteY9" fmla="*/ 46713 h 52817"/>
                  <a:gd name="connsiteX10" fmla="*/ 65920 w 72023"/>
                  <a:gd name="connsiteY10" fmla="*/ 52817 h 52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2023" h="52817">
                    <a:moveTo>
                      <a:pt x="65920" y="52817"/>
                    </a:moveTo>
                    <a:lnTo>
                      <a:pt x="26042" y="52817"/>
                    </a:lnTo>
                    <a:cubicBezTo>
                      <a:pt x="11646" y="52772"/>
                      <a:pt x="0" y="41089"/>
                      <a:pt x="0" y="26693"/>
                    </a:cubicBezTo>
                    <a:lnTo>
                      <a:pt x="0" y="6104"/>
                    </a:lnTo>
                    <a:cubicBezTo>
                      <a:pt x="0" y="2733"/>
                      <a:pt x="2733" y="0"/>
                      <a:pt x="6104" y="0"/>
                    </a:cubicBezTo>
                    <a:cubicBezTo>
                      <a:pt x="9475" y="0"/>
                      <a:pt x="12207" y="2733"/>
                      <a:pt x="12207" y="6104"/>
                    </a:cubicBezTo>
                    <a:lnTo>
                      <a:pt x="12207" y="26693"/>
                    </a:lnTo>
                    <a:cubicBezTo>
                      <a:pt x="12207" y="34347"/>
                      <a:pt x="18388" y="40565"/>
                      <a:pt x="26042" y="40610"/>
                    </a:cubicBezTo>
                    <a:lnTo>
                      <a:pt x="65920" y="40610"/>
                    </a:lnTo>
                    <a:cubicBezTo>
                      <a:pt x="69291" y="40610"/>
                      <a:pt x="72023" y="43343"/>
                      <a:pt x="72023" y="46713"/>
                    </a:cubicBezTo>
                    <a:cubicBezTo>
                      <a:pt x="72023" y="50084"/>
                      <a:pt x="69291" y="52817"/>
                      <a:pt x="65920" y="5281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40" name="Freihandform 139">
                <a:extLst>
                  <a:ext uri="{FF2B5EF4-FFF2-40B4-BE49-F238E27FC236}">
                    <a16:creationId xmlns:a16="http://schemas.microsoft.com/office/drawing/2014/main" id="{7782F9CF-C881-4FE5-9B38-BFD6F349DD09}"/>
                  </a:ext>
                </a:extLst>
              </p:cNvPr>
              <p:cNvSpPr/>
              <p:nvPr/>
            </p:nvSpPr>
            <p:spPr>
              <a:xfrm>
                <a:off x="3853982" y="4130956"/>
                <a:ext cx="78778" cy="12207"/>
              </a:xfrm>
              <a:custGeom>
                <a:avLst/>
                <a:gdLst>
                  <a:gd name="connsiteX0" fmla="*/ 72674 w 78778"/>
                  <a:gd name="connsiteY0" fmla="*/ 12207 h 12207"/>
                  <a:gd name="connsiteX1" fmla="*/ 6104 w 78778"/>
                  <a:gd name="connsiteY1" fmla="*/ 12207 h 12207"/>
                  <a:gd name="connsiteX2" fmla="*/ 0 w 78778"/>
                  <a:gd name="connsiteY2" fmla="*/ 6104 h 12207"/>
                  <a:gd name="connsiteX3" fmla="*/ 6104 w 78778"/>
                  <a:gd name="connsiteY3" fmla="*/ 0 h 12207"/>
                  <a:gd name="connsiteX4" fmla="*/ 72674 w 78778"/>
                  <a:gd name="connsiteY4" fmla="*/ 0 h 12207"/>
                  <a:gd name="connsiteX5" fmla="*/ 78778 w 78778"/>
                  <a:gd name="connsiteY5" fmla="*/ 6104 h 12207"/>
                  <a:gd name="connsiteX6" fmla="*/ 72674 w 78778"/>
                  <a:gd name="connsiteY6" fmla="*/ 12207 h 12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8778" h="12207">
                    <a:moveTo>
                      <a:pt x="72674" y="12207"/>
                    </a:moveTo>
                    <a:lnTo>
                      <a:pt x="6104" y="12207"/>
                    </a:lnTo>
                    <a:cubicBezTo>
                      <a:pt x="2733" y="12207"/>
                      <a:pt x="0" y="9475"/>
                      <a:pt x="0" y="6104"/>
                    </a:cubicBezTo>
                    <a:cubicBezTo>
                      <a:pt x="0" y="2733"/>
                      <a:pt x="2733" y="0"/>
                      <a:pt x="6104" y="0"/>
                    </a:cubicBezTo>
                    <a:lnTo>
                      <a:pt x="72674" y="0"/>
                    </a:lnTo>
                    <a:cubicBezTo>
                      <a:pt x="76045" y="0"/>
                      <a:pt x="78778" y="2733"/>
                      <a:pt x="78778" y="6104"/>
                    </a:cubicBezTo>
                    <a:cubicBezTo>
                      <a:pt x="78778" y="9475"/>
                      <a:pt x="76045" y="12207"/>
                      <a:pt x="72674" y="1220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41" name="Freihandform 140">
                <a:extLst>
                  <a:ext uri="{FF2B5EF4-FFF2-40B4-BE49-F238E27FC236}">
                    <a16:creationId xmlns:a16="http://schemas.microsoft.com/office/drawing/2014/main" id="{B2A62DF9-0670-C5E3-DCF7-C2C9A1513123}"/>
                  </a:ext>
                </a:extLst>
              </p:cNvPr>
              <p:cNvSpPr/>
              <p:nvPr/>
            </p:nvSpPr>
            <p:spPr>
              <a:xfrm>
                <a:off x="4028792" y="4090346"/>
                <a:ext cx="72837" cy="52817"/>
              </a:xfrm>
              <a:custGeom>
                <a:avLst/>
                <a:gdLst>
                  <a:gd name="connsiteX0" fmla="*/ 46795 w 72837"/>
                  <a:gd name="connsiteY0" fmla="*/ 52817 h 52817"/>
                  <a:gd name="connsiteX1" fmla="*/ 6104 w 72837"/>
                  <a:gd name="connsiteY1" fmla="*/ 52817 h 52817"/>
                  <a:gd name="connsiteX2" fmla="*/ 0 w 72837"/>
                  <a:gd name="connsiteY2" fmla="*/ 46713 h 52817"/>
                  <a:gd name="connsiteX3" fmla="*/ 6104 w 72837"/>
                  <a:gd name="connsiteY3" fmla="*/ 40610 h 52817"/>
                  <a:gd name="connsiteX4" fmla="*/ 46795 w 72837"/>
                  <a:gd name="connsiteY4" fmla="*/ 40610 h 52817"/>
                  <a:gd name="connsiteX5" fmla="*/ 60630 w 72837"/>
                  <a:gd name="connsiteY5" fmla="*/ 26693 h 52817"/>
                  <a:gd name="connsiteX6" fmla="*/ 60630 w 72837"/>
                  <a:gd name="connsiteY6" fmla="*/ 6104 h 52817"/>
                  <a:gd name="connsiteX7" fmla="*/ 66734 w 72837"/>
                  <a:gd name="connsiteY7" fmla="*/ 0 h 52817"/>
                  <a:gd name="connsiteX8" fmla="*/ 72837 w 72837"/>
                  <a:gd name="connsiteY8" fmla="*/ 6104 h 52817"/>
                  <a:gd name="connsiteX9" fmla="*/ 72837 w 72837"/>
                  <a:gd name="connsiteY9" fmla="*/ 26693 h 52817"/>
                  <a:gd name="connsiteX10" fmla="*/ 46795 w 72837"/>
                  <a:gd name="connsiteY10" fmla="*/ 52817 h 52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2837" h="52817">
                    <a:moveTo>
                      <a:pt x="46795" y="52817"/>
                    </a:moveTo>
                    <a:lnTo>
                      <a:pt x="6104" y="52817"/>
                    </a:lnTo>
                    <a:cubicBezTo>
                      <a:pt x="2733" y="52817"/>
                      <a:pt x="0" y="50084"/>
                      <a:pt x="0" y="46713"/>
                    </a:cubicBezTo>
                    <a:cubicBezTo>
                      <a:pt x="0" y="43343"/>
                      <a:pt x="2733" y="40610"/>
                      <a:pt x="6104" y="40610"/>
                    </a:cubicBezTo>
                    <a:lnTo>
                      <a:pt x="46795" y="40610"/>
                    </a:lnTo>
                    <a:cubicBezTo>
                      <a:pt x="54449" y="40565"/>
                      <a:pt x="60630" y="34347"/>
                      <a:pt x="60630" y="26693"/>
                    </a:cubicBezTo>
                    <a:lnTo>
                      <a:pt x="60630" y="6104"/>
                    </a:lnTo>
                    <a:cubicBezTo>
                      <a:pt x="60630" y="2733"/>
                      <a:pt x="63363" y="0"/>
                      <a:pt x="66734" y="0"/>
                    </a:cubicBezTo>
                    <a:cubicBezTo>
                      <a:pt x="70104" y="0"/>
                      <a:pt x="72837" y="2733"/>
                      <a:pt x="72837" y="6104"/>
                    </a:cubicBezTo>
                    <a:lnTo>
                      <a:pt x="72837" y="26693"/>
                    </a:lnTo>
                    <a:cubicBezTo>
                      <a:pt x="72837" y="41089"/>
                      <a:pt x="61191" y="52772"/>
                      <a:pt x="46795" y="5281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42" name="Freihandform 141">
                <a:extLst>
                  <a:ext uri="{FF2B5EF4-FFF2-40B4-BE49-F238E27FC236}">
                    <a16:creationId xmlns:a16="http://schemas.microsoft.com/office/drawing/2014/main" id="{B659410B-9A51-CE75-9502-DB17784F22A9}"/>
                  </a:ext>
                </a:extLst>
              </p:cNvPr>
              <p:cNvSpPr/>
              <p:nvPr/>
            </p:nvSpPr>
            <p:spPr>
              <a:xfrm>
                <a:off x="3748348" y="4033867"/>
                <a:ext cx="16032" cy="15381"/>
              </a:xfrm>
              <a:custGeom>
                <a:avLst/>
                <a:gdLst>
                  <a:gd name="connsiteX0" fmla="*/ 0 w 16032"/>
                  <a:gd name="connsiteY0" fmla="*/ 0 h 15381"/>
                  <a:gd name="connsiteX1" fmla="*/ 16032 w 16032"/>
                  <a:gd name="connsiteY1" fmla="*/ 0 h 15381"/>
                  <a:gd name="connsiteX2" fmla="*/ 16032 w 16032"/>
                  <a:gd name="connsiteY2" fmla="*/ 15381 h 15381"/>
                  <a:gd name="connsiteX3" fmla="*/ 0 w 16032"/>
                  <a:gd name="connsiteY3" fmla="*/ 15381 h 1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32" h="15381">
                    <a:moveTo>
                      <a:pt x="0" y="0"/>
                    </a:moveTo>
                    <a:lnTo>
                      <a:pt x="16032" y="0"/>
                    </a:lnTo>
                    <a:lnTo>
                      <a:pt x="16032" y="15381"/>
                    </a:lnTo>
                    <a:lnTo>
                      <a:pt x="0" y="15381"/>
                    </a:ln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43" name="Freihandform 142">
                <a:extLst>
                  <a:ext uri="{FF2B5EF4-FFF2-40B4-BE49-F238E27FC236}">
                    <a16:creationId xmlns:a16="http://schemas.microsoft.com/office/drawing/2014/main" id="{BABE41EC-5F03-5555-FA5D-9A166EA085A2}"/>
                  </a:ext>
                </a:extLst>
              </p:cNvPr>
              <p:cNvSpPr/>
              <p:nvPr/>
            </p:nvSpPr>
            <p:spPr>
              <a:xfrm>
                <a:off x="3857970" y="4033867"/>
                <a:ext cx="16032" cy="15381"/>
              </a:xfrm>
              <a:custGeom>
                <a:avLst/>
                <a:gdLst>
                  <a:gd name="connsiteX0" fmla="*/ 0 w 16032"/>
                  <a:gd name="connsiteY0" fmla="*/ 0 h 15381"/>
                  <a:gd name="connsiteX1" fmla="*/ 16032 w 16032"/>
                  <a:gd name="connsiteY1" fmla="*/ 0 h 15381"/>
                  <a:gd name="connsiteX2" fmla="*/ 16032 w 16032"/>
                  <a:gd name="connsiteY2" fmla="*/ 15381 h 15381"/>
                  <a:gd name="connsiteX3" fmla="*/ 0 w 16032"/>
                  <a:gd name="connsiteY3" fmla="*/ 15381 h 1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32" h="15381">
                    <a:moveTo>
                      <a:pt x="0" y="0"/>
                    </a:moveTo>
                    <a:lnTo>
                      <a:pt x="16032" y="0"/>
                    </a:lnTo>
                    <a:lnTo>
                      <a:pt x="16032" y="15381"/>
                    </a:lnTo>
                    <a:lnTo>
                      <a:pt x="0" y="15381"/>
                    </a:ln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44" name="Freihandform 143">
                <a:extLst>
                  <a:ext uri="{FF2B5EF4-FFF2-40B4-BE49-F238E27FC236}">
                    <a16:creationId xmlns:a16="http://schemas.microsoft.com/office/drawing/2014/main" id="{2E817494-EDE6-373F-250A-3FCD95FF9CFB}"/>
                  </a:ext>
                </a:extLst>
              </p:cNvPr>
              <p:cNvSpPr/>
              <p:nvPr/>
            </p:nvSpPr>
            <p:spPr>
              <a:xfrm>
                <a:off x="3887431" y="4033867"/>
                <a:ext cx="16032" cy="15381"/>
              </a:xfrm>
              <a:custGeom>
                <a:avLst/>
                <a:gdLst>
                  <a:gd name="connsiteX0" fmla="*/ 0 w 16032"/>
                  <a:gd name="connsiteY0" fmla="*/ 0 h 15381"/>
                  <a:gd name="connsiteX1" fmla="*/ 16032 w 16032"/>
                  <a:gd name="connsiteY1" fmla="*/ 0 h 15381"/>
                  <a:gd name="connsiteX2" fmla="*/ 16032 w 16032"/>
                  <a:gd name="connsiteY2" fmla="*/ 15381 h 15381"/>
                  <a:gd name="connsiteX3" fmla="*/ 0 w 16032"/>
                  <a:gd name="connsiteY3" fmla="*/ 15381 h 1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32" h="15381">
                    <a:moveTo>
                      <a:pt x="0" y="0"/>
                    </a:moveTo>
                    <a:lnTo>
                      <a:pt x="16032" y="0"/>
                    </a:lnTo>
                    <a:lnTo>
                      <a:pt x="16032" y="15381"/>
                    </a:lnTo>
                    <a:lnTo>
                      <a:pt x="0" y="15381"/>
                    </a:ln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45" name="Freihandform 144">
                <a:extLst>
                  <a:ext uri="{FF2B5EF4-FFF2-40B4-BE49-F238E27FC236}">
                    <a16:creationId xmlns:a16="http://schemas.microsoft.com/office/drawing/2014/main" id="{7C5E06FB-5E1A-A453-865B-5ED4F4431C07}"/>
                  </a:ext>
                </a:extLst>
              </p:cNvPr>
              <p:cNvSpPr/>
              <p:nvPr/>
            </p:nvSpPr>
            <p:spPr>
              <a:xfrm>
                <a:off x="3887431" y="4061212"/>
                <a:ext cx="16032" cy="15381"/>
              </a:xfrm>
              <a:custGeom>
                <a:avLst/>
                <a:gdLst>
                  <a:gd name="connsiteX0" fmla="*/ 0 w 16032"/>
                  <a:gd name="connsiteY0" fmla="*/ 0 h 15381"/>
                  <a:gd name="connsiteX1" fmla="*/ 16032 w 16032"/>
                  <a:gd name="connsiteY1" fmla="*/ 0 h 15381"/>
                  <a:gd name="connsiteX2" fmla="*/ 16032 w 16032"/>
                  <a:gd name="connsiteY2" fmla="*/ 15381 h 15381"/>
                  <a:gd name="connsiteX3" fmla="*/ 0 w 16032"/>
                  <a:gd name="connsiteY3" fmla="*/ 15381 h 1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32" h="15381">
                    <a:moveTo>
                      <a:pt x="0" y="0"/>
                    </a:moveTo>
                    <a:lnTo>
                      <a:pt x="16032" y="0"/>
                    </a:lnTo>
                    <a:lnTo>
                      <a:pt x="16032" y="15381"/>
                    </a:lnTo>
                    <a:lnTo>
                      <a:pt x="0" y="15381"/>
                    </a:ln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46" name="Freihandform 145">
                <a:extLst>
                  <a:ext uri="{FF2B5EF4-FFF2-40B4-BE49-F238E27FC236}">
                    <a16:creationId xmlns:a16="http://schemas.microsoft.com/office/drawing/2014/main" id="{F9A72229-FC53-C078-3547-560662A8CD82}"/>
                  </a:ext>
                </a:extLst>
              </p:cNvPr>
              <p:cNvSpPr/>
              <p:nvPr/>
            </p:nvSpPr>
            <p:spPr>
              <a:xfrm>
                <a:off x="3914205" y="4033867"/>
                <a:ext cx="16032" cy="15381"/>
              </a:xfrm>
              <a:custGeom>
                <a:avLst/>
                <a:gdLst>
                  <a:gd name="connsiteX0" fmla="*/ 0 w 16032"/>
                  <a:gd name="connsiteY0" fmla="*/ 0 h 15381"/>
                  <a:gd name="connsiteX1" fmla="*/ 16032 w 16032"/>
                  <a:gd name="connsiteY1" fmla="*/ 0 h 15381"/>
                  <a:gd name="connsiteX2" fmla="*/ 16032 w 16032"/>
                  <a:gd name="connsiteY2" fmla="*/ 15381 h 15381"/>
                  <a:gd name="connsiteX3" fmla="*/ 0 w 16032"/>
                  <a:gd name="connsiteY3" fmla="*/ 15381 h 1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32" h="15381">
                    <a:moveTo>
                      <a:pt x="0" y="0"/>
                    </a:moveTo>
                    <a:lnTo>
                      <a:pt x="16032" y="0"/>
                    </a:lnTo>
                    <a:lnTo>
                      <a:pt x="16032" y="15381"/>
                    </a:lnTo>
                    <a:lnTo>
                      <a:pt x="0" y="15381"/>
                    </a:ln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47" name="Freihandform 146">
                <a:extLst>
                  <a:ext uri="{FF2B5EF4-FFF2-40B4-BE49-F238E27FC236}">
                    <a16:creationId xmlns:a16="http://schemas.microsoft.com/office/drawing/2014/main" id="{D38DF9BD-9A7F-004B-4B24-8F4E09D6E0B3}"/>
                  </a:ext>
                </a:extLst>
              </p:cNvPr>
              <p:cNvSpPr/>
              <p:nvPr/>
            </p:nvSpPr>
            <p:spPr>
              <a:xfrm>
                <a:off x="4026350" y="4033867"/>
                <a:ext cx="16032" cy="15381"/>
              </a:xfrm>
              <a:custGeom>
                <a:avLst/>
                <a:gdLst>
                  <a:gd name="connsiteX0" fmla="*/ 0 w 16032"/>
                  <a:gd name="connsiteY0" fmla="*/ 0 h 15381"/>
                  <a:gd name="connsiteX1" fmla="*/ 16032 w 16032"/>
                  <a:gd name="connsiteY1" fmla="*/ 0 h 15381"/>
                  <a:gd name="connsiteX2" fmla="*/ 16032 w 16032"/>
                  <a:gd name="connsiteY2" fmla="*/ 15381 h 15381"/>
                  <a:gd name="connsiteX3" fmla="*/ 0 w 16032"/>
                  <a:gd name="connsiteY3" fmla="*/ 15381 h 1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32" h="15381">
                    <a:moveTo>
                      <a:pt x="0" y="0"/>
                    </a:moveTo>
                    <a:lnTo>
                      <a:pt x="16032" y="0"/>
                    </a:lnTo>
                    <a:lnTo>
                      <a:pt x="16032" y="15381"/>
                    </a:lnTo>
                    <a:lnTo>
                      <a:pt x="0" y="15381"/>
                    </a:ln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48" name="Freihandform 147">
                <a:extLst>
                  <a:ext uri="{FF2B5EF4-FFF2-40B4-BE49-F238E27FC236}">
                    <a16:creationId xmlns:a16="http://schemas.microsoft.com/office/drawing/2014/main" id="{4C7EBC6C-49A5-6149-FFE1-99E222DA057D}"/>
                  </a:ext>
                </a:extLst>
              </p:cNvPr>
              <p:cNvSpPr/>
              <p:nvPr/>
            </p:nvSpPr>
            <p:spPr>
              <a:xfrm>
                <a:off x="3746881" y="4072361"/>
                <a:ext cx="33368" cy="100995"/>
              </a:xfrm>
              <a:custGeom>
                <a:avLst/>
                <a:gdLst>
                  <a:gd name="connsiteX0" fmla="*/ 6106 w 33368"/>
                  <a:gd name="connsiteY0" fmla="*/ 100996 h 100995"/>
                  <a:gd name="connsiteX1" fmla="*/ 1 w 33368"/>
                  <a:gd name="connsiteY1" fmla="*/ 94732 h 100995"/>
                  <a:gd name="connsiteX2" fmla="*/ 2 w 33368"/>
                  <a:gd name="connsiteY2" fmla="*/ 94648 h 100995"/>
                  <a:gd name="connsiteX3" fmla="*/ 2 w 33368"/>
                  <a:gd name="connsiteY3" fmla="*/ 16683 h 100995"/>
                  <a:gd name="connsiteX4" fmla="*/ 16686 w 33368"/>
                  <a:gd name="connsiteY4" fmla="*/ 0 h 100995"/>
                  <a:gd name="connsiteX5" fmla="*/ 33369 w 33368"/>
                  <a:gd name="connsiteY5" fmla="*/ 16683 h 100995"/>
                  <a:gd name="connsiteX6" fmla="*/ 27265 w 33368"/>
                  <a:gd name="connsiteY6" fmla="*/ 22787 h 100995"/>
                  <a:gd name="connsiteX7" fmla="*/ 21162 w 33368"/>
                  <a:gd name="connsiteY7" fmla="*/ 16683 h 100995"/>
                  <a:gd name="connsiteX8" fmla="*/ 16686 w 33368"/>
                  <a:gd name="connsiteY8" fmla="*/ 12207 h 100995"/>
                  <a:gd name="connsiteX9" fmla="*/ 12210 w 33368"/>
                  <a:gd name="connsiteY9" fmla="*/ 16683 h 100995"/>
                  <a:gd name="connsiteX10" fmla="*/ 12210 w 33368"/>
                  <a:gd name="connsiteY10" fmla="*/ 94648 h 100995"/>
                  <a:gd name="connsiteX11" fmla="*/ 6355 w 33368"/>
                  <a:gd name="connsiteY11" fmla="*/ 100991 h 100995"/>
                  <a:gd name="connsiteX12" fmla="*/ 6106 w 33368"/>
                  <a:gd name="connsiteY12" fmla="*/ 100996 h 100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368" h="100995">
                    <a:moveTo>
                      <a:pt x="6106" y="100996"/>
                    </a:moveTo>
                    <a:cubicBezTo>
                      <a:pt x="2690" y="100952"/>
                      <a:pt x="-43" y="98147"/>
                      <a:pt x="1" y="94732"/>
                    </a:cubicBezTo>
                    <a:cubicBezTo>
                      <a:pt x="1" y="94704"/>
                      <a:pt x="1" y="94675"/>
                      <a:pt x="2" y="94648"/>
                    </a:cubicBezTo>
                    <a:lnTo>
                      <a:pt x="2" y="16683"/>
                    </a:lnTo>
                    <a:cubicBezTo>
                      <a:pt x="2" y="7469"/>
                      <a:pt x="7472" y="0"/>
                      <a:pt x="16686" y="0"/>
                    </a:cubicBezTo>
                    <a:cubicBezTo>
                      <a:pt x="25900" y="0"/>
                      <a:pt x="33369" y="7469"/>
                      <a:pt x="33369" y="16683"/>
                    </a:cubicBezTo>
                    <a:cubicBezTo>
                      <a:pt x="33369" y="20054"/>
                      <a:pt x="30636" y="22787"/>
                      <a:pt x="27265" y="22787"/>
                    </a:cubicBezTo>
                    <a:cubicBezTo>
                      <a:pt x="23894" y="22787"/>
                      <a:pt x="21162" y="20054"/>
                      <a:pt x="21162" y="16683"/>
                    </a:cubicBezTo>
                    <a:cubicBezTo>
                      <a:pt x="21162" y="14211"/>
                      <a:pt x="19158" y="12207"/>
                      <a:pt x="16686" y="12207"/>
                    </a:cubicBezTo>
                    <a:cubicBezTo>
                      <a:pt x="14213" y="12207"/>
                      <a:pt x="12210" y="14211"/>
                      <a:pt x="12210" y="16683"/>
                    </a:cubicBezTo>
                    <a:lnTo>
                      <a:pt x="12210" y="94648"/>
                    </a:lnTo>
                    <a:cubicBezTo>
                      <a:pt x="12344" y="98016"/>
                      <a:pt x="9723" y="100856"/>
                      <a:pt x="6355" y="100991"/>
                    </a:cubicBezTo>
                    <a:cubicBezTo>
                      <a:pt x="6272" y="100994"/>
                      <a:pt x="6189" y="100996"/>
                      <a:pt x="6106" y="100996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49" name="Freihandform 148">
                <a:extLst>
                  <a:ext uri="{FF2B5EF4-FFF2-40B4-BE49-F238E27FC236}">
                    <a16:creationId xmlns:a16="http://schemas.microsoft.com/office/drawing/2014/main" id="{B13A8E21-C5BD-2177-6DE2-2D6211806E77}"/>
                  </a:ext>
                </a:extLst>
              </p:cNvPr>
              <p:cNvSpPr/>
              <p:nvPr/>
            </p:nvSpPr>
            <p:spPr>
              <a:xfrm>
                <a:off x="3768205" y="4044528"/>
                <a:ext cx="33366" cy="71616"/>
              </a:xfrm>
              <a:custGeom>
                <a:avLst/>
                <a:gdLst>
                  <a:gd name="connsiteX0" fmla="*/ 6104 w 33366"/>
                  <a:gd name="connsiteY0" fmla="*/ 71616 h 71616"/>
                  <a:gd name="connsiteX1" fmla="*/ 0 w 33366"/>
                  <a:gd name="connsiteY1" fmla="*/ 65513 h 71616"/>
                  <a:gd name="connsiteX2" fmla="*/ 0 w 33366"/>
                  <a:gd name="connsiteY2" fmla="*/ 16683 h 71616"/>
                  <a:gd name="connsiteX3" fmla="*/ 16683 w 33366"/>
                  <a:gd name="connsiteY3" fmla="*/ 0 h 71616"/>
                  <a:gd name="connsiteX4" fmla="*/ 33367 w 33366"/>
                  <a:gd name="connsiteY4" fmla="*/ 16683 h 71616"/>
                  <a:gd name="connsiteX5" fmla="*/ 27263 w 33366"/>
                  <a:gd name="connsiteY5" fmla="*/ 22787 h 71616"/>
                  <a:gd name="connsiteX6" fmla="*/ 21159 w 33366"/>
                  <a:gd name="connsiteY6" fmla="*/ 16683 h 71616"/>
                  <a:gd name="connsiteX7" fmla="*/ 16683 w 33366"/>
                  <a:gd name="connsiteY7" fmla="*/ 12207 h 71616"/>
                  <a:gd name="connsiteX8" fmla="*/ 12207 w 33366"/>
                  <a:gd name="connsiteY8" fmla="*/ 16683 h 71616"/>
                  <a:gd name="connsiteX9" fmla="*/ 12207 w 33366"/>
                  <a:gd name="connsiteY9" fmla="*/ 65513 h 71616"/>
                  <a:gd name="connsiteX10" fmla="*/ 6104 w 33366"/>
                  <a:gd name="connsiteY10" fmla="*/ 71616 h 71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366" h="71616">
                    <a:moveTo>
                      <a:pt x="6104" y="71616"/>
                    </a:moveTo>
                    <a:cubicBezTo>
                      <a:pt x="2733" y="71616"/>
                      <a:pt x="0" y="68884"/>
                      <a:pt x="0" y="65513"/>
                    </a:cubicBezTo>
                    <a:lnTo>
                      <a:pt x="0" y="16683"/>
                    </a:lnTo>
                    <a:cubicBezTo>
                      <a:pt x="0" y="7469"/>
                      <a:pt x="7469" y="0"/>
                      <a:pt x="16683" y="0"/>
                    </a:cubicBezTo>
                    <a:cubicBezTo>
                      <a:pt x="25897" y="0"/>
                      <a:pt x="33367" y="7469"/>
                      <a:pt x="33367" y="16683"/>
                    </a:cubicBezTo>
                    <a:cubicBezTo>
                      <a:pt x="33367" y="20054"/>
                      <a:pt x="30634" y="22787"/>
                      <a:pt x="27263" y="22787"/>
                    </a:cubicBezTo>
                    <a:cubicBezTo>
                      <a:pt x="23892" y="22787"/>
                      <a:pt x="21159" y="20054"/>
                      <a:pt x="21159" y="16683"/>
                    </a:cubicBezTo>
                    <a:cubicBezTo>
                      <a:pt x="21159" y="14211"/>
                      <a:pt x="19156" y="12207"/>
                      <a:pt x="16683" y="12207"/>
                    </a:cubicBezTo>
                    <a:cubicBezTo>
                      <a:pt x="14211" y="12207"/>
                      <a:pt x="12207" y="14211"/>
                      <a:pt x="12207" y="16683"/>
                    </a:cubicBezTo>
                    <a:lnTo>
                      <a:pt x="12207" y="65513"/>
                    </a:lnTo>
                    <a:cubicBezTo>
                      <a:pt x="12163" y="68866"/>
                      <a:pt x="9457" y="71573"/>
                      <a:pt x="6104" y="71616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50" name="Freihandform 149">
                <a:extLst>
                  <a:ext uri="{FF2B5EF4-FFF2-40B4-BE49-F238E27FC236}">
                    <a16:creationId xmlns:a16="http://schemas.microsoft.com/office/drawing/2014/main" id="{CD2D4F1A-5DE7-6379-D1BB-621687906FB3}"/>
                  </a:ext>
                </a:extLst>
              </p:cNvPr>
              <p:cNvSpPr/>
              <p:nvPr/>
            </p:nvSpPr>
            <p:spPr>
              <a:xfrm>
                <a:off x="3789365" y="4035088"/>
                <a:ext cx="33366" cy="81056"/>
              </a:xfrm>
              <a:custGeom>
                <a:avLst/>
                <a:gdLst>
                  <a:gd name="connsiteX0" fmla="*/ 27263 w 33366"/>
                  <a:gd name="connsiteY0" fmla="*/ 81057 h 81056"/>
                  <a:gd name="connsiteX1" fmla="*/ 21159 w 33366"/>
                  <a:gd name="connsiteY1" fmla="*/ 74953 h 81056"/>
                  <a:gd name="connsiteX2" fmla="*/ 21159 w 33366"/>
                  <a:gd name="connsiteY2" fmla="*/ 16683 h 81056"/>
                  <a:gd name="connsiteX3" fmla="*/ 16683 w 33366"/>
                  <a:gd name="connsiteY3" fmla="*/ 12207 h 81056"/>
                  <a:gd name="connsiteX4" fmla="*/ 12207 w 33366"/>
                  <a:gd name="connsiteY4" fmla="*/ 16683 h 81056"/>
                  <a:gd name="connsiteX5" fmla="*/ 12207 w 33366"/>
                  <a:gd name="connsiteY5" fmla="*/ 74953 h 81056"/>
                  <a:gd name="connsiteX6" fmla="*/ 6104 w 33366"/>
                  <a:gd name="connsiteY6" fmla="*/ 81057 h 81056"/>
                  <a:gd name="connsiteX7" fmla="*/ 0 w 33366"/>
                  <a:gd name="connsiteY7" fmla="*/ 74953 h 81056"/>
                  <a:gd name="connsiteX8" fmla="*/ 0 w 33366"/>
                  <a:gd name="connsiteY8" fmla="*/ 16683 h 81056"/>
                  <a:gd name="connsiteX9" fmla="*/ 16683 w 33366"/>
                  <a:gd name="connsiteY9" fmla="*/ 0 h 81056"/>
                  <a:gd name="connsiteX10" fmla="*/ 33367 w 33366"/>
                  <a:gd name="connsiteY10" fmla="*/ 16683 h 81056"/>
                  <a:gd name="connsiteX11" fmla="*/ 33367 w 33366"/>
                  <a:gd name="connsiteY11" fmla="*/ 74953 h 81056"/>
                  <a:gd name="connsiteX12" fmla="*/ 27263 w 33366"/>
                  <a:gd name="connsiteY12" fmla="*/ 81057 h 81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366" h="81056">
                    <a:moveTo>
                      <a:pt x="27263" y="81057"/>
                    </a:moveTo>
                    <a:cubicBezTo>
                      <a:pt x="23910" y="81013"/>
                      <a:pt x="21203" y="78306"/>
                      <a:pt x="21159" y="74953"/>
                    </a:cubicBezTo>
                    <a:lnTo>
                      <a:pt x="21159" y="16683"/>
                    </a:lnTo>
                    <a:cubicBezTo>
                      <a:pt x="21159" y="14211"/>
                      <a:pt x="19156" y="12207"/>
                      <a:pt x="16683" y="12207"/>
                    </a:cubicBezTo>
                    <a:cubicBezTo>
                      <a:pt x="14211" y="12207"/>
                      <a:pt x="12207" y="14211"/>
                      <a:pt x="12207" y="16683"/>
                    </a:cubicBezTo>
                    <a:lnTo>
                      <a:pt x="12207" y="74953"/>
                    </a:lnTo>
                    <a:cubicBezTo>
                      <a:pt x="12207" y="78324"/>
                      <a:pt x="9475" y="81057"/>
                      <a:pt x="6104" y="81057"/>
                    </a:cubicBezTo>
                    <a:cubicBezTo>
                      <a:pt x="2733" y="81057"/>
                      <a:pt x="0" y="78324"/>
                      <a:pt x="0" y="74953"/>
                    </a:cubicBezTo>
                    <a:lnTo>
                      <a:pt x="0" y="16683"/>
                    </a:lnTo>
                    <a:cubicBezTo>
                      <a:pt x="0" y="7469"/>
                      <a:pt x="7469" y="0"/>
                      <a:pt x="16683" y="0"/>
                    </a:cubicBezTo>
                    <a:cubicBezTo>
                      <a:pt x="25897" y="0"/>
                      <a:pt x="33367" y="7469"/>
                      <a:pt x="33367" y="16683"/>
                    </a:cubicBezTo>
                    <a:lnTo>
                      <a:pt x="33367" y="74953"/>
                    </a:lnTo>
                    <a:cubicBezTo>
                      <a:pt x="33323" y="78306"/>
                      <a:pt x="30616" y="81013"/>
                      <a:pt x="27263" y="8105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51" name="Freihandform 150">
                <a:extLst>
                  <a:ext uri="{FF2B5EF4-FFF2-40B4-BE49-F238E27FC236}">
                    <a16:creationId xmlns:a16="http://schemas.microsoft.com/office/drawing/2014/main" id="{327BBC9E-F21A-0B40-9238-BC0AA5ACDB24}"/>
                  </a:ext>
                </a:extLst>
              </p:cNvPr>
              <p:cNvSpPr/>
              <p:nvPr/>
            </p:nvSpPr>
            <p:spPr>
              <a:xfrm>
                <a:off x="3810606" y="4046156"/>
                <a:ext cx="33366" cy="84067"/>
              </a:xfrm>
              <a:custGeom>
                <a:avLst/>
                <a:gdLst>
                  <a:gd name="connsiteX0" fmla="*/ 27263 w 33366"/>
                  <a:gd name="connsiteY0" fmla="*/ 84068 h 84067"/>
                  <a:gd name="connsiteX1" fmla="*/ 21159 w 33366"/>
                  <a:gd name="connsiteY1" fmla="*/ 77964 h 84067"/>
                  <a:gd name="connsiteX2" fmla="*/ 21159 w 33366"/>
                  <a:gd name="connsiteY2" fmla="*/ 16683 h 84067"/>
                  <a:gd name="connsiteX3" fmla="*/ 16683 w 33366"/>
                  <a:gd name="connsiteY3" fmla="*/ 12207 h 84067"/>
                  <a:gd name="connsiteX4" fmla="*/ 12207 w 33366"/>
                  <a:gd name="connsiteY4" fmla="*/ 16683 h 84067"/>
                  <a:gd name="connsiteX5" fmla="*/ 12207 w 33366"/>
                  <a:gd name="connsiteY5" fmla="*/ 63885 h 84067"/>
                  <a:gd name="connsiteX6" fmla="*/ 6104 w 33366"/>
                  <a:gd name="connsiteY6" fmla="*/ 69989 h 84067"/>
                  <a:gd name="connsiteX7" fmla="*/ 0 w 33366"/>
                  <a:gd name="connsiteY7" fmla="*/ 63885 h 84067"/>
                  <a:gd name="connsiteX8" fmla="*/ 0 w 33366"/>
                  <a:gd name="connsiteY8" fmla="*/ 16683 h 84067"/>
                  <a:gd name="connsiteX9" fmla="*/ 16683 w 33366"/>
                  <a:gd name="connsiteY9" fmla="*/ 0 h 84067"/>
                  <a:gd name="connsiteX10" fmla="*/ 33367 w 33366"/>
                  <a:gd name="connsiteY10" fmla="*/ 16683 h 84067"/>
                  <a:gd name="connsiteX11" fmla="*/ 33367 w 33366"/>
                  <a:gd name="connsiteY11" fmla="*/ 77964 h 84067"/>
                  <a:gd name="connsiteX12" fmla="*/ 27263 w 33366"/>
                  <a:gd name="connsiteY12" fmla="*/ 84068 h 84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366" h="84067">
                    <a:moveTo>
                      <a:pt x="27263" y="84068"/>
                    </a:moveTo>
                    <a:cubicBezTo>
                      <a:pt x="23910" y="84024"/>
                      <a:pt x="21203" y="81317"/>
                      <a:pt x="21159" y="77964"/>
                    </a:cubicBezTo>
                    <a:lnTo>
                      <a:pt x="21159" y="16683"/>
                    </a:lnTo>
                    <a:cubicBezTo>
                      <a:pt x="21159" y="14211"/>
                      <a:pt x="19156" y="12207"/>
                      <a:pt x="16683" y="12207"/>
                    </a:cubicBezTo>
                    <a:cubicBezTo>
                      <a:pt x="14211" y="12207"/>
                      <a:pt x="12207" y="14211"/>
                      <a:pt x="12207" y="16683"/>
                    </a:cubicBezTo>
                    <a:lnTo>
                      <a:pt x="12207" y="63885"/>
                    </a:lnTo>
                    <a:cubicBezTo>
                      <a:pt x="12207" y="67256"/>
                      <a:pt x="9475" y="69989"/>
                      <a:pt x="6104" y="69989"/>
                    </a:cubicBezTo>
                    <a:cubicBezTo>
                      <a:pt x="2733" y="69989"/>
                      <a:pt x="0" y="67256"/>
                      <a:pt x="0" y="63885"/>
                    </a:cubicBezTo>
                    <a:lnTo>
                      <a:pt x="0" y="16683"/>
                    </a:lnTo>
                    <a:cubicBezTo>
                      <a:pt x="0" y="7469"/>
                      <a:pt x="7469" y="0"/>
                      <a:pt x="16683" y="0"/>
                    </a:cubicBezTo>
                    <a:cubicBezTo>
                      <a:pt x="25897" y="0"/>
                      <a:pt x="33367" y="7469"/>
                      <a:pt x="33367" y="16683"/>
                    </a:cubicBezTo>
                    <a:lnTo>
                      <a:pt x="33367" y="77964"/>
                    </a:lnTo>
                    <a:cubicBezTo>
                      <a:pt x="33323" y="81317"/>
                      <a:pt x="30616" y="84024"/>
                      <a:pt x="27263" y="84068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52" name="Freihandform 151">
                <a:extLst>
                  <a:ext uri="{FF2B5EF4-FFF2-40B4-BE49-F238E27FC236}">
                    <a16:creationId xmlns:a16="http://schemas.microsoft.com/office/drawing/2014/main" id="{3A5E3C79-6532-9DC2-D90D-25905C8F3A88}"/>
                  </a:ext>
                </a:extLst>
              </p:cNvPr>
              <p:cNvSpPr/>
              <p:nvPr/>
            </p:nvSpPr>
            <p:spPr>
              <a:xfrm>
                <a:off x="3765683" y="4080336"/>
                <a:ext cx="99774" cy="119225"/>
              </a:xfrm>
              <a:custGeom>
                <a:avLst/>
                <a:gdLst>
                  <a:gd name="connsiteX0" fmla="*/ 66082 w 99774"/>
                  <a:gd name="connsiteY0" fmla="*/ 119225 h 119225"/>
                  <a:gd name="connsiteX1" fmla="*/ 6104 w 99774"/>
                  <a:gd name="connsiteY1" fmla="*/ 119225 h 119225"/>
                  <a:gd name="connsiteX2" fmla="*/ 0 w 99774"/>
                  <a:gd name="connsiteY2" fmla="*/ 113121 h 119225"/>
                  <a:gd name="connsiteX3" fmla="*/ 6104 w 99774"/>
                  <a:gd name="connsiteY3" fmla="*/ 107018 h 119225"/>
                  <a:gd name="connsiteX4" fmla="*/ 61444 w 99774"/>
                  <a:gd name="connsiteY4" fmla="*/ 107018 h 119225"/>
                  <a:gd name="connsiteX5" fmla="*/ 87567 w 99774"/>
                  <a:gd name="connsiteY5" fmla="*/ 83905 h 119225"/>
                  <a:gd name="connsiteX6" fmla="*/ 87567 w 99774"/>
                  <a:gd name="connsiteY6" fmla="*/ 16683 h 119225"/>
                  <a:gd name="connsiteX7" fmla="*/ 83091 w 99774"/>
                  <a:gd name="connsiteY7" fmla="*/ 12207 h 119225"/>
                  <a:gd name="connsiteX8" fmla="*/ 78615 w 99774"/>
                  <a:gd name="connsiteY8" fmla="*/ 16683 h 119225"/>
                  <a:gd name="connsiteX9" fmla="*/ 78615 w 99774"/>
                  <a:gd name="connsiteY9" fmla="*/ 44516 h 119225"/>
                  <a:gd name="connsiteX10" fmla="*/ 72512 w 99774"/>
                  <a:gd name="connsiteY10" fmla="*/ 50620 h 119225"/>
                  <a:gd name="connsiteX11" fmla="*/ 66408 w 99774"/>
                  <a:gd name="connsiteY11" fmla="*/ 44516 h 119225"/>
                  <a:gd name="connsiteX12" fmla="*/ 66408 w 99774"/>
                  <a:gd name="connsiteY12" fmla="*/ 16683 h 119225"/>
                  <a:gd name="connsiteX13" fmla="*/ 83091 w 99774"/>
                  <a:gd name="connsiteY13" fmla="*/ 0 h 119225"/>
                  <a:gd name="connsiteX14" fmla="*/ 99775 w 99774"/>
                  <a:gd name="connsiteY14" fmla="*/ 16683 h 119225"/>
                  <a:gd name="connsiteX15" fmla="*/ 99775 w 99774"/>
                  <a:gd name="connsiteY15" fmla="*/ 89928 h 119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9774" h="119225">
                    <a:moveTo>
                      <a:pt x="66082" y="119225"/>
                    </a:moveTo>
                    <a:lnTo>
                      <a:pt x="6104" y="119225"/>
                    </a:lnTo>
                    <a:cubicBezTo>
                      <a:pt x="2733" y="119225"/>
                      <a:pt x="0" y="116492"/>
                      <a:pt x="0" y="113121"/>
                    </a:cubicBezTo>
                    <a:cubicBezTo>
                      <a:pt x="0" y="109751"/>
                      <a:pt x="2733" y="107018"/>
                      <a:pt x="6104" y="107018"/>
                    </a:cubicBezTo>
                    <a:lnTo>
                      <a:pt x="61444" y="107018"/>
                    </a:lnTo>
                    <a:lnTo>
                      <a:pt x="87567" y="83905"/>
                    </a:lnTo>
                    <a:lnTo>
                      <a:pt x="87567" y="16683"/>
                    </a:lnTo>
                    <a:cubicBezTo>
                      <a:pt x="87567" y="14211"/>
                      <a:pt x="85564" y="12207"/>
                      <a:pt x="83091" y="12207"/>
                    </a:cubicBezTo>
                    <a:cubicBezTo>
                      <a:pt x="80619" y="12207"/>
                      <a:pt x="78615" y="14211"/>
                      <a:pt x="78615" y="16683"/>
                    </a:cubicBezTo>
                    <a:lnTo>
                      <a:pt x="78615" y="44516"/>
                    </a:lnTo>
                    <a:cubicBezTo>
                      <a:pt x="78615" y="47887"/>
                      <a:pt x="75883" y="50620"/>
                      <a:pt x="72512" y="50620"/>
                    </a:cubicBezTo>
                    <a:cubicBezTo>
                      <a:pt x="69141" y="50620"/>
                      <a:pt x="66408" y="47887"/>
                      <a:pt x="66408" y="44516"/>
                    </a:cubicBezTo>
                    <a:lnTo>
                      <a:pt x="66408" y="16683"/>
                    </a:lnTo>
                    <a:cubicBezTo>
                      <a:pt x="66408" y="7469"/>
                      <a:pt x="73877" y="0"/>
                      <a:pt x="83091" y="0"/>
                    </a:cubicBezTo>
                    <a:cubicBezTo>
                      <a:pt x="92305" y="0"/>
                      <a:pt x="99775" y="7469"/>
                      <a:pt x="99775" y="16683"/>
                    </a:cubicBezTo>
                    <a:lnTo>
                      <a:pt x="99775" y="89928"/>
                    </a:ln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53" name="Freihandform 152">
                <a:extLst>
                  <a:ext uri="{FF2B5EF4-FFF2-40B4-BE49-F238E27FC236}">
                    <a16:creationId xmlns:a16="http://schemas.microsoft.com/office/drawing/2014/main" id="{D6B2C689-4B76-A197-1803-FD15A5732E49}"/>
                  </a:ext>
                </a:extLst>
              </p:cNvPr>
              <p:cNvSpPr/>
              <p:nvPr/>
            </p:nvSpPr>
            <p:spPr>
              <a:xfrm>
                <a:off x="4006819" y="4072686"/>
                <a:ext cx="33366" cy="100914"/>
              </a:xfrm>
              <a:custGeom>
                <a:avLst/>
                <a:gdLst>
                  <a:gd name="connsiteX0" fmla="*/ 27263 w 33366"/>
                  <a:gd name="connsiteY0" fmla="*/ 100914 h 100914"/>
                  <a:gd name="connsiteX1" fmla="*/ 21159 w 33366"/>
                  <a:gd name="connsiteY1" fmla="*/ 94810 h 100914"/>
                  <a:gd name="connsiteX2" fmla="*/ 21159 w 33366"/>
                  <a:gd name="connsiteY2" fmla="*/ 16683 h 100914"/>
                  <a:gd name="connsiteX3" fmla="*/ 16683 w 33366"/>
                  <a:gd name="connsiteY3" fmla="*/ 12207 h 100914"/>
                  <a:gd name="connsiteX4" fmla="*/ 12207 w 33366"/>
                  <a:gd name="connsiteY4" fmla="*/ 16683 h 100914"/>
                  <a:gd name="connsiteX5" fmla="*/ 6104 w 33366"/>
                  <a:gd name="connsiteY5" fmla="*/ 22787 h 100914"/>
                  <a:gd name="connsiteX6" fmla="*/ 0 w 33366"/>
                  <a:gd name="connsiteY6" fmla="*/ 16683 h 100914"/>
                  <a:gd name="connsiteX7" fmla="*/ 16683 w 33366"/>
                  <a:gd name="connsiteY7" fmla="*/ 0 h 100914"/>
                  <a:gd name="connsiteX8" fmla="*/ 33367 w 33366"/>
                  <a:gd name="connsiteY8" fmla="*/ 16683 h 100914"/>
                  <a:gd name="connsiteX9" fmla="*/ 33367 w 33366"/>
                  <a:gd name="connsiteY9" fmla="*/ 94810 h 100914"/>
                  <a:gd name="connsiteX10" fmla="*/ 27263 w 33366"/>
                  <a:gd name="connsiteY10" fmla="*/ 100914 h 100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366" h="100914">
                    <a:moveTo>
                      <a:pt x="27263" y="100914"/>
                    </a:moveTo>
                    <a:cubicBezTo>
                      <a:pt x="23892" y="100914"/>
                      <a:pt x="21159" y="98181"/>
                      <a:pt x="21159" y="94810"/>
                    </a:cubicBezTo>
                    <a:lnTo>
                      <a:pt x="21159" y="16683"/>
                    </a:lnTo>
                    <a:cubicBezTo>
                      <a:pt x="21159" y="14211"/>
                      <a:pt x="19156" y="12207"/>
                      <a:pt x="16683" y="12207"/>
                    </a:cubicBezTo>
                    <a:cubicBezTo>
                      <a:pt x="14211" y="12207"/>
                      <a:pt x="12207" y="14211"/>
                      <a:pt x="12207" y="16683"/>
                    </a:cubicBezTo>
                    <a:cubicBezTo>
                      <a:pt x="12207" y="20054"/>
                      <a:pt x="9475" y="22787"/>
                      <a:pt x="6104" y="22787"/>
                    </a:cubicBezTo>
                    <a:cubicBezTo>
                      <a:pt x="2733" y="22787"/>
                      <a:pt x="0" y="20054"/>
                      <a:pt x="0" y="16683"/>
                    </a:cubicBezTo>
                    <a:cubicBezTo>
                      <a:pt x="0" y="7469"/>
                      <a:pt x="7469" y="0"/>
                      <a:pt x="16683" y="0"/>
                    </a:cubicBezTo>
                    <a:cubicBezTo>
                      <a:pt x="25897" y="0"/>
                      <a:pt x="33367" y="7469"/>
                      <a:pt x="33367" y="16683"/>
                    </a:cubicBezTo>
                    <a:lnTo>
                      <a:pt x="33367" y="94810"/>
                    </a:lnTo>
                    <a:cubicBezTo>
                      <a:pt x="33367" y="98181"/>
                      <a:pt x="30634" y="100914"/>
                      <a:pt x="27263" y="100914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54" name="Freihandform 153">
                <a:extLst>
                  <a:ext uri="{FF2B5EF4-FFF2-40B4-BE49-F238E27FC236}">
                    <a16:creationId xmlns:a16="http://schemas.microsoft.com/office/drawing/2014/main" id="{006EE204-B8F1-3814-54ED-3B8CD673152C}"/>
                  </a:ext>
                </a:extLst>
              </p:cNvPr>
              <p:cNvSpPr/>
              <p:nvPr/>
            </p:nvSpPr>
            <p:spPr>
              <a:xfrm>
                <a:off x="3985985" y="4044528"/>
                <a:ext cx="33366" cy="71616"/>
              </a:xfrm>
              <a:custGeom>
                <a:avLst/>
                <a:gdLst>
                  <a:gd name="connsiteX0" fmla="*/ 27263 w 33366"/>
                  <a:gd name="connsiteY0" fmla="*/ 71616 h 71616"/>
                  <a:gd name="connsiteX1" fmla="*/ 21159 w 33366"/>
                  <a:gd name="connsiteY1" fmla="*/ 65513 h 71616"/>
                  <a:gd name="connsiteX2" fmla="*/ 21159 w 33366"/>
                  <a:gd name="connsiteY2" fmla="*/ 16683 h 71616"/>
                  <a:gd name="connsiteX3" fmla="*/ 16683 w 33366"/>
                  <a:gd name="connsiteY3" fmla="*/ 12207 h 71616"/>
                  <a:gd name="connsiteX4" fmla="*/ 12207 w 33366"/>
                  <a:gd name="connsiteY4" fmla="*/ 16683 h 71616"/>
                  <a:gd name="connsiteX5" fmla="*/ 6104 w 33366"/>
                  <a:gd name="connsiteY5" fmla="*/ 22787 h 71616"/>
                  <a:gd name="connsiteX6" fmla="*/ 0 w 33366"/>
                  <a:gd name="connsiteY6" fmla="*/ 16683 h 71616"/>
                  <a:gd name="connsiteX7" fmla="*/ 16683 w 33366"/>
                  <a:gd name="connsiteY7" fmla="*/ 0 h 71616"/>
                  <a:gd name="connsiteX8" fmla="*/ 33367 w 33366"/>
                  <a:gd name="connsiteY8" fmla="*/ 16683 h 71616"/>
                  <a:gd name="connsiteX9" fmla="*/ 33367 w 33366"/>
                  <a:gd name="connsiteY9" fmla="*/ 65513 h 71616"/>
                  <a:gd name="connsiteX10" fmla="*/ 27263 w 33366"/>
                  <a:gd name="connsiteY10" fmla="*/ 71616 h 71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3366" h="71616">
                    <a:moveTo>
                      <a:pt x="27263" y="71616"/>
                    </a:moveTo>
                    <a:cubicBezTo>
                      <a:pt x="23910" y="71573"/>
                      <a:pt x="21203" y="68866"/>
                      <a:pt x="21159" y="65513"/>
                    </a:cubicBezTo>
                    <a:lnTo>
                      <a:pt x="21159" y="16683"/>
                    </a:lnTo>
                    <a:cubicBezTo>
                      <a:pt x="21159" y="14211"/>
                      <a:pt x="19156" y="12207"/>
                      <a:pt x="16683" y="12207"/>
                    </a:cubicBezTo>
                    <a:cubicBezTo>
                      <a:pt x="14211" y="12207"/>
                      <a:pt x="12207" y="14211"/>
                      <a:pt x="12207" y="16683"/>
                    </a:cubicBezTo>
                    <a:cubicBezTo>
                      <a:pt x="12207" y="20054"/>
                      <a:pt x="9475" y="22787"/>
                      <a:pt x="6104" y="22787"/>
                    </a:cubicBezTo>
                    <a:cubicBezTo>
                      <a:pt x="2733" y="22787"/>
                      <a:pt x="0" y="20054"/>
                      <a:pt x="0" y="16683"/>
                    </a:cubicBezTo>
                    <a:cubicBezTo>
                      <a:pt x="0" y="7469"/>
                      <a:pt x="7469" y="0"/>
                      <a:pt x="16683" y="0"/>
                    </a:cubicBezTo>
                    <a:cubicBezTo>
                      <a:pt x="25898" y="0"/>
                      <a:pt x="33367" y="7469"/>
                      <a:pt x="33367" y="16683"/>
                    </a:cubicBezTo>
                    <a:lnTo>
                      <a:pt x="33367" y="65513"/>
                    </a:lnTo>
                    <a:cubicBezTo>
                      <a:pt x="33367" y="68884"/>
                      <a:pt x="30634" y="71616"/>
                      <a:pt x="27263" y="71616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55" name="Freihandform 154">
                <a:extLst>
                  <a:ext uri="{FF2B5EF4-FFF2-40B4-BE49-F238E27FC236}">
                    <a16:creationId xmlns:a16="http://schemas.microsoft.com/office/drawing/2014/main" id="{D9684944-27B8-2E32-D14C-C9F1B96756DD}"/>
                  </a:ext>
                </a:extLst>
              </p:cNvPr>
              <p:cNvSpPr/>
              <p:nvPr/>
            </p:nvSpPr>
            <p:spPr>
              <a:xfrm>
                <a:off x="3964825" y="4035088"/>
                <a:ext cx="33366" cy="81056"/>
              </a:xfrm>
              <a:custGeom>
                <a:avLst/>
                <a:gdLst>
                  <a:gd name="connsiteX0" fmla="*/ 27263 w 33366"/>
                  <a:gd name="connsiteY0" fmla="*/ 81057 h 81056"/>
                  <a:gd name="connsiteX1" fmla="*/ 21159 w 33366"/>
                  <a:gd name="connsiteY1" fmla="*/ 74953 h 81056"/>
                  <a:gd name="connsiteX2" fmla="*/ 21159 w 33366"/>
                  <a:gd name="connsiteY2" fmla="*/ 16683 h 81056"/>
                  <a:gd name="connsiteX3" fmla="*/ 16683 w 33366"/>
                  <a:gd name="connsiteY3" fmla="*/ 12207 h 81056"/>
                  <a:gd name="connsiteX4" fmla="*/ 12207 w 33366"/>
                  <a:gd name="connsiteY4" fmla="*/ 16683 h 81056"/>
                  <a:gd name="connsiteX5" fmla="*/ 12207 w 33366"/>
                  <a:gd name="connsiteY5" fmla="*/ 74953 h 81056"/>
                  <a:gd name="connsiteX6" fmla="*/ 6104 w 33366"/>
                  <a:gd name="connsiteY6" fmla="*/ 81057 h 81056"/>
                  <a:gd name="connsiteX7" fmla="*/ 0 w 33366"/>
                  <a:gd name="connsiteY7" fmla="*/ 74953 h 81056"/>
                  <a:gd name="connsiteX8" fmla="*/ 0 w 33366"/>
                  <a:gd name="connsiteY8" fmla="*/ 16683 h 81056"/>
                  <a:gd name="connsiteX9" fmla="*/ 16683 w 33366"/>
                  <a:gd name="connsiteY9" fmla="*/ 0 h 81056"/>
                  <a:gd name="connsiteX10" fmla="*/ 33367 w 33366"/>
                  <a:gd name="connsiteY10" fmla="*/ 16683 h 81056"/>
                  <a:gd name="connsiteX11" fmla="*/ 33367 w 33366"/>
                  <a:gd name="connsiteY11" fmla="*/ 74953 h 81056"/>
                  <a:gd name="connsiteX12" fmla="*/ 27263 w 33366"/>
                  <a:gd name="connsiteY12" fmla="*/ 81057 h 81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366" h="81056">
                    <a:moveTo>
                      <a:pt x="27263" y="81057"/>
                    </a:moveTo>
                    <a:cubicBezTo>
                      <a:pt x="23892" y="81057"/>
                      <a:pt x="21159" y="78324"/>
                      <a:pt x="21159" y="74953"/>
                    </a:cubicBezTo>
                    <a:lnTo>
                      <a:pt x="21159" y="16683"/>
                    </a:lnTo>
                    <a:cubicBezTo>
                      <a:pt x="21159" y="14211"/>
                      <a:pt x="19156" y="12207"/>
                      <a:pt x="16683" y="12207"/>
                    </a:cubicBezTo>
                    <a:cubicBezTo>
                      <a:pt x="14211" y="12207"/>
                      <a:pt x="12207" y="14211"/>
                      <a:pt x="12207" y="16683"/>
                    </a:cubicBezTo>
                    <a:lnTo>
                      <a:pt x="12207" y="74953"/>
                    </a:lnTo>
                    <a:cubicBezTo>
                      <a:pt x="12207" y="78324"/>
                      <a:pt x="9475" y="81057"/>
                      <a:pt x="6104" y="81057"/>
                    </a:cubicBezTo>
                    <a:cubicBezTo>
                      <a:pt x="2733" y="81057"/>
                      <a:pt x="0" y="78324"/>
                      <a:pt x="0" y="74953"/>
                    </a:cubicBezTo>
                    <a:lnTo>
                      <a:pt x="0" y="16683"/>
                    </a:lnTo>
                    <a:cubicBezTo>
                      <a:pt x="0" y="7469"/>
                      <a:pt x="7469" y="0"/>
                      <a:pt x="16683" y="0"/>
                    </a:cubicBezTo>
                    <a:cubicBezTo>
                      <a:pt x="25897" y="0"/>
                      <a:pt x="33367" y="7469"/>
                      <a:pt x="33367" y="16683"/>
                    </a:cubicBezTo>
                    <a:lnTo>
                      <a:pt x="33367" y="74953"/>
                    </a:lnTo>
                    <a:cubicBezTo>
                      <a:pt x="33323" y="78306"/>
                      <a:pt x="30616" y="81013"/>
                      <a:pt x="27263" y="8105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56" name="Freihandform 155">
                <a:extLst>
                  <a:ext uri="{FF2B5EF4-FFF2-40B4-BE49-F238E27FC236}">
                    <a16:creationId xmlns:a16="http://schemas.microsoft.com/office/drawing/2014/main" id="{E7675C3C-0EA4-6CDB-9523-996883012CF0}"/>
                  </a:ext>
                </a:extLst>
              </p:cNvPr>
              <p:cNvSpPr/>
              <p:nvPr/>
            </p:nvSpPr>
            <p:spPr>
              <a:xfrm>
                <a:off x="3943584" y="4046156"/>
                <a:ext cx="33366" cy="84067"/>
              </a:xfrm>
              <a:custGeom>
                <a:avLst/>
                <a:gdLst>
                  <a:gd name="connsiteX0" fmla="*/ 6104 w 33366"/>
                  <a:gd name="connsiteY0" fmla="*/ 84068 h 84067"/>
                  <a:gd name="connsiteX1" fmla="*/ 0 w 33366"/>
                  <a:gd name="connsiteY1" fmla="*/ 77964 h 84067"/>
                  <a:gd name="connsiteX2" fmla="*/ 0 w 33366"/>
                  <a:gd name="connsiteY2" fmla="*/ 16683 h 84067"/>
                  <a:gd name="connsiteX3" fmla="*/ 16683 w 33366"/>
                  <a:gd name="connsiteY3" fmla="*/ 0 h 84067"/>
                  <a:gd name="connsiteX4" fmla="*/ 33367 w 33366"/>
                  <a:gd name="connsiteY4" fmla="*/ 16683 h 84067"/>
                  <a:gd name="connsiteX5" fmla="*/ 33367 w 33366"/>
                  <a:gd name="connsiteY5" fmla="*/ 63885 h 84067"/>
                  <a:gd name="connsiteX6" fmla="*/ 27263 w 33366"/>
                  <a:gd name="connsiteY6" fmla="*/ 69989 h 84067"/>
                  <a:gd name="connsiteX7" fmla="*/ 21159 w 33366"/>
                  <a:gd name="connsiteY7" fmla="*/ 63885 h 84067"/>
                  <a:gd name="connsiteX8" fmla="*/ 21159 w 33366"/>
                  <a:gd name="connsiteY8" fmla="*/ 16683 h 84067"/>
                  <a:gd name="connsiteX9" fmla="*/ 16683 w 33366"/>
                  <a:gd name="connsiteY9" fmla="*/ 12207 h 84067"/>
                  <a:gd name="connsiteX10" fmla="*/ 12207 w 33366"/>
                  <a:gd name="connsiteY10" fmla="*/ 16683 h 84067"/>
                  <a:gd name="connsiteX11" fmla="*/ 12207 w 33366"/>
                  <a:gd name="connsiteY11" fmla="*/ 77964 h 84067"/>
                  <a:gd name="connsiteX12" fmla="*/ 6104 w 33366"/>
                  <a:gd name="connsiteY12" fmla="*/ 84068 h 84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366" h="84067">
                    <a:moveTo>
                      <a:pt x="6104" y="84068"/>
                    </a:moveTo>
                    <a:cubicBezTo>
                      <a:pt x="2733" y="84068"/>
                      <a:pt x="0" y="81335"/>
                      <a:pt x="0" y="77964"/>
                    </a:cubicBezTo>
                    <a:lnTo>
                      <a:pt x="0" y="16683"/>
                    </a:lnTo>
                    <a:cubicBezTo>
                      <a:pt x="0" y="7469"/>
                      <a:pt x="7469" y="0"/>
                      <a:pt x="16683" y="0"/>
                    </a:cubicBezTo>
                    <a:cubicBezTo>
                      <a:pt x="25897" y="0"/>
                      <a:pt x="33367" y="7469"/>
                      <a:pt x="33367" y="16683"/>
                    </a:cubicBezTo>
                    <a:lnTo>
                      <a:pt x="33367" y="63885"/>
                    </a:lnTo>
                    <a:cubicBezTo>
                      <a:pt x="33367" y="67256"/>
                      <a:pt x="30634" y="69989"/>
                      <a:pt x="27263" y="69989"/>
                    </a:cubicBezTo>
                    <a:cubicBezTo>
                      <a:pt x="23892" y="69989"/>
                      <a:pt x="21159" y="67256"/>
                      <a:pt x="21159" y="63885"/>
                    </a:cubicBezTo>
                    <a:lnTo>
                      <a:pt x="21159" y="16683"/>
                    </a:lnTo>
                    <a:cubicBezTo>
                      <a:pt x="21159" y="14211"/>
                      <a:pt x="19156" y="12207"/>
                      <a:pt x="16683" y="12207"/>
                    </a:cubicBezTo>
                    <a:cubicBezTo>
                      <a:pt x="14211" y="12207"/>
                      <a:pt x="12207" y="14211"/>
                      <a:pt x="12207" y="16683"/>
                    </a:cubicBezTo>
                    <a:lnTo>
                      <a:pt x="12207" y="77964"/>
                    </a:lnTo>
                    <a:cubicBezTo>
                      <a:pt x="12163" y="81317"/>
                      <a:pt x="9457" y="84024"/>
                      <a:pt x="6104" y="84068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57" name="Freihandform 156">
                <a:extLst>
                  <a:ext uri="{FF2B5EF4-FFF2-40B4-BE49-F238E27FC236}">
                    <a16:creationId xmlns:a16="http://schemas.microsoft.com/office/drawing/2014/main" id="{6334D32D-D842-E86D-AF6E-D7DDDB66F01F}"/>
                  </a:ext>
                </a:extLst>
              </p:cNvPr>
              <p:cNvSpPr/>
              <p:nvPr/>
            </p:nvSpPr>
            <p:spPr>
              <a:xfrm>
                <a:off x="3922099" y="4079278"/>
                <a:ext cx="100181" cy="119713"/>
              </a:xfrm>
              <a:custGeom>
                <a:avLst/>
                <a:gdLst>
                  <a:gd name="connsiteX0" fmla="*/ 93671 w 100181"/>
                  <a:gd name="connsiteY0" fmla="*/ 119713 h 119713"/>
                  <a:gd name="connsiteX1" fmla="*/ 33692 w 100181"/>
                  <a:gd name="connsiteY1" fmla="*/ 119713 h 119713"/>
                  <a:gd name="connsiteX2" fmla="*/ 0 w 100181"/>
                  <a:gd name="connsiteY2" fmla="*/ 89927 h 119713"/>
                  <a:gd name="connsiteX3" fmla="*/ 0 w 100181"/>
                  <a:gd name="connsiteY3" fmla="*/ 16683 h 119713"/>
                  <a:gd name="connsiteX4" fmla="*/ 16683 w 100181"/>
                  <a:gd name="connsiteY4" fmla="*/ 0 h 119713"/>
                  <a:gd name="connsiteX5" fmla="*/ 33367 w 100181"/>
                  <a:gd name="connsiteY5" fmla="*/ 16683 h 119713"/>
                  <a:gd name="connsiteX6" fmla="*/ 33367 w 100181"/>
                  <a:gd name="connsiteY6" fmla="*/ 44516 h 119713"/>
                  <a:gd name="connsiteX7" fmla="*/ 27263 w 100181"/>
                  <a:gd name="connsiteY7" fmla="*/ 50620 h 119713"/>
                  <a:gd name="connsiteX8" fmla="*/ 21159 w 100181"/>
                  <a:gd name="connsiteY8" fmla="*/ 44516 h 119713"/>
                  <a:gd name="connsiteX9" fmla="*/ 21159 w 100181"/>
                  <a:gd name="connsiteY9" fmla="*/ 17009 h 119713"/>
                  <a:gd name="connsiteX10" fmla="*/ 16683 w 100181"/>
                  <a:gd name="connsiteY10" fmla="*/ 12533 h 119713"/>
                  <a:gd name="connsiteX11" fmla="*/ 12207 w 100181"/>
                  <a:gd name="connsiteY11" fmla="*/ 17009 h 119713"/>
                  <a:gd name="connsiteX12" fmla="*/ 12207 w 100181"/>
                  <a:gd name="connsiteY12" fmla="*/ 84393 h 119713"/>
                  <a:gd name="connsiteX13" fmla="*/ 38738 w 100181"/>
                  <a:gd name="connsiteY13" fmla="*/ 107506 h 119713"/>
                  <a:gd name="connsiteX14" fmla="*/ 94078 w 100181"/>
                  <a:gd name="connsiteY14" fmla="*/ 107506 h 119713"/>
                  <a:gd name="connsiteX15" fmla="*/ 100182 w 100181"/>
                  <a:gd name="connsiteY15" fmla="*/ 113610 h 119713"/>
                  <a:gd name="connsiteX16" fmla="*/ 94078 w 100181"/>
                  <a:gd name="connsiteY16" fmla="*/ 119713 h 119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0181" h="119713">
                    <a:moveTo>
                      <a:pt x="93671" y="119713"/>
                    </a:moveTo>
                    <a:lnTo>
                      <a:pt x="33692" y="119713"/>
                    </a:lnTo>
                    <a:lnTo>
                      <a:pt x="0" y="89927"/>
                    </a:lnTo>
                    <a:lnTo>
                      <a:pt x="0" y="16683"/>
                    </a:lnTo>
                    <a:cubicBezTo>
                      <a:pt x="0" y="7469"/>
                      <a:pt x="7469" y="0"/>
                      <a:pt x="16683" y="0"/>
                    </a:cubicBezTo>
                    <a:cubicBezTo>
                      <a:pt x="25897" y="0"/>
                      <a:pt x="33367" y="7469"/>
                      <a:pt x="33367" y="16683"/>
                    </a:cubicBezTo>
                    <a:lnTo>
                      <a:pt x="33367" y="44516"/>
                    </a:lnTo>
                    <a:cubicBezTo>
                      <a:pt x="33367" y="47887"/>
                      <a:pt x="30634" y="50620"/>
                      <a:pt x="27263" y="50620"/>
                    </a:cubicBezTo>
                    <a:cubicBezTo>
                      <a:pt x="23892" y="50620"/>
                      <a:pt x="21159" y="47887"/>
                      <a:pt x="21159" y="44516"/>
                    </a:cubicBezTo>
                    <a:lnTo>
                      <a:pt x="21159" y="17009"/>
                    </a:lnTo>
                    <a:cubicBezTo>
                      <a:pt x="21159" y="14536"/>
                      <a:pt x="19156" y="12533"/>
                      <a:pt x="16683" y="12533"/>
                    </a:cubicBezTo>
                    <a:cubicBezTo>
                      <a:pt x="14211" y="12533"/>
                      <a:pt x="12207" y="14536"/>
                      <a:pt x="12207" y="17009"/>
                    </a:cubicBezTo>
                    <a:lnTo>
                      <a:pt x="12207" y="84393"/>
                    </a:lnTo>
                    <a:lnTo>
                      <a:pt x="38738" y="107506"/>
                    </a:lnTo>
                    <a:lnTo>
                      <a:pt x="94078" y="107506"/>
                    </a:lnTo>
                    <a:cubicBezTo>
                      <a:pt x="97449" y="107506"/>
                      <a:pt x="100182" y="110239"/>
                      <a:pt x="100182" y="113610"/>
                    </a:cubicBezTo>
                    <a:cubicBezTo>
                      <a:pt x="100182" y="116981"/>
                      <a:pt x="97449" y="119713"/>
                      <a:pt x="94078" y="119713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58" name="Freihandform 157">
                <a:extLst>
                  <a:ext uri="{FF2B5EF4-FFF2-40B4-BE49-F238E27FC236}">
                    <a16:creationId xmlns:a16="http://schemas.microsoft.com/office/drawing/2014/main" id="{C134A90F-DEDF-D544-8FA9-452536A4ADD2}"/>
                  </a:ext>
                </a:extLst>
              </p:cNvPr>
              <p:cNvSpPr/>
              <p:nvPr/>
            </p:nvSpPr>
            <p:spPr>
              <a:xfrm>
                <a:off x="4050602" y="4088637"/>
                <a:ext cx="50294" cy="12207"/>
              </a:xfrm>
              <a:custGeom>
                <a:avLst/>
                <a:gdLst>
                  <a:gd name="connsiteX0" fmla="*/ 44191 w 50294"/>
                  <a:gd name="connsiteY0" fmla="*/ 12207 h 12207"/>
                  <a:gd name="connsiteX1" fmla="*/ 6104 w 50294"/>
                  <a:gd name="connsiteY1" fmla="*/ 12207 h 12207"/>
                  <a:gd name="connsiteX2" fmla="*/ 0 w 50294"/>
                  <a:gd name="connsiteY2" fmla="*/ 6104 h 12207"/>
                  <a:gd name="connsiteX3" fmla="*/ 6104 w 50294"/>
                  <a:gd name="connsiteY3" fmla="*/ 0 h 12207"/>
                  <a:gd name="connsiteX4" fmla="*/ 44191 w 50294"/>
                  <a:gd name="connsiteY4" fmla="*/ 0 h 12207"/>
                  <a:gd name="connsiteX5" fmla="*/ 50294 w 50294"/>
                  <a:gd name="connsiteY5" fmla="*/ 6104 h 12207"/>
                  <a:gd name="connsiteX6" fmla="*/ 44191 w 50294"/>
                  <a:gd name="connsiteY6" fmla="*/ 12207 h 12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0294" h="12207">
                    <a:moveTo>
                      <a:pt x="44191" y="12207"/>
                    </a:moveTo>
                    <a:lnTo>
                      <a:pt x="6104" y="12207"/>
                    </a:lnTo>
                    <a:cubicBezTo>
                      <a:pt x="2733" y="12207"/>
                      <a:pt x="0" y="9475"/>
                      <a:pt x="0" y="6104"/>
                    </a:cubicBezTo>
                    <a:cubicBezTo>
                      <a:pt x="0" y="2733"/>
                      <a:pt x="2733" y="0"/>
                      <a:pt x="6104" y="0"/>
                    </a:cubicBezTo>
                    <a:lnTo>
                      <a:pt x="44191" y="0"/>
                    </a:lnTo>
                    <a:cubicBezTo>
                      <a:pt x="47561" y="0"/>
                      <a:pt x="50294" y="2733"/>
                      <a:pt x="50294" y="6104"/>
                    </a:cubicBezTo>
                    <a:cubicBezTo>
                      <a:pt x="50294" y="9475"/>
                      <a:pt x="47561" y="12207"/>
                      <a:pt x="44191" y="1220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59" name="Freihandform 158">
                <a:extLst>
                  <a:ext uri="{FF2B5EF4-FFF2-40B4-BE49-F238E27FC236}">
                    <a16:creationId xmlns:a16="http://schemas.microsoft.com/office/drawing/2014/main" id="{94CBC4F4-1C10-45FE-A53B-603DA53FE2BC}"/>
                  </a:ext>
                </a:extLst>
              </p:cNvPr>
              <p:cNvSpPr/>
              <p:nvPr/>
            </p:nvSpPr>
            <p:spPr>
              <a:xfrm>
                <a:off x="3691706" y="4088637"/>
                <a:ext cx="50294" cy="12207"/>
              </a:xfrm>
              <a:custGeom>
                <a:avLst/>
                <a:gdLst>
                  <a:gd name="connsiteX0" fmla="*/ 44191 w 50294"/>
                  <a:gd name="connsiteY0" fmla="*/ 12207 h 12207"/>
                  <a:gd name="connsiteX1" fmla="*/ 6104 w 50294"/>
                  <a:gd name="connsiteY1" fmla="*/ 12207 h 12207"/>
                  <a:gd name="connsiteX2" fmla="*/ 0 w 50294"/>
                  <a:gd name="connsiteY2" fmla="*/ 6104 h 12207"/>
                  <a:gd name="connsiteX3" fmla="*/ 6104 w 50294"/>
                  <a:gd name="connsiteY3" fmla="*/ 0 h 12207"/>
                  <a:gd name="connsiteX4" fmla="*/ 44191 w 50294"/>
                  <a:gd name="connsiteY4" fmla="*/ 0 h 12207"/>
                  <a:gd name="connsiteX5" fmla="*/ 50294 w 50294"/>
                  <a:gd name="connsiteY5" fmla="*/ 6104 h 12207"/>
                  <a:gd name="connsiteX6" fmla="*/ 44191 w 50294"/>
                  <a:gd name="connsiteY6" fmla="*/ 12207 h 12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0294" h="12207">
                    <a:moveTo>
                      <a:pt x="44191" y="12207"/>
                    </a:moveTo>
                    <a:lnTo>
                      <a:pt x="6104" y="12207"/>
                    </a:lnTo>
                    <a:cubicBezTo>
                      <a:pt x="2733" y="12207"/>
                      <a:pt x="0" y="9475"/>
                      <a:pt x="0" y="6104"/>
                    </a:cubicBezTo>
                    <a:cubicBezTo>
                      <a:pt x="0" y="2733"/>
                      <a:pt x="2733" y="0"/>
                      <a:pt x="6104" y="0"/>
                    </a:cubicBezTo>
                    <a:lnTo>
                      <a:pt x="44191" y="0"/>
                    </a:lnTo>
                    <a:cubicBezTo>
                      <a:pt x="47562" y="0"/>
                      <a:pt x="50294" y="2733"/>
                      <a:pt x="50294" y="6104"/>
                    </a:cubicBezTo>
                    <a:cubicBezTo>
                      <a:pt x="50294" y="9475"/>
                      <a:pt x="47562" y="12207"/>
                      <a:pt x="44191" y="1220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60" name="Freihandform 159">
                <a:extLst>
                  <a:ext uri="{FF2B5EF4-FFF2-40B4-BE49-F238E27FC236}">
                    <a16:creationId xmlns:a16="http://schemas.microsoft.com/office/drawing/2014/main" id="{4D044501-4E80-8FEA-9EEE-21A98C8389F3}"/>
                  </a:ext>
                </a:extLst>
              </p:cNvPr>
              <p:cNvSpPr/>
              <p:nvPr/>
            </p:nvSpPr>
            <p:spPr>
              <a:xfrm>
                <a:off x="3871073" y="4088637"/>
                <a:ext cx="46062" cy="12207"/>
              </a:xfrm>
              <a:custGeom>
                <a:avLst/>
                <a:gdLst>
                  <a:gd name="connsiteX0" fmla="*/ 39959 w 46062"/>
                  <a:gd name="connsiteY0" fmla="*/ 12207 h 12207"/>
                  <a:gd name="connsiteX1" fmla="*/ 6104 w 46062"/>
                  <a:gd name="connsiteY1" fmla="*/ 12207 h 12207"/>
                  <a:gd name="connsiteX2" fmla="*/ 0 w 46062"/>
                  <a:gd name="connsiteY2" fmla="*/ 6104 h 12207"/>
                  <a:gd name="connsiteX3" fmla="*/ 6104 w 46062"/>
                  <a:gd name="connsiteY3" fmla="*/ 0 h 12207"/>
                  <a:gd name="connsiteX4" fmla="*/ 39959 w 46062"/>
                  <a:gd name="connsiteY4" fmla="*/ 0 h 12207"/>
                  <a:gd name="connsiteX5" fmla="*/ 46062 w 46062"/>
                  <a:gd name="connsiteY5" fmla="*/ 6104 h 12207"/>
                  <a:gd name="connsiteX6" fmla="*/ 39959 w 46062"/>
                  <a:gd name="connsiteY6" fmla="*/ 12207 h 12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062" h="12207">
                    <a:moveTo>
                      <a:pt x="39959" y="12207"/>
                    </a:moveTo>
                    <a:lnTo>
                      <a:pt x="6104" y="12207"/>
                    </a:lnTo>
                    <a:cubicBezTo>
                      <a:pt x="2733" y="12207"/>
                      <a:pt x="0" y="9475"/>
                      <a:pt x="0" y="6104"/>
                    </a:cubicBezTo>
                    <a:cubicBezTo>
                      <a:pt x="0" y="2733"/>
                      <a:pt x="2733" y="0"/>
                      <a:pt x="6104" y="0"/>
                    </a:cubicBezTo>
                    <a:lnTo>
                      <a:pt x="39959" y="0"/>
                    </a:lnTo>
                    <a:cubicBezTo>
                      <a:pt x="43330" y="0"/>
                      <a:pt x="46062" y="2733"/>
                      <a:pt x="46062" y="6104"/>
                    </a:cubicBezTo>
                    <a:cubicBezTo>
                      <a:pt x="46062" y="9475"/>
                      <a:pt x="43330" y="12207"/>
                      <a:pt x="39959" y="1220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B26AD763-C47E-38D9-5D4B-70142FA8CBBF}"/>
                </a:ext>
              </a:extLst>
            </p:cNvPr>
            <p:cNvGrpSpPr/>
            <p:nvPr/>
          </p:nvGrpSpPr>
          <p:grpSpPr>
            <a:xfrm>
              <a:off x="3573428" y="4521250"/>
              <a:ext cx="489980" cy="321949"/>
              <a:chOff x="3694078" y="4402378"/>
              <a:chExt cx="489980" cy="321949"/>
            </a:xfrm>
          </p:grpSpPr>
          <p:sp>
            <p:nvSpPr>
              <p:cNvPr id="119" name="Freihandform 118">
                <a:extLst>
                  <a:ext uri="{FF2B5EF4-FFF2-40B4-BE49-F238E27FC236}">
                    <a16:creationId xmlns:a16="http://schemas.microsoft.com/office/drawing/2014/main" id="{3364A503-7998-C46D-EB35-6C99C8CA71F5}"/>
                  </a:ext>
                </a:extLst>
              </p:cNvPr>
              <p:cNvSpPr/>
              <p:nvPr/>
            </p:nvSpPr>
            <p:spPr>
              <a:xfrm>
                <a:off x="3694078" y="4431188"/>
                <a:ext cx="398368" cy="293139"/>
              </a:xfrm>
              <a:custGeom>
                <a:avLst/>
                <a:gdLst>
                  <a:gd name="connsiteX0" fmla="*/ 183415 w 398368"/>
                  <a:gd name="connsiteY0" fmla="*/ 293140 h 293139"/>
                  <a:gd name="connsiteX1" fmla="*/ 154298 w 398368"/>
                  <a:gd name="connsiteY1" fmla="*/ 264086 h 293139"/>
                  <a:gd name="connsiteX2" fmla="*/ 176640 w 398368"/>
                  <a:gd name="connsiteY2" fmla="*/ 234951 h 293139"/>
                  <a:gd name="connsiteX3" fmla="*/ 191723 w 398368"/>
                  <a:gd name="connsiteY3" fmla="*/ 164067 h 293139"/>
                  <a:gd name="connsiteX4" fmla="*/ 163493 w 398368"/>
                  <a:gd name="connsiteY4" fmla="*/ 138595 h 293139"/>
                  <a:gd name="connsiteX5" fmla="*/ 151314 w 398368"/>
                  <a:gd name="connsiteY5" fmla="*/ 138595 h 293139"/>
                  <a:gd name="connsiteX6" fmla="*/ 151314 w 398368"/>
                  <a:gd name="connsiteY6" fmla="*/ 154383 h 293139"/>
                  <a:gd name="connsiteX7" fmla="*/ 145264 w 398368"/>
                  <a:gd name="connsiteY7" fmla="*/ 160486 h 293139"/>
                  <a:gd name="connsiteX8" fmla="*/ 6049 w 398368"/>
                  <a:gd name="connsiteY8" fmla="*/ 160486 h 293139"/>
                  <a:gd name="connsiteX9" fmla="*/ 0 w 398368"/>
                  <a:gd name="connsiteY9" fmla="*/ 154383 h 293139"/>
                  <a:gd name="connsiteX10" fmla="*/ 6049 w 398368"/>
                  <a:gd name="connsiteY10" fmla="*/ 148279 h 293139"/>
                  <a:gd name="connsiteX11" fmla="*/ 139215 w 398368"/>
                  <a:gd name="connsiteY11" fmla="*/ 148279 h 293139"/>
                  <a:gd name="connsiteX12" fmla="*/ 139215 w 398368"/>
                  <a:gd name="connsiteY12" fmla="*/ 132491 h 293139"/>
                  <a:gd name="connsiteX13" fmla="*/ 145102 w 398368"/>
                  <a:gd name="connsiteY13" fmla="*/ 126387 h 293139"/>
                  <a:gd name="connsiteX14" fmla="*/ 145264 w 398368"/>
                  <a:gd name="connsiteY14" fmla="*/ 126387 h 293139"/>
                  <a:gd name="connsiteX15" fmla="*/ 165913 w 398368"/>
                  <a:gd name="connsiteY15" fmla="*/ 126387 h 293139"/>
                  <a:gd name="connsiteX16" fmla="*/ 170026 w 398368"/>
                  <a:gd name="connsiteY16" fmla="*/ 128015 h 293139"/>
                  <a:gd name="connsiteX17" fmla="*/ 201805 w 398368"/>
                  <a:gd name="connsiteY17" fmla="*/ 156580 h 293139"/>
                  <a:gd name="connsiteX18" fmla="*/ 204709 w 398368"/>
                  <a:gd name="connsiteY18" fmla="*/ 159103 h 293139"/>
                  <a:gd name="connsiteX19" fmla="*/ 204709 w 398368"/>
                  <a:gd name="connsiteY19" fmla="*/ 165207 h 293139"/>
                  <a:gd name="connsiteX20" fmla="*/ 188981 w 398368"/>
                  <a:gd name="connsiteY20" fmla="*/ 239590 h 293139"/>
                  <a:gd name="connsiteX21" fmla="*/ 187529 w 398368"/>
                  <a:gd name="connsiteY21" fmla="*/ 244310 h 293139"/>
                  <a:gd name="connsiteX22" fmla="*/ 183093 w 398368"/>
                  <a:gd name="connsiteY22" fmla="*/ 246345 h 293139"/>
                  <a:gd name="connsiteX23" fmla="*/ 171075 w 398368"/>
                  <a:gd name="connsiteY23" fmla="*/ 251635 h 293139"/>
                  <a:gd name="connsiteX24" fmla="*/ 166235 w 398368"/>
                  <a:gd name="connsiteY24" fmla="*/ 263923 h 293139"/>
                  <a:gd name="connsiteX25" fmla="*/ 171478 w 398368"/>
                  <a:gd name="connsiteY25" fmla="*/ 276049 h 293139"/>
                  <a:gd name="connsiteX26" fmla="*/ 183657 w 398368"/>
                  <a:gd name="connsiteY26" fmla="*/ 280932 h 293139"/>
                  <a:gd name="connsiteX27" fmla="*/ 369170 w 398368"/>
                  <a:gd name="connsiteY27" fmla="*/ 280932 h 293139"/>
                  <a:gd name="connsiteX28" fmla="*/ 386008 w 398368"/>
                  <a:gd name="connsiteY28" fmla="*/ 263260 h 293139"/>
                  <a:gd name="connsiteX29" fmla="*/ 370460 w 398368"/>
                  <a:gd name="connsiteY29" fmla="*/ 246345 h 293139"/>
                  <a:gd name="connsiteX30" fmla="*/ 364951 w 398368"/>
                  <a:gd name="connsiteY30" fmla="*/ 239741 h 293139"/>
                  <a:gd name="connsiteX31" fmla="*/ 365056 w 398368"/>
                  <a:gd name="connsiteY31" fmla="*/ 239020 h 293139"/>
                  <a:gd name="connsiteX32" fmla="*/ 347957 w 398368"/>
                  <a:gd name="connsiteY32" fmla="*/ 161382 h 293139"/>
                  <a:gd name="connsiteX33" fmla="*/ 348655 w 398368"/>
                  <a:gd name="connsiteY33" fmla="*/ 152779 h 293139"/>
                  <a:gd name="connsiteX34" fmla="*/ 357181 w 398368"/>
                  <a:gd name="connsiteY34" fmla="*/ 153484 h 293139"/>
                  <a:gd name="connsiteX35" fmla="*/ 357555 w 398368"/>
                  <a:gd name="connsiteY35" fmla="*/ 153976 h 293139"/>
                  <a:gd name="connsiteX36" fmla="*/ 377961 w 398368"/>
                  <a:gd name="connsiteY36" fmla="*/ 235358 h 293139"/>
                  <a:gd name="connsiteX37" fmla="*/ 398368 w 398368"/>
                  <a:gd name="connsiteY37" fmla="*/ 263517 h 293139"/>
                  <a:gd name="connsiteX38" fmla="*/ 389818 w 398368"/>
                  <a:gd name="connsiteY38" fmla="*/ 284350 h 293139"/>
                  <a:gd name="connsiteX39" fmla="*/ 369170 w 398368"/>
                  <a:gd name="connsiteY39" fmla="*/ 292977 h 293139"/>
                  <a:gd name="connsiteX40" fmla="*/ 183415 w 398368"/>
                  <a:gd name="connsiteY40" fmla="*/ 292977 h 293139"/>
                  <a:gd name="connsiteX41" fmla="*/ 164380 w 398368"/>
                  <a:gd name="connsiteY41" fmla="*/ 51271 h 293139"/>
                  <a:gd name="connsiteX42" fmla="*/ 145264 w 398368"/>
                  <a:gd name="connsiteY42" fmla="*/ 51271 h 293139"/>
                  <a:gd name="connsiteX43" fmla="*/ 139215 w 398368"/>
                  <a:gd name="connsiteY43" fmla="*/ 45168 h 293139"/>
                  <a:gd name="connsiteX44" fmla="*/ 139215 w 398368"/>
                  <a:gd name="connsiteY44" fmla="*/ 35646 h 293139"/>
                  <a:gd name="connsiteX45" fmla="*/ 6049 w 398368"/>
                  <a:gd name="connsiteY45" fmla="*/ 35646 h 293139"/>
                  <a:gd name="connsiteX46" fmla="*/ 0 w 398368"/>
                  <a:gd name="connsiteY46" fmla="*/ 29542 h 293139"/>
                  <a:gd name="connsiteX47" fmla="*/ 6049 w 398368"/>
                  <a:gd name="connsiteY47" fmla="*/ 23439 h 293139"/>
                  <a:gd name="connsiteX48" fmla="*/ 145264 w 398368"/>
                  <a:gd name="connsiteY48" fmla="*/ 23439 h 293139"/>
                  <a:gd name="connsiteX49" fmla="*/ 151314 w 398368"/>
                  <a:gd name="connsiteY49" fmla="*/ 29542 h 293139"/>
                  <a:gd name="connsiteX50" fmla="*/ 151314 w 398368"/>
                  <a:gd name="connsiteY50" fmla="*/ 39064 h 293139"/>
                  <a:gd name="connsiteX51" fmla="*/ 161880 w 398368"/>
                  <a:gd name="connsiteY51" fmla="*/ 39064 h 293139"/>
                  <a:gd name="connsiteX52" fmla="*/ 196078 w 398368"/>
                  <a:gd name="connsiteY52" fmla="*/ 4721 h 293139"/>
                  <a:gd name="connsiteX53" fmla="*/ 206241 w 398368"/>
                  <a:gd name="connsiteY53" fmla="*/ 0 h 293139"/>
                  <a:gd name="connsiteX54" fmla="*/ 241731 w 398368"/>
                  <a:gd name="connsiteY54" fmla="*/ 0 h 293139"/>
                  <a:gd name="connsiteX55" fmla="*/ 247135 w 398368"/>
                  <a:gd name="connsiteY55" fmla="*/ 3419 h 293139"/>
                  <a:gd name="connsiteX56" fmla="*/ 246570 w 398368"/>
                  <a:gd name="connsiteY56" fmla="*/ 9848 h 293139"/>
                  <a:gd name="connsiteX57" fmla="*/ 234391 w 398368"/>
                  <a:gd name="connsiteY57" fmla="*/ 26124 h 293139"/>
                  <a:gd name="connsiteX58" fmla="*/ 225922 w 398368"/>
                  <a:gd name="connsiteY58" fmla="*/ 27345 h 293139"/>
                  <a:gd name="connsiteX59" fmla="*/ 224712 w 398368"/>
                  <a:gd name="connsiteY59" fmla="*/ 18800 h 293139"/>
                  <a:gd name="connsiteX60" fmla="*/ 229551 w 398368"/>
                  <a:gd name="connsiteY60" fmla="*/ 12371 h 293139"/>
                  <a:gd name="connsiteX61" fmla="*/ 206241 w 398368"/>
                  <a:gd name="connsiteY61" fmla="*/ 12371 h 293139"/>
                  <a:gd name="connsiteX62" fmla="*/ 204951 w 398368"/>
                  <a:gd name="connsiteY62" fmla="*/ 13022 h 293139"/>
                  <a:gd name="connsiteX63" fmla="*/ 168494 w 398368"/>
                  <a:gd name="connsiteY63" fmla="*/ 49644 h 293139"/>
                  <a:gd name="connsiteX64" fmla="*/ 164380 w 398368"/>
                  <a:gd name="connsiteY64" fmla="*/ 51271 h 293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98368" h="293139">
                    <a:moveTo>
                      <a:pt x="183415" y="293140"/>
                    </a:moveTo>
                    <a:cubicBezTo>
                      <a:pt x="167477" y="293097"/>
                      <a:pt x="154518" y="280166"/>
                      <a:pt x="154298" y="264086"/>
                    </a:cubicBezTo>
                    <a:cubicBezTo>
                      <a:pt x="154067" y="250295"/>
                      <a:pt x="163351" y="238188"/>
                      <a:pt x="176640" y="234951"/>
                    </a:cubicBezTo>
                    <a:cubicBezTo>
                      <a:pt x="175242" y="210384"/>
                      <a:pt x="180453" y="185891"/>
                      <a:pt x="191723" y="164067"/>
                    </a:cubicBezTo>
                    <a:cubicBezTo>
                      <a:pt x="186964" y="160161"/>
                      <a:pt x="178737" y="152755"/>
                      <a:pt x="163493" y="138595"/>
                    </a:cubicBezTo>
                    <a:lnTo>
                      <a:pt x="151314" y="138595"/>
                    </a:lnTo>
                    <a:lnTo>
                      <a:pt x="151314" y="154383"/>
                    </a:lnTo>
                    <a:cubicBezTo>
                      <a:pt x="151270" y="157736"/>
                      <a:pt x="148587" y="160443"/>
                      <a:pt x="145264" y="160486"/>
                    </a:cubicBezTo>
                    <a:lnTo>
                      <a:pt x="6049" y="160486"/>
                    </a:lnTo>
                    <a:cubicBezTo>
                      <a:pt x="2708" y="160486"/>
                      <a:pt x="0" y="157754"/>
                      <a:pt x="0" y="154383"/>
                    </a:cubicBezTo>
                    <a:cubicBezTo>
                      <a:pt x="0" y="151012"/>
                      <a:pt x="2708" y="148279"/>
                      <a:pt x="6049" y="148279"/>
                    </a:cubicBezTo>
                    <a:lnTo>
                      <a:pt x="139215" y="148279"/>
                    </a:lnTo>
                    <a:lnTo>
                      <a:pt x="139215" y="132491"/>
                    </a:lnTo>
                    <a:cubicBezTo>
                      <a:pt x="139170" y="129165"/>
                      <a:pt x="141806" y="126433"/>
                      <a:pt x="145102" y="126387"/>
                    </a:cubicBezTo>
                    <a:cubicBezTo>
                      <a:pt x="145156" y="126386"/>
                      <a:pt x="145210" y="126386"/>
                      <a:pt x="145264" y="126387"/>
                    </a:cubicBezTo>
                    <a:lnTo>
                      <a:pt x="165913" y="126387"/>
                    </a:lnTo>
                    <a:cubicBezTo>
                      <a:pt x="167437" y="126395"/>
                      <a:pt x="168903" y="126976"/>
                      <a:pt x="170026" y="128015"/>
                    </a:cubicBezTo>
                    <a:cubicBezTo>
                      <a:pt x="183335" y="140466"/>
                      <a:pt x="198498" y="154220"/>
                      <a:pt x="201805" y="156580"/>
                    </a:cubicBezTo>
                    <a:cubicBezTo>
                      <a:pt x="203025" y="157071"/>
                      <a:pt x="204047" y="157959"/>
                      <a:pt x="204709" y="159103"/>
                    </a:cubicBezTo>
                    <a:cubicBezTo>
                      <a:pt x="205790" y="160991"/>
                      <a:pt x="205790" y="163318"/>
                      <a:pt x="204709" y="165207"/>
                    </a:cubicBezTo>
                    <a:cubicBezTo>
                      <a:pt x="191859" y="187721"/>
                      <a:pt x="186357" y="213745"/>
                      <a:pt x="188981" y="239590"/>
                    </a:cubicBezTo>
                    <a:cubicBezTo>
                      <a:pt x="189168" y="241298"/>
                      <a:pt x="188642" y="243009"/>
                      <a:pt x="187529" y="244310"/>
                    </a:cubicBezTo>
                    <a:cubicBezTo>
                      <a:pt x="186366" y="245540"/>
                      <a:pt x="184776" y="246269"/>
                      <a:pt x="183093" y="246345"/>
                    </a:cubicBezTo>
                    <a:cubicBezTo>
                      <a:pt x="178544" y="246399"/>
                      <a:pt x="174209" y="248307"/>
                      <a:pt x="171075" y="251635"/>
                    </a:cubicBezTo>
                    <a:cubicBezTo>
                      <a:pt x="167869" y="254894"/>
                      <a:pt x="166121" y="259333"/>
                      <a:pt x="166235" y="263923"/>
                    </a:cubicBezTo>
                    <a:cubicBezTo>
                      <a:pt x="166289" y="268513"/>
                      <a:pt x="168180" y="272887"/>
                      <a:pt x="171478" y="276049"/>
                    </a:cubicBezTo>
                    <a:cubicBezTo>
                      <a:pt x="174753" y="279214"/>
                      <a:pt x="179123" y="280967"/>
                      <a:pt x="183657" y="280932"/>
                    </a:cubicBezTo>
                    <a:lnTo>
                      <a:pt x="369170" y="280932"/>
                    </a:lnTo>
                    <a:cubicBezTo>
                      <a:pt x="378656" y="280744"/>
                      <a:pt x="386195" y="272832"/>
                      <a:pt x="386008" y="263260"/>
                    </a:cubicBezTo>
                    <a:cubicBezTo>
                      <a:pt x="385837" y="254455"/>
                      <a:pt x="379149" y="247180"/>
                      <a:pt x="370460" y="246345"/>
                    </a:cubicBezTo>
                    <a:cubicBezTo>
                      <a:pt x="367131" y="246056"/>
                      <a:pt x="364665" y="243099"/>
                      <a:pt x="364951" y="239741"/>
                    </a:cubicBezTo>
                    <a:cubicBezTo>
                      <a:pt x="364972" y="239499"/>
                      <a:pt x="365007" y="239258"/>
                      <a:pt x="365056" y="239020"/>
                    </a:cubicBezTo>
                    <a:cubicBezTo>
                      <a:pt x="370888" y="211863"/>
                      <a:pt x="364639" y="183491"/>
                      <a:pt x="347957" y="161382"/>
                    </a:cubicBezTo>
                    <a:cubicBezTo>
                      <a:pt x="345795" y="158812"/>
                      <a:pt x="346108" y="154960"/>
                      <a:pt x="348655" y="152779"/>
                    </a:cubicBezTo>
                    <a:cubicBezTo>
                      <a:pt x="351203" y="150598"/>
                      <a:pt x="355020" y="150913"/>
                      <a:pt x="357181" y="153484"/>
                    </a:cubicBezTo>
                    <a:cubicBezTo>
                      <a:pt x="357315" y="153641"/>
                      <a:pt x="357439" y="153806"/>
                      <a:pt x="357555" y="153976"/>
                    </a:cubicBezTo>
                    <a:cubicBezTo>
                      <a:pt x="375092" y="177150"/>
                      <a:pt x="382466" y="206557"/>
                      <a:pt x="377961" y="235358"/>
                    </a:cubicBezTo>
                    <a:cubicBezTo>
                      <a:pt x="390100" y="239280"/>
                      <a:pt x="398344" y="250656"/>
                      <a:pt x="398368" y="263517"/>
                    </a:cubicBezTo>
                    <a:cubicBezTo>
                      <a:pt x="398423" y="271341"/>
                      <a:pt x="395339" y="278855"/>
                      <a:pt x="389818" y="284350"/>
                    </a:cubicBezTo>
                    <a:cubicBezTo>
                      <a:pt x="384352" y="289890"/>
                      <a:pt x="376918" y="292996"/>
                      <a:pt x="369170" y="292977"/>
                    </a:cubicBezTo>
                    <a:lnTo>
                      <a:pt x="183415" y="292977"/>
                    </a:lnTo>
                    <a:close/>
                    <a:moveTo>
                      <a:pt x="164380" y="51271"/>
                    </a:moveTo>
                    <a:lnTo>
                      <a:pt x="145264" y="51271"/>
                    </a:lnTo>
                    <a:cubicBezTo>
                      <a:pt x="141923" y="51271"/>
                      <a:pt x="139215" y="48539"/>
                      <a:pt x="139215" y="45168"/>
                    </a:cubicBezTo>
                    <a:lnTo>
                      <a:pt x="139215" y="35646"/>
                    </a:lnTo>
                    <a:lnTo>
                      <a:pt x="6049" y="35646"/>
                    </a:lnTo>
                    <a:cubicBezTo>
                      <a:pt x="2708" y="35646"/>
                      <a:pt x="0" y="32913"/>
                      <a:pt x="0" y="29542"/>
                    </a:cubicBezTo>
                    <a:cubicBezTo>
                      <a:pt x="0" y="26171"/>
                      <a:pt x="2708" y="23439"/>
                      <a:pt x="6049" y="23439"/>
                    </a:cubicBezTo>
                    <a:lnTo>
                      <a:pt x="145264" y="23439"/>
                    </a:lnTo>
                    <a:cubicBezTo>
                      <a:pt x="148605" y="23439"/>
                      <a:pt x="151314" y="26171"/>
                      <a:pt x="151314" y="29542"/>
                    </a:cubicBezTo>
                    <a:lnTo>
                      <a:pt x="151314" y="39064"/>
                    </a:lnTo>
                    <a:lnTo>
                      <a:pt x="161880" y="39064"/>
                    </a:lnTo>
                    <a:lnTo>
                      <a:pt x="196078" y="4721"/>
                    </a:lnTo>
                    <a:cubicBezTo>
                      <a:pt x="198627" y="1735"/>
                      <a:pt x="202336" y="13"/>
                      <a:pt x="206241" y="0"/>
                    </a:cubicBezTo>
                    <a:lnTo>
                      <a:pt x="241731" y="0"/>
                    </a:lnTo>
                    <a:cubicBezTo>
                      <a:pt x="244041" y="-29"/>
                      <a:pt x="246154" y="1308"/>
                      <a:pt x="247135" y="3419"/>
                    </a:cubicBezTo>
                    <a:cubicBezTo>
                      <a:pt x="248177" y="5495"/>
                      <a:pt x="247957" y="7989"/>
                      <a:pt x="246570" y="9848"/>
                    </a:cubicBezTo>
                    <a:lnTo>
                      <a:pt x="234391" y="26124"/>
                    </a:lnTo>
                    <a:cubicBezTo>
                      <a:pt x="232386" y="28821"/>
                      <a:pt x="228595" y="29367"/>
                      <a:pt x="225922" y="27345"/>
                    </a:cubicBezTo>
                    <a:cubicBezTo>
                      <a:pt x="223249" y="25323"/>
                      <a:pt x="222708" y="21497"/>
                      <a:pt x="224712" y="18800"/>
                    </a:cubicBezTo>
                    <a:lnTo>
                      <a:pt x="229551" y="12371"/>
                    </a:lnTo>
                    <a:lnTo>
                      <a:pt x="206241" y="12371"/>
                    </a:lnTo>
                    <a:cubicBezTo>
                      <a:pt x="205731" y="12357"/>
                      <a:pt x="205247" y="12601"/>
                      <a:pt x="204951" y="13022"/>
                    </a:cubicBezTo>
                    <a:lnTo>
                      <a:pt x="168494" y="49644"/>
                    </a:lnTo>
                    <a:cubicBezTo>
                      <a:pt x="167375" y="50690"/>
                      <a:pt x="165905" y="51271"/>
                      <a:pt x="164380" y="51271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20" name="Freihandform 119">
                <a:extLst>
                  <a:ext uri="{FF2B5EF4-FFF2-40B4-BE49-F238E27FC236}">
                    <a16:creationId xmlns:a16="http://schemas.microsoft.com/office/drawing/2014/main" id="{B1A84450-084C-874A-2F23-3B2C08A71500}"/>
                  </a:ext>
                </a:extLst>
              </p:cNvPr>
              <p:cNvSpPr/>
              <p:nvPr/>
            </p:nvSpPr>
            <p:spPr>
              <a:xfrm>
                <a:off x="3987994" y="4602832"/>
                <a:ext cx="55523" cy="74700"/>
              </a:xfrm>
              <a:custGeom>
                <a:avLst/>
                <a:gdLst>
                  <a:gd name="connsiteX0" fmla="*/ 45813 w 55523"/>
                  <a:gd name="connsiteY0" fmla="*/ 74700 h 74700"/>
                  <a:gd name="connsiteX1" fmla="*/ 6049 w 55523"/>
                  <a:gd name="connsiteY1" fmla="*/ 74700 h 74700"/>
                  <a:gd name="connsiteX2" fmla="*/ 0 w 55523"/>
                  <a:gd name="connsiteY2" fmla="*/ 68597 h 74700"/>
                  <a:gd name="connsiteX3" fmla="*/ 6049 w 55523"/>
                  <a:gd name="connsiteY3" fmla="*/ 62493 h 74700"/>
                  <a:gd name="connsiteX4" fmla="*/ 38312 w 55523"/>
                  <a:gd name="connsiteY4" fmla="*/ 62493 h 74700"/>
                  <a:gd name="connsiteX5" fmla="*/ 38312 w 55523"/>
                  <a:gd name="connsiteY5" fmla="*/ 62005 h 74700"/>
                  <a:gd name="connsiteX6" fmla="*/ 30247 w 55523"/>
                  <a:gd name="connsiteY6" fmla="*/ 10246 h 74700"/>
                  <a:gd name="connsiteX7" fmla="*/ 30247 w 55523"/>
                  <a:gd name="connsiteY7" fmla="*/ 1619 h 74700"/>
                  <a:gd name="connsiteX8" fmla="*/ 38570 w 55523"/>
                  <a:gd name="connsiteY8" fmla="*/ 1864 h 74700"/>
                  <a:gd name="connsiteX9" fmla="*/ 38716 w 55523"/>
                  <a:gd name="connsiteY9" fmla="*/ 2026 h 74700"/>
                  <a:gd name="connsiteX10" fmla="*/ 49443 w 55523"/>
                  <a:gd name="connsiteY10" fmla="*/ 67701 h 74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5523" h="74700">
                    <a:moveTo>
                      <a:pt x="45813" y="74700"/>
                    </a:moveTo>
                    <a:lnTo>
                      <a:pt x="6049" y="74700"/>
                    </a:lnTo>
                    <a:cubicBezTo>
                      <a:pt x="2708" y="74700"/>
                      <a:pt x="0" y="71968"/>
                      <a:pt x="0" y="68597"/>
                    </a:cubicBezTo>
                    <a:cubicBezTo>
                      <a:pt x="0" y="65226"/>
                      <a:pt x="2708" y="62493"/>
                      <a:pt x="6049" y="62493"/>
                    </a:cubicBezTo>
                    <a:lnTo>
                      <a:pt x="38312" y="62493"/>
                    </a:lnTo>
                    <a:lnTo>
                      <a:pt x="38312" y="62005"/>
                    </a:lnTo>
                    <a:cubicBezTo>
                      <a:pt x="47144" y="44831"/>
                      <a:pt x="43875" y="23857"/>
                      <a:pt x="30247" y="10246"/>
                    </a:cubicBezTo>
                    <a:cubicBezTo>
                      <a:pt x="27887" y="7863"/>
                      <a:pt x="27887" y="4002"/>
                      <a:pt x="30247" y="1619"/>
                    </a:cubicBezTo>
                    <a:cubicBezTo>
                      <a:pt x="32612" y="-632"/>
                      <a:pt x="36339" y="-522"/>
                      <a:pt x="38570" y="1864"/>
                    </a:cubicBezTo>
                    <a:cubicBezTo>
                      <a:pt x="38620" y="1917"/>
                      <a:pt x="38668" y="1971"/>
                      <a:pt x="38716" y="2026"/>
                    </a:cubicBezTo>
                    <a:cubicBezTo>
                      <a:pt x="56176" y="19177"/>
                      <a:pt x="60525" y="45804"/>
                      <a:pt x="49443" y="67701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21" name="Freihandform 120">
                <a:extLst>
                  <a:ext uri="{FF2B5EF4-FFF2-40B4-BE49-F238E27FC236}">
                    <a16:creationId xmlns:a16="http://schemas.microsoft.com/office/drawing/2014/main" id="{F99BB5FC-CAD8-EF54-5340-988D90CB52FA}"/>
                  </a:ext>
                </a:extLst>
              </p:cNvPr>
              <p:cNvSpPr/>
              <p:nvPr/>
            </p:nvSpPr>
            <p:spPr>
              <a:xfrm>
                <a:off x="3705854" y="4646688"/>
                <a:ext cx="67994" cy="12207"/>
              </a:xfrm>
              <a:custGeom>
                <a:avLst/>
                <a:gdLst>
                  <a:gd name="connsiteX0" fmla="*/ 61945 w 67994"/>
                  <a:gd name="connsiteY0" fmla="*/ 12207 h 12207"/>
                  <a:gd name="connsiteX1" fmla="*/ 6049 w 67994"/>
                  <a:gd name="connsiteY1" fmla="*/ 12207 h 12207"/>
                  <a:gd name="connsiteX2" fmla="*/ 0 w 67994"/>
                  <a:gd name="connsiteY2" fmla="*/ 6104 h 12207"/>
                  <a:gd name="connsiteX3" fmla="*/ 6049 w 67994"/>
                  <a:gd name="connsiteY3" fmla="*/ 0 h 12207"/>
                  <a:gd name="connsiteX4" fmla="*/ 61945 w 67994"/>
                  <a:gd name="connsiteY4" fmla="*/ 0 h 12207"/>
                  <a:gd name="connsiteX5" fmla="*/ 67994 w 67994"/>
                  <a:gd name="connsiteY5" fmla="*/ 6104 h 12207"/>
                  <a:gd name="connsiteX6" fmla="*/ 61945 w 67994"/>
                  <a:gd name="connsiteY6" fmla="*/ 12207 h 12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7994" h="12207">
                    <a:moveTo>
                      <a:pt x="61945" y="12207"/>
                    </a:moveTo>
                    <a:lnTo>
                      <a:pt x="6049" y="12207"/>
                    </a:lnTo>
                    <a:cubicBezTo>
                      <a:pt x="2708" y="12207"/>
                      <a:pt x="0" y="9475"/>
                      <a:pt x="0" y="6104"/>
                    </a:cubicBezTo>
                    <a:cubicBezTo>
                      <a:pt x="0" y="2733"/>
                      <a:pt x="2708" y="0"/>
                      <a:pt x="6049" y="0"/>
                    </a:cubicBezTo>
                    <a:lnTo>
                      <a:pt x="61945" y="0"/>
                    </a:lnTo>
                    <a:cubicBezTo>
                      <a:pt x="65286" y="0"/>
                      <a:pt x="67994" y="2733"/>
                      <a:pt x="67994" y="6104"/>
                    </a:cubicBezTo>
                    <a:cubicBezTo>
                      <a:pt x="67994" y="9475"/>
                      <a:pt x="65286" y="12207"/>
                      <a:pt x="61945" y="1220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22" name="Freihandform 121">
                <a:extLst>
                  <a:ext uri="{FF2B5EF4-FFF2-40B4-BE49-F238E27FC236}">
                    <a16:creationId xmlns:a16="http://schemas.microsoft.com/office/drawing/2014/main" id="{63AC3BB7-DD56-FC02-7E82-305E0105DCEA}"/>
                  </a:ext>
                </a:extLst>
              </p:cNvPr>
              <p:cNvSpPr/>
              <p:nvPr/>
            </p:nvSpPr>
            <p:spPr>
              <a:xfrm>
                <a:off x="3705854" y="4664837"/>
                <a:ext cx="57589" cy="12207"/>
              </a:xfrm>
              <a:custGeom>
                <a:avLst/>
                <a:gdLst>
                  <a:gd name="connsiteX0" fmla="*/ 51540 w 57589"/>
                  <a:gd name="connsiteY0" fmla="*/ 12207 h 12207"/>
                  <a:gd name="connsiteX1" fmla="*/ 6049 w 57589"/>
                  <a:gd name="connsiteY1" fmla="*/ 12207 h 12207"/>
                  <a:gd name="connsiteX2" fmla="*/ 0 w 57589"/>
                  <a:gd name="connsiteY2" fmla="*/ 6104 h 12207"/>
                  <a:gd name="connsiteX3" fmla="*/ 6049 w 57589"/>
                  <a:gd name="connsiteY3" fmla="*/ 0 h 12207"/>
                  <a:gd name="connsiteX4" fmla="*/ 51540 w 57589"/>
                  <a:gd name="connsiteY4" fmla="*/ 0 h 12207"/>
                  <a:gd name="connsiteX5" fmla="*/ 57589 w 57589"/>
                  <a:gd name="connsiteY5" fmla="*/ 6104 h 12207"/>
                  <a:gd name="connsiteX6" fmla="*/ 51540 w 57589"/>
                  <a:gd name="connsiteY6" fmla="*/ 12207 h 12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589" h="12207">
                    <a:moveTo>
                      <a:pt x="51540" y="12207"/>
                    </a:moveTo>
                    <a:lnTo>
                      <a:pt x="6049" y="12207"/>
                    </a:lnTo>
                    <a:cubicBezTo>
                      <a:pt x="2708" y="12207"/>
                      <a:pt x="0" y="9475"/>
                      <a:pt x="0" y="6104"/>
                    </a:cubicBezTo>
                    <a:cubicBezTo>
                      <a:pt x="0" y="2733"/>
                      <a:pt x="2708" y="0"/>
                      <a:pt x="6049" y="0"/>
                    </a:cubicBezTo>
                    <a:lnTo>
                      <a:pt x="51540" y="0"/>
                    </a:lnTo>
                    <a:cubicBezTo>
                      <a:pt x="54881" y="0"/>
                      <a:pt x="57589" y="2733"/>
                      <a:pt x="57589" y="6104"/>
                    </a:cubicBezTo>
                    <a:cubicBezTo>
                      <a:pt x="57589" y="9475"/>
                      <a:pt x="54881" y="12207"/>
                      <a:pt x="51540" y="1220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23" name="Freihandform 122">
                <a:extLst>
                  <a:ext uri="{FF2B5EF4-FFF2-40B4-BE49-F238E27FC236}">
                    <a16:creationId xmlns:a16="http://schemas.microsoft.com/office/drawing/2014/main" id="{9DB260A5-1AB9-4207-220E-F6D05E5AC901}"/>
                  </a:ext>
                </a:extLst>
              </p:cNvPr>
              <p:cNvSpPr/>
              <p:nvPr/>
            </p:nvSpPr>
            <p:spPr>
              <a:xfrm>
                <a:off x="3719566" y="4609489"/>
                <a:ext cx="75969" cy="103689"/>
              </a:xfrm>
              <a:custGeom>
                <a:avLst/>
                <a:gdLst>
                  <a:gd name="connsiteX0" fmla="*/ 39361 w 75969"/>
                  <a:gd name="connsiteY0" fmla="*/ 103689 h 103689"/>
                  <a:gd name="connsiteX1" fmla="*/ 0 w 75969"/>
                  <a:gd name="connsiteY1" fmla="*/ 64056 h 103689"/>
                  <a:gd name="connsiteX2" fmla="*/ 0 w 75969"/>
                  <a:gd name="connsiteY2" fmla="*/ 39641 h 103689"/>
                  <a:gd name="connsiteX3" fmla="*/ 39272 w 75969"/>
                  <a:gd name="connsiteY3" fmla="*/ 0 h 103689"/>
                  <a:gd name="connsiteX4" fmla="*/ 74608 w 75969"/>
                  <a:gd name="connsiteY4" fmla="*/ 22307 h 103689"/>
                  <a:gd name="connsiteX5" fmla="*/ 71826 w 75969"/>
                  <a:gd name="connsiteY5" fmla="*/ 30486 h 103689"/>
                  <a:gd name="connsiteX6" fmla="*/ 63719 w 75969"/>
                  <a:gd name="connsiteY6" fmla="*/ 27678 h 103689"/>
                  <a:gd name="connsiteX7" fmla="*/ 27382 w 75969"/>
                  <a:gd name="connsiteY7" fmla="*/ 15024 h 103689"/>
                  <a:gd name="connsiteX8" fmla="*/ 12099 w 75969"/>
                  <a:gd name="connsiteY8" fmla="*/ 39723 h 103689"/>
                  <a:gd name="connsiteX9" fmla="*/ 12099 w 75969"/>
                  <a:gd name="connsiteY9" fmla="*/ 64137 h 103689"/>
                  <a:gd name="connsiteX10" fmla="*/ 39131 w 75969"/>
                  <a:gd name="connsiteY10" fmla="*/ 91713 h 103689"/>
                  <a:gd name="connsiteX11" fmla="*/ 64284 w 75969"/>
                  <a:gd name="connsiteY11" fmla="*/ 75043 h 103689"/>
                  <a:gd name="connsiteX12" fmla="*/ 72350 w 75969"/>
                  <a:gd name="connsiteY12" fmla="*/ 71869 h 103689"/>
                  <a:gd name="connsiteX13" fmla="*/ 75458 w 75969"/>
                  <a:gd name="connsiteY13" fmla="*/ 79911 h 103689"/>
                  <a:gd name="connsiteX14" fmla="*/ 75415 w 75969"/>
                  <a:gd name="connsiteY14" fmla="*/ 80007 h 103689"/>
                  <a:gd name="connsiteX15" fmla="*/ 39361 w 75969"/>
                  <a:gd name="connsiteY15" fmla="*/ 103689 h 103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75969" h="103689">
                    <a:moveTo>
                      <a:pt x="39361" y="103689"/>
                    </a:moveTo>
                    <a:cubicBezTo>
                      <a:pt x="17654" y="103689"/>
                      <a:pt x="45" y="85958"/>
                      <a:pt x="0" y="64056"/>
                    </a:cubicBezTo>
                    <a:lnTo>
                      <a:pt x="0" y="39641"/>
                    </a:lnTo>
                    <a:cubicBezTo>
                      <a:pt x="-5" y="17753"/>
                      <a:pt x="17578" y="4"/>
                      <a:pt x="39272" y="0"/>
                    </a:cubicBezTo>
                    <a:cubicBezTo>
                      <a:pt x="54312" y="-3"/>
                      <a:pt x="68033" y="8658"/>
                      <a:pt x="74608" y="22307"/>
                    </a:cubicBezTo>
                    <a:cubicBezTo>
                      <a:pt x="76079" y="25341"/>
                      <a:pt x="74832" y="29002"/>
                      <a:pt x="71826" y="30486"/>
                    </a:cubicBezTo>
                    <a:cubicBezTo>
                      <a:pt x="68819" y="31969"/>
                      <a:pt x="65190" y="30712"/>
                      <a:pt x="63719" y="27678"/>
                    </a:cubicBezTo>
                    <a:cubicBezTo>
                      <a:pt x="57148" y="14060"/>
                      <a:pt x="40880" y="8394"/>
                      <a:pt x="27382" y="15024"/>
                    </a:cubicBezTo>
                    <a:cubicBezTo>
                      <a:pt x="18019" y="19623"/>
                      <a:pt x="12084" y="29215"/>
                      <a:pt x="12099" y="39723"/>
                    </a:cubicBezTo>
                    <a:lnTo>
                      <a:pt x="12099" y="64137"/>
                    </a:lnTo>
                    <a:cubicBezTo>
                      <a:pt x="12017" y="79284"/>
                      <a:pt x="24120" y="91630"/>
                      <a:pt x="39131" y="91713"/>
                    </a:cubicBezTo>
                    <a:cubicBezTo>
                      <a:pt x="50077" y="91773"/>
                      <a:pt x="59991" y="85202"/>
                      <a:pt x="64284" y="75043"/>
                    </a:cubicBezTo>
                    <a:cubicBezTo>
                      <a:pt x="65646" y="71922"/>
                      <a:pt x="69253" y="70503"/>
                      <a:pt x="72350" y="71869"/>
                    </a:cubicBezTo>
                    <a:cubicBezTo>
                      <a:pt x="75409" y="73224"/>
                      <a:pt x="76801" y="76824"/>
                      <a:pt x="75458" y="79911"/>
                    </a:cubicBezTo>
                    <a:cubicBezTo>
                      <a:pt x="75444" y="79943"/>
                      <a:pt x="75429" y="79975"/>
                      <a:pt x="75415" y="80007"/>
                    </a:cubicBezTo>
                    <a:cubicBezTo>
                      <a:pt x="69114" y="94416"/>
                      <a:pt x="54970" y="103706"/>
                      <a:pt x="39361" y="103689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24" name="Freihandform 123">
                <a:extLst>
                  <a:ext uri="{FF2B5EF4-FFF2-40B4-BE49-F238E27FC236}">
                    <a16:creationId xmlns:a16="http://schemas.microsoft.com/office/drawing/2014/main" id="{E4AD879D-DEBE-085E-332B-B5080952AF7C}"/>
                  </a:ext>
                </a:extLst>
              </p:cNvPr>
              <p:cNvSpPr/>
              <p:nvPr/>
            </p:nvSpPr>
            <p:spPr>
              <a:xfrm>
                <a:off x="4094543" y="4462927"/>
                <a:ext cx="67994" cy="12207"/>
              </a:xfrm>
              <a:custGeom>
                <a:avLst/>
                <a:gdLst>
                  <a:gd name="connsiteX0" fmla="*/ 61945 w 67994"/>
                  <a:gd name="connsiteY0" fmla="*/ 12207 h 12207"/>
                  <a:gd name="connsiteX1" fmla="*/ 6049 w 67994"/>
                  <a:gd name="connsiteY1" fmla="*/ 12207 h 12207"/>
                  <a:gd name="connsiteX2" fmla="*/ 0 w 67994"/>
                  <a:gd name="connsiteY2" fmla="*/ 6104 h 12207"/>
                  <a:gd name="connsiteX3" fmla="*/ 6049 w 67994"/>
                  <a:gd name="connsiteY3" fmla="*/ 0 h 12207"/>
                  <a:gd name="connsiteX4" fmla="*/ 61945 w 67994"/>
                  <a:gd name="connsiteY4" fmla="*/ 0 h 12207"/>
                  <a:gd name="connsiteX5" fmla="*/ 67994 w 67994"/>
                  <a:gd name="connsiteY5" fmla="*/ 6104 h 12207"/>
                  <a:gd name="connsiteX6" fmla="*/ 61945 w 67994"/>
                  <a:gd name="connsiteY6" fmla="*/ 12207 h 12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7994" h="12207">
                    <a:moveTo>
                      <a:pt x="61945" y="12207"/>
                    </a:moveTo>
                    <a:lnTo>
                      <a:pt x="6049" y="12207"/>
                    </a:lnTo>
                    <a:cubicBezTo>
                      <a:pt x="2708" y="12207"/>
                      <a:pt x="0" y="9475"/>
                      <a:pt x="0" y="6104"/>
                    </a:cubicBezTo>
                    <a:cubicBezTo>
                      <a:pt x="0" y="2733"/>
                      <a:pt x="2708" y="0"/>
                      <a:pt x="6049" y="0"/>
                    </a:cubicBezTo>
                    <a:lnTo>
                      <a:pt x="61945" y="0"/>
                    </a:lnTo>
                    <a:cubicBezTo>
                      <a:pt x="65286" y="0"/>
                      <a:pt x="67994" y="2733"/>
                      <a:pt x="67994" y="6104"/>
                    </a:cubicBezTo>
                    <a:cubicBezTo>
                      <a:pt x="67994" y="9475"/>
                      <a:pt x="65286" y="12207"/>
                      <a:pt x="61945" y="1220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25" name="Freihandform 124">
                <a:extLst>
                  <a:ext uri="{FF2B5EF4-FFF2-40B4-BE49-F238E27FC236}">
                    <a16:creationId xmlns:a16="http://schemas.microsoft.com/office/drawing/2014/main" id="{2554D58B-8DBA-C8C0-E0DB-D5C91FAAAF52}"/>
                  </a:ext>
                </a:extLst>
              </p:cNvPr>
              <p:cNvSpPr/>
              <p:nvPr/>
            </p:nvSpPr>
            <p:spPr>
              <a:xfrm>
                <a:off x="4094543" y="4481238"/>
                <a:ext cx="57589" cy="12207"/>
              </a:xfrm>
              <a:custGeom>
                <a:avLst/>
                <a:gdLst>
                  <a:gd name="connsiteX0" fmla="*/ 51540 w 57589"/>
                  <a:gd name="connsiteY0" fmla="*/ 12207 h 12207"/>
                  <a:gd name="connsiteX1" fmla="*/ 6049 w 57589"/>
                  <a:gd name="connsiteY1" fmla="*/ 12207 h 12207"/>
                  <a:gd name="connsiteX2" fmla="*/ 0 w 57589"/>
                  <a:gd name="connsiteY2" fmla="*/ 6104 h 12207"/>
                  <a:gd name="connsiteX3" fmla="*/ 6049 w 57589"/>
                  <a:gd name="connsiteY3" fmla="*/ 0 h 12207"/>
                  <a:gd name="connsiteX4" fmla="*/ 51540 w 57589"/>
                  <a:gd name="connsiteY4" fmla="*/ 0 h 12207"/>
                  <a:gd name="connsiteX5" fmla="*/ 57589 w 57589"/>
                  <a:gd name="connsiteY5" fmla="*/ 6104 h 12207"/>
                  <a:gd name="connsiteX6" fmla="*/ 51540 w 57589"/>
                  <a:gd name="connsiteY6" fmla="*/ 12207 h 12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589" h="12207">
                    <a:moveTo>
                      <a:pt x="51540" y="12207"/>
                    </a:moveTo>
                    <a:lnTo>
                      <a:pt x="6049" y="12207"/>
                    </a:lnTo>
                    <a:cubicBezTo>
                      <a:pt x="2708" y="12207"/>
                      <a:pt x="0" y="9475"/>
                      <a:pt x="0" y="6104"/>
                    </a:cubicBezTo>
                    <a:cubicBezTo>
                      <a:pt x="0" y="2733"/>
                      <a:pt x="2708" y="0"/>
                      <a:pt x="6049" y="0"/>
                    </a:cubicBezTo>
                    <a:lnTo>
                      <a:pt x="51540" y="0"/>
                    </a:lnTo>
                    <a:cubicBezTo>
                      <a:pt x="54881" y="0"/>
                      <a:pt x="57589" y="2733"/>
                      <a:pt x="57589" y="6104"/>
                    </a:cubicBezTo>
                    <a:cubicBezTo>
                      <a:pt x="57589" y="9475"/>
                      <a:pt x="54881" y="12207"/>
                      <a:pt x="51540" y="1220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26" name="Freihandform 125">
                <a:extLst>
                  <a:ext uri="{FF2B5EF4-FFF2-40B4-BE49-F238E27FC236}">
                    <a16:creationId xmlns:a16="http://schemas.microsoft.com/office/drawing/2014/main" id="{E90F0250-CD61-02B2-2831-26569E06C187}"/>
                  </a:ext>
                </a:extLst>
              </p:cNvPr>
              <p:cNvSpPr/>
              <p:nvPr/>
            </p:nvSpPr>
            <p:spPr>
              <a:xfrm>
                <a:off x="4108255" y="4426377"/>
                <a:ext cx="75803" cy="103283"/>
              </a:xfrm>
              <a:custGeom>
                <a:avLst/>
                <a:gdLst>
                  <a:gd name="connsiteX0" fmla="*/ 39361 w 75803"/>
                  <a:gd name="connsiteY0" fmla="*/ 103283 h 103283"/>
                  <a:gd name="connsiteX1" fmla="*/ 0 w 75803"/>
                  <a:gd name="connsiteY1" fmla="*/ 63569 h 103283"/>
                  <a:gd name="connsiteX2" fmla="*/ 0 w 75803"/>
                  <a:gd name="connsiteY2" fmla="*/ 39154 h 103283"/>
                  <a:gd name="connsiteX3" fmla="*/ 39752 w 75803"/>
                  <a:gd name="connsiteY3" fmla="*/ 3 h 103283"/>
                  <a:gd name="connsiteX4" fmla="*/ 74366 w 75803"/>
                  <a:gd name="connsiteY4" fmla="*/ 21819 h 103283"/>
                  <a:gd name="connsiteX5" fmla="*/ 71624 w 75803"/>
                  <a:gd name="connsiteY5" fmla="*/ 30039 h 103283"/>
                  <a:gd name="connsiteX6" fmla="*/ 63478 w 75803"/>
                  <a:gd name="connsiteY6" fmla="*/ 27272 h 103283"/>
                  <a:gd name="connsiteX7" fmla="*/ 27140 w 75803"/>
                  <a:gd name="connsiteY7" fmla="*/ 14618 h 103283"/>
                  <a:gd name="connsiteX8" fmla="*/ 11857 w 75803"/>
                  <a:gd name="connsiteY8" fmla="*/ 39235 h 103283"/>
                  <a:gd name="connsiteX9" fmla="*/ 11857 w 75803"/>
                  <a:gd name="connsiteY9" fmla="*/ 63650 h 103283"/>
                  <a:gd name="connsiteX10" fmla="*/ 38807 w 75803"/>
                  <a:gd name="connsiteY10" fmla="*/ 91308 h 103283"/>
                  <a:gd name="connsiteX11" fmla="*/ 64042 w 75803"/>
                  <a:gd name="connsiteY11" fmla="*/ 74637 h 103283"/>
                  <a:gd name="connsiteX12" fmla="*/ 71749 w 75803"/>
                  <a:gd name="connsiteY12" fmla="*/ 70890 h 103283"/>
                  <a:gd name="connsiteX13" fmla="*/ 75462 w 75803"/>
                  <a:gd name="connsiteY13" fmla="*/ 78667 h 103283"/>
                  <a:gd name="connsiteX14" fmla="*/ 75092 w 75803"/>
                  <a:gd name="connsiteY14" fmla="*/ 79520 h 103283"/>
                  <a:gd name="connsiteX15" fmla="*/ 39361 w 75803"/>
                  <a:gd name="connsiteY15" fmla="*/ 103283 h 103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75803" h="103283">
                    <a:moveTo>
                      <a:pt x="39361" y="103283"/>
                    </a:moveTo>
                    <a:cubicBezTo>
                      <a:pt x="17641" y="103238"/>
                      <a:pt x="44" y="85484"/>
                      <a:pt x="0" y="63569"/>
                    </a:cubicBezTo>
                    <a:lnTo>
                      <a:pt x="0" y="39154"/>
                    </a:lnTo>
                    <a:cubicBezTo>
                      <a:pt x="262" y="17267"/>
                      <a:pt x="18060" y="-262"/>
                      <a:pt x="39752" y="3"/>
                    </a:cubicBezTo>
                    <a:cubicBezTo>
                      <a:pt x="54423" y="182"/>
                      <a:pt x="67772" y="8596"/>
                      <a:pt x="74366" y="21819"/>
                    </a:cubicBezTo>
                    <a:cubicBezTo>
                      <a:pt x="75858" y="24853"/>
                      <a:pt x="74631" y="28533"/>
                      <a:pt x="71624" y="30039"/>
                    </a:cubicBezTo>
                    <a:cubicBezTo>
                      <a:pt x="68617" y="31545"/>
                      <a:pt x="64970" y="30306"/>
                      <a:pt x="63478" y="27272"/>
                    </a:cubicBezTo>
                    <a:cubicBezTo>
                      <a:pt x="56906" y="13654"/>
                      <a:pt x="40638" y="7988"/>
                      <a:pt x="27140" y="14618"/>
                    </a:cubicBezTo>
                    <a:cubicBezTo>
                      <a:pt x="17804" y="19205"/>
                      <a:pt x="11873" y="28757"/>
                      <a:pt x="11857" y="39235"/>
                    </a:cubicBezTo>
                    <a:lnTo>
                      <a:pt x="11857" y="63650"/>
                    </a:lnTo>
                    <a:cubicBezTo>
                      <a:pt x="11729" y="78796"/>
                      <a:pt x="23796" y="91179"/>
                      <a:pt x="38807" y="91308"/>
                    </a:cubicBezTo>
                    <a:cubicBezTo>
                      <a:pt x="49783" y="91401"/>
                      <a:pt x="59738" y="84825"/>
                      <a:pt x="64042" y="74637"/>
                    </a:cubicBezTo>
                    <a:cubicBezTo>
                      <a:pt x="65145" y="71455"/>
                      <a:pt x="68595" y="69777"/>
                      <a:pt x="71749" y="70890"/>
                    </a:cubicBezTo>
                    <a:cubicBezTo>
                      <a:pt x="74903" y="72003"/>
                      <a:pt x="76565" y="75485"/>
                      <a:pt x="75462" y="78667"/>
                    </a:cubicBezTo>
                    <a:cubicBezTo>
                      <a:pt x="75361" y="78960"/>
                      <a:pt x="75237" y="79245"/>
                      <a:pt x="75092" y="79520"/>
                    </a:cubicBezTo>
                    <a:cubicBezTo>
                      <a:pt x="68863" y="93853"/>
                      <a:pt x="54871" y="103158"/>
                      <a:pt x="39361" y="103283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27" name="Freihandform 126">
                <a:extLst>
                  <a:ext uri="{FF2B5EF4-FFF2-40B4-BE49-F238E27FC236}">
                    <a16:creationId xmlns:a16="http://schemas.microsoft.com/office/drawing/2014/main" id="{2CA47A2D-905B-4ABD-F983-6B7E6877E766}"/>
                  </a:ext>
                </a:extLst>
              </p:cNvPr>
              <p:cNvSpPr/>
              <p:nvPr/>
            </p:nvSpPr>
            <p:spPr>
              <a:xfrm>
                <a:off x="3783366" y="4454789"/>
                <a:ext cx="12098" cy="136885"/>
              </a:xfrm>
              <a:custGeom>
                <a:avLst/>
                <a:gdLst>
                  <a:gd name="connsiteX0" fmla="*/ 6049 w 12098"/>
                  <a:gd name="connsiteY0" fmla="*/ 136885 h 136885"/>
                  <a:gd name="connsiteX1" fmla="*/ 0 w 12098"/>
                  <a:gd name="connsiteY1" fmla="*/ 130781 h 136885"/>
                  <a:gd name="connsiteX2" fmla="*/ 0 w 12098"/>
                  <a:gd name="connsiteY2" fmla="*/ 6104 h 136885"/>
                  <a:gd name="connsiteX3" fmla="*/ 6049 w 12098"/>
                  <a:gd name="connsiteY3" fmla="*/ 0 h 136885"/>
                  <a:gd name="connsiteX4" fmla="*/ 12099 w 12098"/>
                  <a:gd name="connsiteY4" fmla="*/ 6104 h 136885"/>
                  <a:gd name="connsiteX5" fmla="*/ 12099 w 12098"/>
                  <a:gd name="connsiteY5" fmla="*/ 130781 h 136885"/>
                  <a:gd name="connsiteX6" fmla="*/ 6049 w 12098"/>
                  <a:gd name="connsiteY6" fmla="*/ 136885 h 136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098" h="136885">
                    <a:moveTo>
                      <a:pt x="6049" y="136885"/>
                    </a:moveTo>
                    <a:cubicBezTo>
                      <a:pt x="2708" y="136885"/>
                      <a:pt x="0" y="134152"/>
                      <a:pt x="0" y="130781"/>
                    </a:cubicBezTo>
                    <a:lnTo>
                      <a:pt x="0" y="6104"/>
                    </a:lnTo>
                    <a:cubicBezTo>
                      <a:pt x="0" y="2733"/>
                      <a:pt x="2708" y="0"/>
                      <a:pt x="6049" y="0"/>
                    </a:cubicBezTo>
                    <a:cubicBezTo>
                      <a:pt x="9390" y="0"/>
                      <a:pt x="12099" y="2733"/>
                      <a:pt x="12099" y="6104"/>
                    </a:cubicBezTo>
                    <a:lnTo>
                      <a:pt x="12099" y="130781"/>
                    </a:lnTo>
                    <a:cubicBezTo>
                      <a:pt x="12055" y="134134"/>
                      <a:pt x="9372" y="136841"/>
                      <a:pt x="6049" y="136885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28" name="Freihandform 127">
                <a:extLst>
                  <a:ext uri="{FF2B5EF4-FFF2-40B4-BE49-F238E27FC236}">
                    <a16:creationId xmlns:a16="http://schemas.microsoft.com/office/drawing/2014/main" id="{88219321-7D19-5E5E-27F3-881D018D8E4C}"/>
                  </a:ext>
                </a:extLst>
              </p:cNvPr>
              <p:cNvSpPr/>
              <p:nvPr/>
            </p:nvSpPr>
            <p:spPr>
              <a:xfrm>
                <a:off x="3917742" y="4447423"/>
                <a:ext cx="145169" cy="46063"/>
              </a:xfrm>
              <a:custGeom>
                <a:avLst/>
                <a:gdLst>
                  <a:gd name="connsiteX0" fmla="*/ 120986 w 145169"/>
                  <a:gd name="connsiteY0" fmla="*/ 46022 h 46063"/>
                  <a:gd name="connsiteX1" fmla="*/ 6049 w 145169"/>
                  <a:gd name="connsiteY1" fmla="*/ 46022 h 46063"/>
                  <a:gd name="connsiteX2" fmla="*/ 0 w 145169"/>
                  <a:gd name="connsiteY2" fmla="*/ 39919 h 46063"/>
                  <a:gd name="connsiteX3" fmla="*/ 6049 w 145169"/>
                  <a:gd name="connsiteY3" fmla="*/ 33815 h 46063"/>
                  <a:gd name="connsiteX4" fmla="*/ 120986 w 145169"/>
                  <a:gd name="connsiteY4" fmla="*/ 33815 h 46063"/>
                  <a:gd name="connsiteX5" fmla="*/ 132603 w 145169"/>
                  <a:gd name="connsiteY5" fmla="*/ 23969 h 46063"/>
                  <a:gd name="connsiteX6" fmla="*/ 122845 w 145169"/>
                  <a:gd name="connsiteY6" fmla="*/ 12249 h 46063"/>
                  <a:gd name="connsiteX7" fmla="*/ 120986 w 145169"/>
                  <a:gd name="connsiteY7" fmla="*/ 12249 h 46063"/>
                  <a:gd name="connsiteX8" fmla="*/ 7582 w 145169"/>
                  <a:gd name="connsiteY8" fmla="*/ 12249 h 46063"/>
                  <a:gd name="connsiteX9" fmla="*/ 1532 w 145169"/>
                  <a:gd name="connsiteY9" fmla="*/ 6145 h 46063"/>
                  <a:gd name="connsiteX10" fmla="*/ 7582 w 145169"/>
                  <a:gd name="connsiteY10" fmla="*/ 41 h 46063"/>
                  <a:gd name="connsiteX11" fmla="*/ 120986 w 145169"/>
                  <a:gd name="connsiteY11" fmla="*/ 41 h 46063"/>
                  <a:gd name="connsiteX12" fmla="*/ 145129 w 145169"/>
                  <a:gd name="connsiteY12" fmla="*/ 21663 h 46063"/>
                  <a:gd name="connsiteX13" fmla="*/ 123699 w 145169"/>
                  <a:gd name="connsiteY13" fmla="*/ 46022 h 46063"/>
                  <a:gd name="connsiteX14" fmla="*/ 120986 w 145169"/>
                  <a:gd name="connsiteY14" fmla="*/ 46022 h 46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5169" h="46063">
                    <a:moveTo>
                      <a:pt x="120986" y="46022"/>
                    </a:moveTo>
                    <a:lnTo>
                      <a:pt x="6049" y="46022"/>
                    </a:lnTo>
                    <a:cubicBezTo>
                      <a:pt x="2708" y="46022"/>
                      <a:pt x="0" y="43290"/>
                      <a:pt x="0" y="39919"/>
                    </a:cubicBezTo>
                    <a:cubicBezTo>
                      <a:pt x="0" y="36548"/>
                      <a:pt x="2708" y="33815"/>
                      <a:pt x="6049" y="33815"/>
                    </a:cubicBezTo>
                    <a:lnTo>
                      <a:pt x="120986" y="33815"/>
                    </a:lnTo>
                    <a:cubicBezTo>
                      <a:pt x="126889" y="34333"/>
                      <a:pt x="132090" y="29925"/>
                      <a:pt x="132603" y="23969"/>
                    </a:cubicBezTo>
                    <a:cubicBezTo>
                      <a:pt x="133116" y="18014"/>
                      <a:pt x="128747" y="12766"/>
                      <a:pt x="122845" y="12249"/>
                    </a:cubicBezTo>
                    <a:cubicBezTo>
                      <a:pt x="122227" y="12194"/>
                      <a:pt x="121605" y="12194"/>
                      <a:pt x="120986" y="12249"/>
                    </a:cubicBezTo>
                    <a:lnTo>
                      <a:pt x="7582" y="12249"/>
                    </a:lnTo>
                    <a:cubicBezTo>
                      <a:pt x="4241" y="12249"/>
                      <a:pt x="1532" y="9516"/>
                      <a:pt x="1532" y="6145"/>
                    </a:cubicBezTo>
                    <a:cubicBezTo>
                      <a:pt x="1532" y="2774"/>
                      <a:pt x="4241" y="41"/>
                      <a:pt x="7582" y="41"/>
                    </a:cubicBezTo>
                    <a:lnTo>
                      <a:pt x="120986" y="41"/>
                    </a:lnTo>
                    <a:cubicBezTo>
                      <a:pt x="133571" y="-715"/>
                      <a:pt x="144379" y="8966"/>
                      <a:pt x="145129" y="21663"/>
                    </a:cubicBezTo>
                    <a:cubicBezTo>
                      <a:pt x="145877" y="34361"/>
                      <a:pt x="136283" y="45266"/>
                      <a:pt x="123699" y="46022"/>
                    </a:cubicBezTo>
                    <a:cubicBezTo>
                      <a:pt x="122795" y="46077"/>
                      <a:pt x="121890" y="46077"/>
                      <a:pt x="120986" y="46022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29" name="Freihandform 128">
                <a:extLst>
                  <a:ext uri="{FF2B5EF4-FFF2-40B4-BE49-F238E27FC236}">
                    <a16:creationId xmlns:a16="http://schemas.microsoft.com/office/drawing/2014/main" id="{EC869A9A-3A35-78EF-E372-95BB536695C2}"/>
                  </a:ext>
                </a:extLst>
              </p:cNvPr>
              <p:cNvSpPr/>
              <p:nvPr/>
            </p:nvSpPr>
            <p:spPr>
              <a:xfrm>
                <a:off x="3917742" y="4514889"/>
                <a:ext cx="145169" cy="46063"/>
              </a:xfrm>
              <a:custGeom>
                <a:avLst/>
                <a:gdLst>
                  <a:gd name="connsiteX0" fmla="*/ 120986 w 145169"/>
                  <a:gd name="connsiteY0" fmla="*/ 46022 h 46063"/>
                  <a:gd name="connsiteX1" fmla="*/ 6049 w 145169"/>
                  <a:gd name="connsiteY1" fmla="*/ 46022 h 46063"/>
                  <a:gd name="connsiteX2" fmla="*/ 0 w 145169"/>
                  <a:gd name="connsiteY2" fmla="*/ 39919 h 46063"/>
                  <a:gd name="connsiteX3" fmla="*/ 6049 w 145169"/>
                  <a:gd name="connsiteY3" fmla="*/ 33815 h 46063"/>
                  <a:gd name="connsiteX4" fmla="*/ 120986 w 145169"/>
                  <a:gd name="connsiteY4" fmla="*/ 33815 h 46063"/>
                  <a:gd name="connsiteX5" fmla="*/ 132603 w 145169"/>
                  <a:gd name="connsiteY5" fmla="*/ 23969 h 46063"/>
                  <a:gd name="connsiteX6" fmla="*/ 122845 w 145169"/>
                  <a:gd name="connsiteY6" fmla="*/ 12249 h 46063"/>
                  <a:gd name="connsiteX7" fmla="*/ 120986 w 145169"/>
                  <a:gd name="connsiteY7" fmla="*/ 12249 h 46063"/>
                  <a:gd name="connsiteX8" fmla="*/ 7582 w 145169"/>
                  <a:gd name="connsiteY8" fmla="*/ 12249 h 46063"/>
                  <a:gd name="connsiteX9" fmla="*/ 1532 w 145169"/>
                  <a:gd name="connsiteY9" fmla="*/ 6145 h 46063"/>
                  <a:gd name="connsiteX10" fmla="*/ 7582 w 145169"/>
                  <a:gd name="connsiteY10" fmla="*/ 41 h 46063"/>
                  <a:gd name="connsiteX11" fmla="*/ 120986 w 145169"/>
                  <a:gd name="connsiteY11" fmla="*/ 41 h 46063"/>
                  <a:gd name="connsiteX12" fmla="*/ 145129 w 145169"/>
                  <a:gd name="connsiteY12" fmla="*/ 21663 h 46063"/>
                  <a:gd name="connsiteX13" fmla="*/ 123699 w 145169"/>
                  <a:gd name="connsiteY13" fmla="*/ 46022 h 46063"/>
                  <a:gd name="connsiteX14" fmla="*/ 120986 w 145169"/>
                  <a:gd name="connsiteY14" fmla="*/ 46022 h 46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5169" h="46063">
                    <a:moveTo>
                      <a:pt x="120986" y="46022"/>
                    </a:moveTo>
                    <a:lnTo>
                      <a:pt x="6049" y="46022"/>
                    </a:lnTo>
                    <a:cubicBezTo>
                      <a:pt x="2708" y="46022"/>
                      <a:pt x="0" y="43290"/>
                      <a:pt x="0" y="39919"/>
                    </a:cubicBezTo>
                    <a:cubicBezTo>
                      <a:pt x="0" y="36548"/>
                      <a:pt x="2708" y="33815"/>
                      <a:pt x="6049" y="33815"/>
                    </a:cubicBezTo>
                    <a:lnTo>
                      <a:pt x="120986" y="33815"/>
                    </a:lnTo>
                    <a:cubicBezTo>
                      <a:pt x="126889" y="34333"/>
                      <a:pt x="132090" y="29925"/>
                      <a:pt x="132603" y="23969"/>
                    </a:cubicBezTo>
                    <a:cubicBezTo>
                      <a:pt x="133116" y="18014"/>
                      <a:pt x="128747" y="12766"/>
                      <a:pt x="122845" y="12249"/>
                    </a:cubicBezTo>
                    <a:cubicBezTo>
                      <a:pt x="122227" y="12194"/>
                      <a:pt x="121605" y="12194"/>
                      <a:pt x="120986" y="12249"/>
                    </a:cubicBezTo>
                    <a:lnTo>
                      <a:pt x="7582" y="12249"/>
                    </a:lnTo>
                    <a:cubicBezTo>
                      <a:pt x="4241" y="12249"/>
                      <a:pt x="1532" y="9516"/>
                      <a:pt x="1532" y="6145"/>
                    </a:cubicBezTo>
                    <a:cubicBezTo>
                      <a:pt x="1532" y="2774"/>
                      <a:pt x="4241" y="41"/>
                      <a:pt x="7582" y="41"/>
                    </a:cubicBezTo>
                    <a:lnTo>
                      <a:pt x="120986" y="41"/>
                    </a:lnTo>
                    <a:cubicBezTo>
                      <a:pt x="133571" y="-715"/>
                      <a:pt x="144379" y="8966"/>
                      <a:pt x="145129" y="21663"/>
                    </a:cubicBezTo>
                    <a:cubicBezTo>
                      <a:pt x="145877" y="34361"/>
                      <a:pt x="136283" y="45266"/>
                      <a:pt x="123699" y="46022"/>
                    </a:cubicBezTo>
                    <a:cubicBezTo>
                      <a:pt x="122795" y="46077"/>
                      <a:pt x="121890" y="46077"/>
                      <a:pt x="120986" y="46022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30" name="Freihandform 129">
                <a:extLst>
                  <a:ext uri="{FF2B5EF4-FFF2-40B4-BE49-F238E27FC236}">
                    <a16:creationId xmlns:a16="http://schemas.microsoft.com/office/drawing/2014/main" id="{9692B09D-C702-F95A-BB3A-620818250570}"/>
                  </a:ext>
                </a:extLst>
              </p:cNvPr>
              <p:cNvSpPr/>
              <p:nvPr/>
            </p:nvSpPr>
            <p:spPr>
              <a:xfrm>
                <a:off x="3883140" y="4548704"/>
                <a:ext cx="169396" cy="45981"/>
              </a:xfrm>
              <a:custGeom>
                <a:avLst/>
                <a:gdLst>
                  <a:gd name="connsiteX0" fmla="*/ 147926 w 169396"/>
                  <a:gd name="connsiteY0" fmla="*/ 45981 h 45981"/>
                  <a:gd name="connsiteX1" fmla="*/ 6049 w 169396"/>
                  <a:gd name="connsiteY1" fmla="*/ 45981 h 45981"/>
                  <a:gd name="connsiteX2" fmla="*/ 0 w 169396"/>
                  <a:gd name="connsiteY2" fmla="*/ 39877 h 45981"/>
                  <a:gd name="connsiteX3" fmla="*/ 6049 w 169396"/>
                  <a:gd name="connsiteY3" fmla="*/ 33774 h 45981"/>
                  <a:gd name="connsiteX4" fmla="*/ 147926 w 169396"/>
                  <a:gd name="connsiteY4" fmla="*/ 33774 h 45981"/>
                  <a:gd name="connsiteX5" fmla="*/ 157684 w 169396"/>
                  <a:gd name="connsiteY5" fmla="*/ 22053 h 45981"/>
                  <a:gd name="connsiteX6" fmla="*/ 147926 w 169396"/>
                  <a:gd name="connsiteY6" fmla="*/ 12207 h 45981"/>
                  <a:gd name="connsiteX7" fmla="*/ 34521 w 169396"/>
                  <a:gd name="connsiteY7" fmla="*/ 12207 h 45981"/>
                  <a:gd name="connsiteX8" fmla="*/ 28472 w 169396"/>
                  <a:gd name="connsiteY8" fmla="*/ 6104 h 45981"/>
                  <a:gd name="connsiteX9" fmla="*/ 34521 w 169396"/>
                  <a:gd name="connsiteY9" fmla="*/ 0 h 45981"/>
                  <a:gd name="connsiteX10" fmla="*/ 147926 w 169396"/>
                  <a:gd name="connsiteY10" fmla="*/ 0 h 45981"/>
                  <a:gd name="connsiteX11" fmla="*/ 169355 w 169396"/>
                  <a:gd name="connsiteY11" fmla="*/ 24359 h 45981"/>
                  <a:gd name="connsiteX12" fmla="*/ 147926 w 169396"/>
                  <a:gd name="connsiteY12" fmla="*/ 45981 h 45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69396" h="45981">
                    <a:moveTo>
                      <a:pt x="147926" y="45981"/>
                    </a:moveTo>
                    <a:lnTo>
                      <a:pt x="6049" y="45981"/>
                    </a:lnTo>
                    <a:cubicBezTo>
                      <a:pt x="2708" y="45981"/>
                      <a:pt x="0" y="43248"/>
                      <a:pt x="0" y="39877"/>
                    </a:cubicBezTo>
                    <a:cubicBezTo>
                      <a:pt x="0" y="36506"/>
                      <a:pt x="2708" y="33774"/>
                      <a:pt x="6049" y="33774"/>
                    </a:cubicBezTo>
                    <a:lnTo>
                      <a:pt x="147926" y="33774"/>
                    </a:lnTo>
                    <a:cubicBezTo>
                      <a:pt x="153828" y="33256"/>
                      <a:pt x="158197" y="28009"/>
                      <a:pt x="157684" y="22053"/>
                    </a:cubicBezTo>
                    <a:cubicBezTo>
                      <a:pt x="157232" y="16815"/>
                      <a:pt x="153116" y="12663"/>
                      <a:pt x="147926" y="12207"/>
                    </a:cubicBezTo>
                    <a:lnTo>
                      <a:pt x="34521" y="12207"/>
                    </a:lnTo>
                    <a:cubicBezTo>
                      <a:pt x="31181" y="12207"/>
                      <a:pt x="28472" y="9475"/>
                      <a:pt x="28472" y="6104"/>
                    </a:cubicBezTo>
                    <a:cubicBezTo>
                      <a:pt x="28472" y="2733"/>
                      <a:pt x="31181" y="0"/>
                      <a:pt x="34521" y="0"/>
                    </a:cubicBezTo>
                    <a:lnTo>
                      <a:pt x="147926" y="0"/>
                    </a:lnTo>
                    <a:cubicBezTo>
                      <a:pt x="160510" y="756"/>
                      <a:pt x="170104" y="11661"/>
                      <a:pt x="169355" y="24359"/>
                    </a:cubicBezTo>
                    <a:cubicBezTo>
                      <a:pt x="168669" y="36001"/>
                      <a:pt x="159465" y="45288"/>
                      <a:pt x="147926" y="45981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31" name="Freihandform 130">
                <a:extLst>
                  <a:ext uri="{FF2B5EF4-FFF2-40B4-BE49-F238E27FC236}">
                    <a16:creationId xmlns:a16="http://schemas.microsoft.com/office/drawing/2014/main" id="{435142FE-14C1-8939-82A8-007C0695FD15}"/>
                  </a:ext>
                </a:extLst>
              </p:cNvPr>
              <p:cNvSpPr/>
              <p:nvPr/>
            </p:nvSpPr>
            <p:spPr>
              <a:xfrm>
                <a:off x="3935809" y="4481157"/>
                <a:ext cx="142537" cy="45981"/>
              </a:xfrm>
              <a:custGeom>
                <a:avLst/>
                <a:gdLst>
                  <a:gd name="connsiteX0" fmla="*/ 121067 w 142537"/>
                  <a:gd name="connsiteY0" fmla="*/ 45981 h 45981"/>
                  <a:gd name="connsiteX1" fmla="*/ 6049 w 142537"/>
                  <a:gd name="connsiteY1" fmla="*/ 45981 h 45981"/>
                  <a:gd name="connsiteX2" fmla="*/ 0 w 142537"/>
                  <a:gd name="connsiteY2" fmla="*/ 39877 h 45981"/>
                  <a:gd name="connsiteX3" fmla="*/ 6049 w 142537"/>
                  <a:gd name="connsiteY3" fmla="*/ 33774 h 45981"/>
                  <a:gd name="connsiteX4" fmla="*/ 121067 w 142537"/>
                  <a:gd name="connsiteY4" fmla="*/ 33774 h 45981"/>
                  <a:gd name="connsiteX5" fmla="*/ 130825 w 142537"/>
                  <a:gd name="connsiteY5" fmla="*/ 22053 h 45981"/>
                  <a:gd name="connsiteX6" fmla="*/ 121067 w 142537"/>
                  <a:gd name="connsiteY6" fmla="*/ 12207 h 45981"/>
                  <a:gd name="connsiteX7" fmla="*/ 7662 w 142537"/>
                  <a:gd name="connsiteY7" fmla="*/ 12207 h 45981"/>
                  <a:gd name="connsiteX8" fmla="*/ 1613 w 142537"/>
                  <a:gd name="connsiteY8" fmla="*/ 6104 h 45981"/>
                  <a:gd name="connsiteX9" fmla="*/ 7662 w 142537"/>
                  <a:gd name="connsiteY9" fmla="*/ 0 h 45981"/>
                  <a:gd name="connsiteX10" fmla="*/ 121067 w 142537"/>
                  <a:gd name="connsiteY10" fmla="*/ 0 h 45981"/>
                  <a:gd name="connsiteX11" fmla="*/ 142496 w 142537"/>
                  <a:gd name="connsiteY11" fmla="*/ 24359 h 45981"/>
                  <a:gd name="connsiteX12" fmla="*/ 121067 w 142537"/>
                  <a:gd name="connsiteY12" fmla="*/ 45981 h 45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2537" h="45981">
                    <a:moveTo>
                      <a:pt x="121067" y="45981"/>
                    </a:moveTo>
                    <a:lnTo>
                      <a:pt x="6049" y="45981"/>
                    </a:lnTo>
                    <a:cubicBezTo>
                      <a:pt x="2708" y="45981"/>
                      <a:pt x="0" y="43248"/>
                      <a:pt x="0" y="39877"/>
                    </a:cubicBezTo>
                    <a:cubicBezTo>
                      <a:pt x="0" y="36506"/>
                      <a:pt x="2708" y="33774"/>
                      <a:pt x="6049" y="33774"/>
                    </a:cubicBezTo>
                    <a:lnTo>
                      <a:pt x="121067" y="33774"/>
                    </a:lnTo>
                    <a:cubicBezTo>
                      <a:pt x="126969" y="33256"/>
                      <a:pt x="131338" y="28009"/>
                      <a:pt x="130825" y="22053"/>
                    </a:cubicBezTo>
                    <a:cubicBezTo>
                      <a:pt x="130373" y="16815"/>
                      <a:pt x="126257" y="12663"/>
                      <a:pt x="121067" y="12207"/>
                    </a:cubicBezTo>
                    <a:lnTo>
                      <a:pt x="7662" y="12207"/>
                    </a:lnTo>
                    <a:cubicBezTo>
                      <a:pt x="4322" y="12207"/>
                      <a:pt x="1613" y="9475"/>
                      <a:pt x="1613" y="6104"/>
                    </a:cubicBezTo>
                    <a:cubicBezTo>
                      <a:pt x="1613" y="2733"/>
                      <a:pt x="4322" y="0"/>
                      <a:pt x="7662" y="0"/>
                    </a:cubicBezTo>
                    <a:lnTo>
                      <a:pt x="121067" y="0"/>
                    </a:lnTo>
                    <a:cubicBezTo>
                      <a:pt x="133651" y="756"/>
                      <a:pt x="143245" y="11661"/>
                      <a:pt x="142496" y="24359"/>
                    </a:cubicBezTo>
                    <a:cubicBezTo>
                      <a:pt x="141810" y="36001"/>
                      <a:pt x="132606" y="45288"/>
                      <a:pt x="121067" y="45981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32" name="Freihandform 131">
                <a:extLst>
                  <a:ext uri="{FF2B5EF4-FFF2-40B4-BE49-F238E27FC236}">
                    <a16:creationId xmlns:a16="http://schemas.microsoft.com/office/drawing/2014/main" id="{A5995F60-E869-C912-7B1E-2D16F024DEDF}"/>
                  </a:ext>
                </a:extLst>
              </p:cNvPr>
              <p:cNvSpPr/>
              <p:nvPr/>
            </p:nvSpPr>
            <p:spPr>
              <a:xfrm>
                <a:off x="3833293" y="4464311"/>
                <a:ext cx="12098" cy="116376"/>
              </a:xfrm>
              <a:custGeom>
                <a:avLst/>
                <a:gdLst>
                  <a:gd name="connsiteX0" fmla="*/ 6049 w 12098"/>
                  <a:gd name="connsiteY0" fmla="*/ 116377 h 116376"/>
                  <a:gd name="connsiteX1" fmla="*/ 0 w 12098"/>
                  <a:gd name="connsiteY1" fmla="*/ 110273 h 116376"/>
                  <a:gd name="connsiteX2" fmla="*/ 0 w 12098"/>
                  <a:gd name="connsiteY2" fmla="*/ 6104 h 116376"/>
                  <a:gd name="connsiteX3" fmla="*/ 6049 w 12098"/>
                  <a:gd name="connsiteY3" fmla="*/ 0 h 116376"/>
                  <a:gd name="connsiteX4" fmla="*/ 12099 w 12098"/>
                  <a:gd name="connsiteY4" fmla="*/ 6104 h 116376"/>
                  <a:gd name="connsiteX5" fmla="*/ 12099 w 12098"/>
                  <a:gd name="connsiteY5" fmla="*/ 110517 h 116376"/>
                  <a:gd name="connsiteX6" fmla="*/ 6049 w 12098"/>
                  <a:gd name="connsiteY6" fmla="*/ 116377 h 116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098" h="116376">
                    <a:moveTo>
                      <a:pt x="6049" y="116377"/>
                    </a:moveTo>
                    <a:cubicBezTo>
                      <a:pt x="2708" y="116377"/>
                      <a:pt x="0" y="113644"/>
                      <a:pt x="0" y="110273"/>
                    </a:cubicBezTo>
                    <a:lnTo>
                      <a:pt x="0" y="6104"/>
                    </a:lnTo>
                    <a:cubicBezTo>
                      <a:pt x="0" y="2733"/>
                      <a:pt x="2708" y="0"/>
                      <a:pt x="6049" y="0"/>
                    </a:cubicBezTo>
                    <a:cubicBezTo>
                      <a:pt x="9390" y="0"/>
                      <a:pt x="12099" y="2733"/>
                      <a:pt x="12099" y="6104"/>
                    </a:cubicBezTo>
                    <a:lnTo>
                      <a:pt x="12099" y="110517"/>
                    </a:lnTo>
                    <a:cubicBezTo>
                      <a:pt x="11928" y="113774"/>
                      <a:pt x="9281" y="116339"/>
                      <a:pt x="6049" y="11637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33" name="Freihandform 132">
                <a:extLst>
                  <a:ext uri="{FF2B5EF4-FFF2-40B4-BE49-F238E27FC236}">
                    <a16:creationId xmlns:a16="http://schemas.microsoft.com/office/drawing/2014/main" id="{D04DBA18-9DB1-9050-C3FC-5C10F1BE5772}"/>
                  </a:ext>
                </a:extLst>
              </p:cNvPr>
              <p:cNvSpPr/>
              <p:nvPr/>
            </p:nvSpPr>
            <p:spPr>
              <a:xfrm>
                <a:off x="3922258" y="4402378"/>
                <a:ext cx="120825" cy="41424"/>
              </a:xfrm>
              <a:custGeom>
                <a:avLst/>
                <a:gdLst>
                  <a:gd name="connsiteX0" fmla="*/ 100419 w 120825"/>
                  <a:gd name="connsiteY0" fmla="*/ 41424 h 41424"/>
                  <a:gd name="connsiteX1" fmla="*/ 94369 w 120825"/>
                  <a:gd name="connsiteY1" fmla="*/ 35321 h 41424"/>
                  <a:gd name="connsiteX2" fmla="*/ 100419 w 120825"/>
                  <a:gd name="connsiteY2" fmla="*/ 29217 h 41424"/>
                  <a:gd name="connsiteX3" fmla="*/ 108726 w 120825"/>
                  <a:gd name="connsiteY3" fmla="*/ 20835 h 41424"/>
                  <a:gd name="connsiteX4" fmla="*/ 100419 w 120825"/>
                  <a:gd name="connsiteY4" fmla="*/ 12452 h 41424"/>
                  <a:gd name="connsiteX5" fmla="*/ 20890 w 120825"/>
                  <a:gd name="connsiteY5" fmla="*/ 12452 h 41424"/>
                  <a:gd name="connsiteX6" fmla="*/ 12099 w 120825"/>
                  <a:gd name="connsiteY6" fmla="*/ 20590 h 41424"/>
                  <a:gd name="connsiteX7" fmla="*/ 16373 w 120825"/>
                  <a:gd name="connsiteY7" fmla="*/ 27833 h 41424"/>
                  <a:gd name="connsiteX8" fmla="*/ 18020 w 120825"/>
                  <a:gd name="connsiteY8" fmla="*/ 36304 h 41424"/>
                  <a:gd name="connsiteX9" fmla="*/ 10405 w 120825"/>
                  <a:gd name="connsiteY9" fmla="*/ 38413 h 41424"/>
                  <a:gd name="connsiteX10" fmla="*/ 0 w 120825"/>
                  <a:gd name="connsiteY10" fmla="*/ 20590 h 41424"/>
                  <a:gd name="connsiteX11" fmla="*/ 20890 w 120825"/>
                  <a:gd name="connsiteY11" fmla="*/ 1 h 41424"/>
                  <a:gd name="connsiteX12" fmla="*/ 100419 w 120825"/>
                  <a:gd name="connsiteY12" fmla="*/ 1 h 41424"/>
                  <a:gd name="connsiteX13" fmla="*/ 120825 w 120825"/>
                  <a:gd name="connsiteY13" fmla="*/ 20590 h 41424"/>
                  <a:gd name="connsiteX14" fmla="*/ 100419 w 120825"/>
                  <a:gd name="connsiteY14" fmla="*/ 41180 h 41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0825" h="41424">
                    <a:moveTo>
                      <a:pt x="100419" y="41424"/>
                    </a:moveTo>
                    <a:cubicBezTo>
                      <a:pt x="97078" y="41424"/>
                      <a:pt x="94369" y="38691"/>
                      <a:pt x="94369" y="35321"/>
                    </a:cubicBezTo>
                    <a:cubicBezTo>
                      <a:pt x="94369" y="31950"/>
                      <a:pt x="97078" y="29217"/>
                      <a:pt x="100419" y="29217"/>
                    </a:cubicBezTo>
                    <a:cubicBezTo>
                      <a:pt x="105006" y="29217"/>
                      <a:pt x="108726" y="25464"/>
                      <a:pt x="108726" y="20835"/>
                    </a:cubicBezTo>
                    <a:cubicBezTo>
                      <a:pt x="108726" y="16205"/>
                      <a:pt x="105006" y="12452"/>
                      <a:pt x="100419" y="12452"/>
                    </a:cubicBezTo>
                    <a:lnTo>
                      <a:pt x="20890" y="12452"/>
                    </a:lnTo>
                    <a:cubicBezTo>
                      <a:pt x="16258" y="12312"/>
                      <a:pt x="12359" y="15922"/>
                      <a:pt x="12099" y="20590"/>
                    </a:cubicBezTo>
                    <a:cubicBezTo>
                      <a:pt x="12077" y="23619"/>
                      <a:pt x="13724" y="26410"/>
                      <a:pt x="16373" y="27833"/>
                    </a:cubicBezTo>
                    <a:cubicBezTo>
                      <a:pt x="19146" y="29714"/>
                      <a:pt x="19883" y="33506"/>
                      <a:pt x="18020" y="36304"/>
                    </a:cubicBezTo>
                    <a:cubicBezTo>
                      <a:pt x="16348" y="38812"/>
                      <a:pt x="13111" y="39709"/>
                      <a:pt x="10405" y="38413"/>
                    </a:cubicBezTo>
                    <a:cubicBezTo>
                      <a:pt x="4004" y="34801"/>
                      <a:pt x="27" y="27990"/>
                      <a:pt x="0" y="20590"/>
                    </a:cubicBezTo>
                    <a:cubicBezTo>
                      <a:pt x="177" y="9103"/>
                      <a:pt x="9504" y="-90"/>
                      <a:pt x="20890" y="1"/>
                    </a:cubicBezTo>
                    <a:lnTo>
                      <a:pt x="100419" y="1"/>
                    </a:lnTo>
                    <a:cubicBezTo>
                      <a:pt x="111689" y="1"/>
                      <a:pt x="120825" y="9219"/>
                      <a:pt x="120825" y="20590"/>
                    </a:cubicBezTo>
                    <a:cubicBezTo>
                      <a:pt x="120825" y="31962"/>
                      <a:pt x="111689" y="41180"/>
                      <a:pt x="100419" y="41180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34" name="Freihandform 133">
                <a:extLst>
                  <a:ext uri="{FF2B5EF4-FFF2-40B4-BE49-F238E27FC236}">
                    <a16:creationId xmlns:a16="http://schemas.microsoft.com/office/drawing/2014/main" id="{26531A2E-CF69-BDF0-0561-45C781013FD9}"/>
                  </a:ext>
                </a:extLst>
              </p:cNvPr>
              <p:cNvSpPr/>
              <p:nvPr/>
            </p:nvSpPr>
            <p:spPr>
              <a:xfrm>
                <a:off x="3871283" y="4665325"/>
                <a:ext cx="76624" cy="12207"/>
              </a:xfrm>
              <a:custGeom>
                <a:avLst/>
                <a:gdLst>
                  <a:gd name="connsiteX0" fmla="*/ 70575 w 76624"/>
                  <a:gd name="connsiteY0" fmla="*/ 12207 h 12207"/>
                  <a:gd name="connsiteX1" fmla="*/ 6049 w 76624"/>
                  <a:gd name="connsiteY1" fmla="*/ 12207 h 12207"/>
                  <a:gd name="connsiteX2" fmla="*/ 0 w 76624"/>
                  <a:gd name="connsiteY2" fmla="*/ 6104 h 12207"/>
                  <a:gd name="connsiteX3" fmla="*/ 6049 w 76624"/>
                  <a:gd name="connsiteY3" fmla="*/ 0 h 12207"/>
                  <a:gd name="connsiteX4" fmla="*/ 70575 w 76624"/>
                  <a:gd name="connsiteY4" fmla="*/ 0 h 12207"/>
                  <a:gd name="connsiteX5" fmla="*/ 76625 w 76624"/>
                  <a:gd name="connsiteY5" fmla="*/ 6104 h 12207"/>
                  <a:gd name="connsiteX6" fmla="*/ 70575 w 76624"/>
                  <a:gd name="connsiteY6" fmla="*/ 12207 h 12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624" h="12207">
                    <a:moveTo>
                      <a:pt x="70575" y="12207"/>
                    </a:moveTo>
                    <a:lnTo>
                      <a:pt x="6049" y="12207"/>
                    </a:lnTo>
                    <a:cubicBezTo>
                      <a:pt x="2708" y="12207"/>
                      <a:pt x="0" y="9475"/>
                      <a:pt x="0" y="6104"/>
                    </a:cubicBezTo>
                    <a:cubicBezTo>
                      <a:pt x="0" y="2733"/>
                      <a:pt x="2708" y="0"/>
                      <a:pt x="6049" y="0"/>
                    </a:cubicBezTo>
                    <a:lnTo>
                      <a:pt x="70575" y="0"/>
                    </a:lnTo>
                    <a:cubicBezTo>
                      <a:pt x="73916" y="0"/>
                      <a:pt x="76625" y="2733"/>
                      <a:pt x="76625" y="6104"/>
                    </a:cubicBezTo>
                    <a:cubicBezTo>
                      <a:pt x="76625" y="9475"/>
                      <a:pt x="73916" y="12207"/>
                      <a:pt x="70575" y="1220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</p:grp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AAB3251F-ADA9-B3F4-31C1-C1B9D3D5AA5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063868" y="1936083"/>
              <a:ext cx="1108554" cy="695720"/>
            </a:xfrm>
            <a:prstGeom prst="rect">
              <a:avLst/>
            </a:prstGeom>
          </p:spPr>
        </p:pic>
      </p:grp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de-DE" dirty="0">
                <a:solidFill>
                  <a:srgbClr val="FFCC00"/>
                </a:solidFill>
              </a:rPr>
              <a:t>deas</a:t>
            </a:r>
            <a:r>
              <a:rPr lang="de-DE" dirty="0"/>
              <a:t> – der Industrieversicherungsmakler der Ecclesia Gruppe</a:t>
            </a:r>
          </a:p>
        </p:txBody>
      </p:sp>
      <p:grpSp>
        <p:nvGrpSpPr>
          <p:cNvPr id="54" name="Gruppieren 53"/>
          <p:cNvGrpSpPr/>
          <p:nvPr/>
        </p:nvGrpSpPr>
        <p:grpSpPr>
          <a:xfrm>
            <a:off x="283247" y="1828801"/>
            <a:ext cx="11207874" cy="4634428"/>
            <a:chOff x="283247" y="1828801"/>
            <a:chExt cx="11207874" cy="4634428"/>
          </a:xfrm>
        </p:grpSpPr>
        <p:sp>
          <p:nvSpPr>
            <p:cNvPr id="28" name="Freihandform 27">
              <a:extLst>
                <a:ext uri="{FF2B5EF4-FFF2-40B4-BE49-F238E27FC236}">
                  <a16:creationId xmlns:a16="http://schemas.microsoft.com/office/drawing/2014/main" id="{716BBBF3-08B6-FB4A-A120-BB5B98B8FEB7}"/>
                </a:ext>
              </a:extLst>
            </p:cNvPr>
            <p:cNvSpPr/>
            <p:nvPr/>
          </p:nvSpPr>
          <p:spPr>
            <a:xfrm>
              <a:off x="11320791" y="5973984"/>
              <a:ext cx="170330" cy="313765"/>
            </a:xfrm>
            <a:custGeom>
              <a:avLst/>
              <a:gdLst>
                <a:gd name="connsiteX0" fmla="*/ 0 w 170330"/>
                <a:gd name="connsiteY0" fmla="*/ 0 h 313765"/>
                <a:gd name="connsiteX1" fmla="*/ 170330 w 170330"/>
                <a:gd name="connsiteY1" fmla="*/ 152400 h 313765"/>
                <a:gd name="connsiteX2" fmla="*/ 8965 w 170330"/>
                <a:gd name="connsiteY2" fmla="*/ 313765 h 313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0330" h="313765">
                  <a:moveTo>
                    <a:pt x="0" y="0"/>
                  </a:moveTo>
                  <a:lnTo>
                    <a:pt x="170330" y="152400"/>
                  </a:lnTo>
                  <a:lnTo>
                    <a:pt x="8965" y="313765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788AAA"/>
                </a:solidFill>
                <a:effectLst/>
                <a:uLnTx/>
                <a:uFillTx/>
                <a:latin typeface="TeXGyreHeros" panose="00000500000000000000" pitchFamily="50" charset="0"/>
                <a:ea typeface="+mn-ea"/>
                <a:cs typeface="+mn-cs"/>
              </a:endParaRPr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283247" y="1828801"/>
              <a:ext cx="11037544" cy="4634428"/>
              <a:chOff x="283247" y="1828800"/>
              <a:chExt cx="11037544" cy="4634428"/>
            </a:xfrm>
          </p:grpSpPr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03C7BDDD-AD3A-8244-8382-6C3208791479}"/>
                  </a:ext>
                </a:extLst>
              </p:cNvPr>
              <p:cNvSpPr txBox="1"/>
              <p:nvPr/>
            </p:nvSpPr>
            <p:spPr>
              <a:xfrm>
                <a:off x="666690" y="2308072"/>
                <a:ext cx="277034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3F72"/>
                    </a:solidFill>
                    <a:effectLst/>
                    <a:uLnTx/>
                    <a:uFillTx/>
                    <a:latin typeface="TeXGyreHeros" panose="00000500000000000000" pitchFamily="50" charset="0"/>
                    <a:ea typeface="+mn-ea"/>
                    <a:cs typeface="+mn-cs"/>
                  </a:rPr>
                  <a:t>Gründung der debis Assekuranz­makler GmbH aus verschiedenen </a:t>
                </a:r>
                <a:r>
                  <a:rPr kumimoji="0" lang="de-DE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1E3F72"/>
                    </a:solidFill>
                    <a:effectLst/>
                    <a:uLnTx/>
                    <a:uFillTx/>
                    <a:latin typeface="TeXGyreHeros" panose="00000500000000000000" pitchFamily="50" charset="0"/>
                    <a:ea typeface="+mn-ea"/>
                    <a:cs typeface="+mn-cs"/>
                  </a:rPr>
                  <a:t>Risk</a:t>
                </a: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3F72"/>
                    </a:solidFill>
                    <a:effectLst/>
                    <a:uLnTx/>
                    <a:uFillTx/>
                    <a:latin typeface="TeXGyreHeros" panose="00000500000000000000" pitchFamily="50" charset="0"/>
                    <a:ea typeface="+mn-ea"/>
                    <a:cs typeface="+mn-cs"/>
                  </a:rPr>
                  <a:t> Management- und Versicherungs­abteilungen</a:t>
                </a:r>
                <a:b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3F72"/>
                    </a:solidFill>
                    <a:effectLst/>
                    <a:uLnTx/>
                    <a:uFillTx/>
                    <a:latin typeface="TeXGyreHeros" panose="00000500000000000000" pitchFamily="50" charset="0"/>
                    <a:ea typeface="+mn-ea"/>
                    <a:cs typeface="+mn-cs"/>
                  </a:rPr>
                </a:b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3F72"/>
                    </a:solidFill>
                    <a:effectLst/>
                    <a:uLnTx/>
                    <a:uFillTx/>
                    <a:latin typeface="TeXGyreHeros" panose="00000500000000000000" pitchFamily="50" charset="0"/>
                    <a:ea typeface="+mn-ea"/>
                    <a:cs typeface="+mn-cs"/>
                  </a:rPr>
                  <a:t>(Daimler-Benz, MTU, MBB, Dornier, AEG)</a:t>
                </a:r>
              </a:p>
            </p:txBody>
          </p:sp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B4FC91D5-F0F1-784C-AE7D-9871CD93D5B1}"/>
                  </a:ext>
                </a:extLst>
              </p:cNvPr>
              <p:cNvSpPr txBox="1"/>
              <p:nvPr/>
            </p:nvSpPr>
            <p:spPr>
              <a:xfrm>
                <a:off x="675654" y="4425968"/>
                <a:ext cx="2579329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3F72"/>
                    </a:solidFill>
                    <a:effectLst/>
                    <a:uLnTx/>
                    <a:uFillTx/>
                    <a:latin typeface="TeXGyreHeros" panose="00000500000000000000" pitchFamily="50" charset="0"/>
                    <a:ea typeface="+mn-ea"/>
                    <a:cs typeface="+mn-cs"/>
                  </a:rPr>
                  <a:t>Management-Buy-out und strategischer Zusammenschluss mit der </a:t>
                </a:r>
                <a:b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3F72"/>
                    </a:solidFill>
                    <a:effectLst/>
                    <a:uLnTx/>
                    <a:uFillTx/>
                    <a:latin typeface="TeXGyreHeros" panose="00000500000000000000" pitchFamily="50" charset="0"/>
                    <a:ea typeface="+mn-ea"/>
                    <a:cs typeface="+mn-cs"/>
                  </a:rPr>
                </a:b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3F72"/>
                    </a:solidFill>
                    <a:effectLst/>
                    <a:uLnTx/>
                    <a:uFillTx/>
                    <a:latin typeface="TeXGyreHeros" panose="00000500000000000000" pitchFamily="50" charset="0"/>
                    <a:ea typeface="+mn-ea"/>
                    <a:cs typeface="+mn-cs"/>
                  </a:rPr>
                  <a:t>Ecclesia Gruppe sowie Umfirmierung in </a:t>
                </a:r>
                <a:b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3F72"/>
                    </a:solidFill>
                    <a:effectLst/>
                    <a:uLnTx/>
                    <a:uFillTx/>
                    <a:latin typeface="TeXGyreHeros" panose="00000500000000000000" pitchFamily="50" charset="0"/>
                    <a:ea typeface="+mn-ea"/>
                    <a:cs typeface="+mn-cs"/>
                  </a:rPr>
                </a:br>
                <a:r>
                  <a:rPr kumimoji="0" lang="de-DE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3F72"/>
                    </a:solidFill>
                    <a:effectLst/>
                    <a:uLnTx/>
                    <a:uFillTx/>
                    <a:latin typeface="TeXGyreHeros" panose="00000500000000000000" pitchFamily="50" charset="0"/>
                    <a:ea typeface="+mn-ea"/>
                    <a:cs typeface="+mn-cs"/>
                  </a:rPr>
                  <a:t>deas Deutsche Assekuranz-Makler GmbH</a:t>
                </a:r>
              </a:p>
            </p:txBody>
          </p:sp>
          <p:pic>
            <p:nvPicPr>
              <p:cNvPr id="18" name="Picture 27" descr="Logo debisgrün 0,8">
                <a:extLst>
                  <a:ext uri="{FF2B5EF4-FFF2-40B4-BE49-F238E27FC236}">
                    <a16:creationId xmlns:a16="http://schemas.microsoft.com/office/drawing/2014/main" id="{2BC4C911-C206-8640-B4AC-0FBA48CBD89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 l="-5327" r="-7991" b="32475"/>
              <a:stretch>
                <a:fillRect/>
              </a:stretch>
            </p:blipFill>
            <p:spPr bwMode="auto">
              <a:xfrm>
                <a:off x="832499" y="3250307"/>
                <a:ext cx="999241" cy="2564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9" name="Picture 2" descr="C:\Users\marinv64\Desktop\Anbahnungen\STG Anbahnung\Erst Pitch\Logo Deas.PNG">
                <a:extLst>
                  <a:ext uri="{FF2B5EF4-FFF2-40B4-BE49-F238E27FC236}">
                    <a16:creationId xmlns:a16="http://schemas.microsoft.com/office/drawing/2014/main" id="{F07CFF95-E7FC-3548-8579-CF7BD0DCE7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827211" y="5308382"/>
                <a:ext cx="1360184" cy="307438"/>
              </a:xfrm>
              <a:prstGeom prst="rect">
                <a:avLst/>
              </a:prstGeom>
              <a:noFill/>
            </p:spPr>
          </p:pic>
          <p:sp>
            <p:nvSpPr>
              <p:cNvPr id="42" name="Textfeld 41">
                <a:extLst>
                  <a:ext uri="{FF2B5EF4-FFF2-40B4-BE49-F238E27FC236}">
                    <a16:creationId xmlns:a16="http://schemas.microsoft.com/office/drawing/2014/main" id="{010C7487-ABFF-3244-8376-8BA68A298FBE}"/>
                  </a:ext>
                </a:extLst>
              </p:cNvPr>
              <p:cNvSpPr txBox="1"/>
              <p:nvPr/>
            </p:nvSpPr>
            <p:spPr>
              <a:xfrm>
                <a:off x="6399480" y="6155451"/>
                <a:ext cx="198961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3F72"/>
                    </a:solidFill>
                    <a:effectLst/>
                    <a:uLnTx/>
                    <a:uFillTx/>
                    <a:latin typeface="TeXGyreHeros" panose="00000500000000000000" pitchFamily="50" charset="0"/>
                    <a:ea typeface="+mn-ea"/>
                    <a:cs typeface="+mn-cs"/>
                  </a:rPr>
                  <a:t>2025</a:t>
                </a:r>
              </a:p>
            </p:txBody>
          </p:sp>
          <p:sp>
            <p:nvSpPr>
              <p:cNvPr id="43" name="Textfeld 42">
                <a:extLst>
                  <a:ext uri="{FF2B5EF4-FFF2-40B4-BE49-F238E27FC236}">
                    <a16:creationId xmlns:a16="http://schemas.microsoft.com/office/drawing/2014/main" id="{EE6A9F84-A7C6-E840-8751-86606AFFADFF}"/>
                  </a:ext>
                </a:extLst>
              </p:cNvPr>
              <p:cNvSpPr txBox="1"/>
              <p:nvPr/>
            </p:nvSpPr>
            <p:spPr>
              <a:xfrm rot="16200000">
                <a:off x="-34707" y="4418293"/>
                <a:ext cx="94644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3F72"/>
                    </a:solidFill>
                    <a:effectLst/>
                    <a:uLnTx/>
                    <a:uFillTx/>
                    <a:latin typeface="TeXGyreHeros" panose="00000500000000000000" pitchFamily="50" charset="0"/>
                    <a:ea typeface="+mn-ea"/>
                    <a:cs typeface="+mn-cs"/>
                  </a:rPr>
                  <a:t>2004</a:t>
                </a:r>
              </a:p>
            </p:txBody>
          </p:sp>
          <p:sp>
            <p:nvSpPr>
              <p:cNvPr id="44" name="Textfeld 43">
                <a:extLst>
                  <a:ext uri="{FF2B5EF4-FFF2-40B4-BE49-F238E27FC236}">
                    <a16:creationId xmlns:a16="http://schemas.microsoft.com/office/drawing/2014/main" id="{681A1C48-26AE-994D-86ED-4238D57AC0AB}"/>
                  </a:ext>
                </a:extLst>
              </p:cNvPr>
              <p:cNvSpPr txBox="1"/>
              <p:nvPr/>
            </p:nvSpPr>
            <p:spPr>
              <a:xfrm rot="16200000">
                <a:off x="-36086" y="2574814"/>
                <a:ext cx="94644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9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E3F72"/>
                    </a:solidFill>
                    <a:effectLst/>
                    <a:uLnTx/>
                    <a:uFillTx/>
                    <a:latin typeface="TeXGyreHeros" panose="00000500000000000000" pitchFamily="50" charset="0"/>
                    <a:ea typeface="+mn-ea"/>
                    <a:cs typeface="+mn-cs"/>
                  </a:rPr>
                  <a:t>1990</a:t>
                </a:r>
              </a:p>
            </p:txBody>
          </p:sp>
          <p:cxnSp>
            <p:nvCxnSpPr>
              <p:cNvPr id="45" name="Gerade Verbindung 44">
                <a:extLst>
                  <a:ext uri="{FF2B5EF4-FFF2-40B4-BE49-F238E27FC236}">
                    <a16:creationId xmlns:a16="http://schemas.microsoft.com/office/drawing/2014/main" id="{EA28D2F1-821D-5145-96DF-3A15906A65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3043" y="1828800"/>
                <a:ext cx="0" cy="3982239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Gerade Verbindung 185">
                <a:extLst>
                  <a:ext uri="{FF2B5EF4-FFF2-40B4-BE49-F238E27FC236}">
                    <a16:creationId xmlns:a16="http://schemas.microsoft.com/office/drawing/2014/main" id="{FB9D9FD0-DDC3-D8D1-5666-B4C71D4358E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46268" y="6135139"/>
                <a:ext cx="10674523" cy="8643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9" name="Freihandform 188">
              <a:extLst>
                <a:ext uri="{FF2B5EF4-FFF2-40B4-BE49-F238E27FC236}">
                  <a16:creationId xmlns:a16="http://schemas.microsoft.com/office/drawing/2014/main" id="{A07A8D05-28A3-CAD2-F4B6-DECDB6934623}"/>
                </a:ext>
              </a:extLst>
            </p:cNvPr>
            <p:cNvSpPr/>
            <p:nvPr/>
          </p:nvSpPr>
          <p:spPr>
            <a:xfrm rot="5400000">
              <a:off x="563680" y="5731938"/>
              <a:ext cx="170330" cy="313765"/>
            </a:xfrm>
            <a:custGeom>
              <a:avLst/>
              <a:gdLst>
                <a:gd name="connsiteX0" fmla="*/ 0 w 170330"/>
                <a:gd name="connsiteY0" fmla="*/ 0 h 313765"/>
                <a:gd name="connsiteX1" fmla="*/ 170330 w 170330"/>
                <a:gd name="connsiteY1" fmla="*/ 152400 h 313765"/>
                <a:gd name="connsiteX2" fmla="*/ 8965 w 170330"/>
                <a:gd name="connsiteY2" fmla="*/ 313765 h 313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0330" h="313765">
                  <a:moveTo>
                    <a:pt x="0" y="0"/>
                  </a:moveTo>
                  <a:lnTo>
                    <a:pt x="170330" y="152400"/>
                  </a:lnTo>
                  <a:lnTo>
                    <a:pt x="8965" y="313765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788AAA"/>
                </a:solidFill>
                <a:effectLst/>
                <a:uLnTx/>
                <a:uFillTx/>
                <a:latin typeface="TeXGyreHeros" panose="00000500000000000000" pitchFamily="50" charset="0"/>
                <a:ea typeface="+mn-ea"/>
                <a:cs typeface="+mn-cs"/>
              </a:endParaRP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F2305C9F-4615-1C30-0198-B21692AEFFB7}"/>
              </a:ext>
            </a:extLst>
          </p:cNvPr>
          <p:cNvGrpSpPr/>
          <p:nvPr/>
        </p:nvGrpSpPr>
        <p:grpSpPr>
          <a:xfrm>
            <a:off x="6032531" y="3002490"/>
            <a:ext cx="3242863" cy="2635623"/>
            <a:chOff x="6032531" y="3002490"/>
            <a:chExt cx="3242863" cy="2635623"/>
          </a:xfrm>
        </p:grpSpPr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CD10B831-D3CB-7641-B79C-2017C9483317}"/>
                </a:ext>
              </a:extLst>
            </p:cNvPr>
            <p:cNvSpPr txBox="1"/>
            <p:nvPr/>
          </p:nvSpPr>
          <p:spPr>
            <a:xfrm>
              <a:off x="6771739" y="3165344"/>
              <a:ext cx="155265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&gt; 300 Mitarbeitende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in der Kundenberatung</a:t>
              </a: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69037CD1-9376-B14D-83BF-B840C59D9204}"/>
                </a:ext>
              </a:extLst>
            </p:cNvPr>
            <p:cNvSpPr txBox="1"/>
            <p:nvPr/>
          </p:nvSpPr>
          <p:spPr>
            <a:xfrm>
              <a:off x="6771739" y="3644318"/>
              <a:ext cx="155265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betreuen über 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750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namhafte Kunden</a:t>
              </a: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0D3B59B5-0CE6-814D-952A-842D8EA33753}"/>
                </a:ext>
              </a:extLst>
            </p:cNvPr>
            <p:cNvSpPr txBox="1"/>
            <p:nvPr/>
          </p:nvSpPr>
          <p:spPr>
            <a:xfrm>
              <a:off x="6771739" y="4104242"/>
              <a:ext cx="169281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aus 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Industrie, Handel, Bauwirtschaft, Logistik</a:t>
              </a: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0D34F7F9-A6AD-E74D-98C5-207B51C27A72}"/>
                </a:ext>
              </a:extLst>
            </p:cNvPr>
            <p:cNvSpPr txBox="1"/>
            <p:nvPr/>
          </p:nvSpPr>
          <p:spPr>
            <a:xfrm>
              <a:off x="6771739" y="4602266"/>
              <a:ext cx="155265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an bundesweit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12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 Standorten</a:t>
              </a: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41665939-2987-4143-98E7-E0D6710CAF30}"/>
                </a:ext>
              </a:extLst>
            </p:cNvPr>
            <p:cNvSpPr txBox="1"/>
            <p:nvPr/>
          </p:nvSpPr>
          <p:spPr>
            <a:xfrm>
              <a:off x="6771739" y="5081239"/>
              <a:ext cx="1607876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agil und individuell im Sinne einer 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Manufaktur.</a:t>
              </a:r>
            </a:p>
          </p:txBody>
        </p:sp>
        <p:sp>
          <p:nvSpPr>
            <p:cNvPr id="30" name="Freihandform 29">
              <a:extLst>
                <a:ext uri="{FF2B5EF4-FFF2-40B4-BE49-F238E27FC236}">
                  <a16:creationId xmlns:a16="http://schemas.microsoft.com/office/drawing/2014/main" id="{28836C50-DD0C-4548-A622-8640A0C61E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32531" y="3002490"/>
              <a:ext cx="2599764" cy="2635623"/>
            </a:xfrm>
            <a:custGeom>
              <a:avLst/>
              <a:gdLst>
                <a:gd name="connsiteX0" fmla="*/ 2581835 w 2599764"/>
                <a:gd name="connsiteY0" fmla="*/ 1120588 h 2635623"/>
                <a:gd name="connsiteX1" fmla="*/ 2581835 w 2599764"/>
                <a:gd name="connsiteY1" fmla="*/ 0 h 2635623"/>
                <a:gd name="connsiteX2" fmla="*/ 0 w 2599764"/>
                <a:gd name="connsiteY2" fmla="*/ 0 h 2635623"/>
                <a:gd name="connsiteX3" fmla="*/ 0 w 2599764"/>
                <a:gd name="connsiteY3" fmla="*/ 2635623 h 2635623"/>
                <a:gd name="connsiteX4" fmla="*/ 2599764 w 2599764"/>
                <a:gd name="connsiteY4" fmla="*/ 2635623 h 2635623"/>
                <a:gd name="connsiteX5" fmla="*/ 2599764 w 2599764"/>
                <a:gd name="connsiteY5" fmla="*/ 2196353 h 2635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99764" h="2635623">
                  <a:moveTo>
                    <a:pt x="2581835" y="1120588"/>
                  </a:moveTo>
                  <a:lnTo>
                    <a:pt x="2581835" y="0"/>
                  </a:lnTo>
                  <a:lnTo>
                    <a:pt x="0" y="0"/>
                  </a:lnTo>
                  <a:lnTo>
                    <a:pt x="0" y="2635623"/>
                  </a:lnTo>
                  <a:lnTo>
                    <a:pt x="2599764" y="2635623"/>
                  </a:lnTo>
                  <a:lnTo>
                    <a:pt x="2599764" y="2196353"/>
                  </a:lnTo>
                </a:path>
              </a:pathLst>
            </a:custGeom>
            <a:noFill/>
            <a:ln w="1016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788AAA"/>
                </a:solidFill>
                <a:effectLst/>
                <a:uLnTx/>
                <a:uFillTx/>
                <a:latin typeface="TeXGyreHeros" panose="00000500000000000000" pitchFamily="50" charset="0"/>
                <a:ea typeface="+mn-ea"/>
                <a:cs typeface="+mn-cs"/>
              </a:endParaRPr>
            </a:p>
          </p:txBody>
        </p:sp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A7B71D3A-981C-F30A-1C88-5DDDCBC42797}"/>
                </a:ext>
              </a:extLst>
            </p:cNvPr>
            <p:cNvGrpSpPr/>
            <p:nvPr/>
          </p:nvGrpSpPr>
          <p:grpSpPr>
            <a:xfrm>
              <a:off x="6253324" y="3163849"/>
              <a:ext cx="412888" cy="400330"/>
              <a:chOff x="6253324" y="3220999"/>
              <a:chExt cx="412888" cy="400330"/>
            </a:xfrm>
          </p:grpSpPr>
          <p:sp>
            <p:nvSpPr>
              <p:cNvPr id="4" name="Freihandform 3">
                <a:extLst>
                  <a:ext uri="{FF2B5EF4-FFF2-40B4-BE49-F238E27FC236}">
                    <a16:creationId xmlns:a16="http://schemas.microsoft.com/office/drawing/2014/main" id="{3146C730-6346-5F07-585B-C1A76A3C04AB}"/>
                  </a:ext>
                </a:extLst>
              </p:cNvPr>
              <p:cNvSpPr/>
              <p:nvPr/>
            </p:nvSpPr>
            <p:spPr>
              <a:xfrm>
                <a:off x="6316335" y="3343653"/>
                <a:ext cx="99876" cy="140954"/>
              </a:xfrm>
              <a:custGeom>
                <a:avLst/>
                <a:gdLst>
                  <a:gd name="connsiteX0" fmla="*/ 49978 w 99876"/>
                  <a:gd name="connsiteY0" fmla="*/ 140954 h 140954"/>
                  <a:gd name="connsiteX1" fmla="*/ 0 w 99876"/>
                  <a:gd name="connsiteY1" fmla="*/ 90416 h 140954"/>
                  <a:gd name="connsiteX2" fmla="*/ 0 w 99876"/>
                  <a:gd name="connsiteY2" fmla="*/ 50538 h 140954"/>
                  <a:gd name="connsiteX3" fmla="*/ 49978 w 99876"/>
                  <a:gd name="connsiteY3" fmla="*/ 0 h 140954"/>
                  <a:gd name="connsiteX4" fmla="*/ 56014 w 99876"/>
                  <a:gd name="connsiteY4" fmla="*/ 6104 h 140954"/>
                  <a:gd name="connsiteX5" fmla="*/ 49978 w 99876"/>
                  <a:gd name="connsiteY5" fmla="*/ 12207 h 140954"/>
                  <a:gd name="connsiteX6" fmla="*/ 12072 w 99876"/>
                  <a:gd name="connsiteY6" fmla="*/ 50538 h 140954"/>
                  <a:gd name="connsiteX7" fmla="*/ 12072 w 99876"/>
                  <a:gd name="connsiteY7" fmla="*/ 90416 h 140954"/>
                  <a:gd name="connsiteX8" fmla="*/ 48192 w 99876"/>
                  <a:gd name="connsiteY8" fmla="*/ 130472 h 140954"/>
                  <a:gd name="connsiteX9" fmla="*/ 87804 w 99876"/>
                  <a:gd name="connsiteY9" fmla="*/ 93947 h 140954"/>
                  <a:gd name="connsiteX10" fmla="*/ 87804 w 99876"/>
                  <a:gd name="connsiteY10" fmla="*/ 90416 h 140954"/>
                  <a:gd name="connsiteX11" fmla="*/ 87804 w 99876"/>
                  <a:gd name="connsiteY11" fmla="*/ 63071 h 140954"/>
                  <a:gd name="connsiteX12" fmla="*/ 93840 w 99876"/>
                  <a:gd name="connsiteY12" fmla="*/ 56968 h 140954"/>
                  <a:gd name="connsiteX13" fmla="*/ 99876 w 99876"/>
                  <a:gd name="connsiteY13" fmla="*/ 63071 h 140954"/>
                  <a:gd name="connsiteX14" fmla="*/ 99876 w 99876"/>
                  <a:gd name="connsiteY14" fmla="*/ 90660 h 140954"/>
                  <a:gd name="connsiteX15" fmla="*/ 49978 w 99876"/>
                  <a:gd name="connsiteY15" fmla="*/ 140954 h 14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9876" h="140954">
                    <a:moveTo>
                      <a:pt x="49978" y="140954"/>
                    </a:moveTo>
                    <a:cubicBezTo>
                      <a:pt x="22395" y="140909"/>
                      <a:pt x="44" y="118309"/>
                      <a:pt x="0" y="90416"/>
                    </a:cubicBezTo>
                    <a:lnTo>
                      <a:pt x="0" y="50538"/>
                    </a:lnTo>
                    <a:cubicBezTo>
                      <a:pt x="44" y="22645"/>
                      <a:pt x="22395" y="45"/>
                      <a:pt x="49978" y="0"/>
                    </a:cubicBezTo>
                    <a:cubicBezTo>
                      <a:pt x="53312" y="0"/>
                      <a:pt x="56014" y="2733"/>
                      <a:pt x="56014" y="6104"/>
                    </a:cubicBezTo>
                    <a:cubicBezTo>
                      <a:pt x="56014" y="9475"/>
                      <a:pt x="53312" y="12207"/>
                      <a:pt x="49978" y="12207"/>
                    </a:cubicBezTo>
                    <a:cubicBezTo>
                      <a:pt x="29062" y="12252"/>
                      <a:pt x="12116" y="29387"/>
                      <a:pt x="12072" y="50538"/>
                    </a:cubicBezTo>
                    <a:lnTo>
                      <a:pt x="12072" y="90416"/>
                    </a:lnTo>
                    <a:cubicBezTo>
                      <a:pt x="11108" y="111563"/>
                      <a:pt x="27279" y="129496"/>
                      <a:pt x="48192" y="130472"/>
                    </a:cubicBezTo>
                    <a:cubicBezTo>
                      <a:pt x="69105" y="131447"/>
                      <a:pt x="86840" y="115094"/>
                      <a:pt x="87804" y="93947"/>
                    </a:cubicBezTo>
                    <a:cubicBezTo>
                      <a:pt x="87858" y="92771"/>
                      <a:pt x="87858" y="91593"/>
                      <a:pt x="87804" y="90416"/>
                    </a:cubicBezTo>
                    <a:lnTo>
                      <a:pt x="87804" y="63071"/>
                    </a:lnTo>
                    <a:cubicBezTo>
                      <a:pt x="87804" y="59700"/>
                      <a:pt x="90507" y="56968"/>
                      <a:pt x="93840" y="56968"/>
                    </a:cubicBezTo>
                    <a:cubicBezTo>
                      <a:pt x="97174" y="56968"/>
                      <a:pt x="99876" y="59700"/>
                      <a:pt x="99876" y="63071"/>
                    </a:cubicBezTo>
                    <a:lnTo>
                      <a:pt x="99876" y="90660"/>
                    </a:lnTo>
                    <a:cubicBezTo>
                      <a:pt x="99744" y="118445"/>
                      <a:pt x="77455" y="140909"/>
                      <a:pt x="49978" y="140954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5" name="Freihandform 4">
                <a:extLst>
                  <a:ext uri="{FF2B5EF4-FFF2-40B4-BE49-F238E27FC236}">
                    <a16:creationId xmlns:a16="http://schemas.microsoft.com/office/drawing/2014/main" id="{4A659BAA-8CAB-887B-F384-AAFAFEEDB5B4}"/>
                  </a:ext>
                </a:extLst>
              </p:cNvPr>
              <p:cNvSpPr/>
              <p:nvPr/>
            </p:nvSpPr>
            <p:spPr>
              <a:xfrm>
                <a:off x="6301812" y="3409898"/>
                <a:ext cx="18225" cy="39307"/>
              </a:xfrm>
              <a:custGeom>
                <a:avLst/>
                <a:gdLst>
                  <a:gd name="connsiteX0" fmla="*/ 18226 w 18225"/>
                  <a:gd name="connsiteY0" fmla="*/ 39308 h 39307"/>
                  <a:gd name="connsiteX1" fmla="*/ 41 w 18225"/>
                  <a:gd name="connsiteY1" fmla="*/ 18388 h 39307"/>
                  <a:gd name="connsiteX2" fmla="*/ 18226 w 18225"/>
                  <a:gd name="connsiteY2" fmla="*/ 0 h 39307"/>
                  <a:gd name="connsiteX3" fmla="*/ 18226 w 18225"/>
                  <a:gd name="connsiteY3" fmla="*/ 12207 h 39307"/>
                  <a:gd name="connsiteX4" fmla="*/ 11633 w 18225"/>
                  <a:gd name="connsiteY4" fmla="*/ 20433 h 39307"/>
                  <a:gd name="connsiteX5" fmla="*/ 18226 w 18225"/>
                  <a:gd name="connsiteY5" fmla="*/ 27100 h 39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25" h="39307">
                    <a:moveTo>
                      <a:pt x="18226" y="39308"/>
                    </a:moveTo>
                    <a:cubicBezTo>
                      <a:pt x="7491" y="38609"/>
                      <a:pt x="-650" y="29243"/>
                      <a:pt x="41" y="18388"/>
                    </a:cubicBezTo>
                    <a:cubicBezTo>
                      <a:pt x="670" y="8509"/>
                      <a:pt x="8455" y="636"/>
                      <a:pt x="18226" y="0"/>
                    </a:cubicBezTo>
                    <a:lnTo>
                      <a:pt x="18226" y="12207"/>
                    </a:lnTo>
                    <a:cubicBezTo>
                      <a:pt x="14159" y="12638"/>
                      <a:pt x="11207" y="16320"/>
                      <a:pt x="11633" y="20433"/>
                    </a:cubicBezTo>
                    <a:cubicBezTo>
                      <a:pt x="11997" y="23952"/>
                      <a:pt x="14746" y="26732"/>
                      <a:pt x="18226" y="27100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9" name="Freihandform 8">
                <a:extLst>
                  <a:ext uri="{FF2B5EF4-FFF2-40B4-BE49-F238E27FC236}">
                    <a16:creationId xmlns:a16="http://schemas.microsoft.com/office/drawing/2014/main" id="{7F809B5B-3E83-9B54-2D24-20C6A5A03A21}"/>
                  </a:ext>
                </a:extLst>
              </p:cNvPr>
              <p:cNvSpPr/>
              <p:nvPr/>
            </p:nvSpPr>
            <p:spPr>
              <a:xfrm>
                <a:off x="6412590" y="3409857"/>
                <a:ext cx="20728" cy="39389"/>
              </a:xfrm>
              <a:custGeom>
                <a:avLst/>
                <a:gdLst>
                  <a:gd name="connsiteX0" fmla="*/ 0 w 20728"/>
                  <a:gd name="connsiteY0" fmla="*/ 39349 h 39389"/>
                  <a:gd name="connsiteX1" fmla="*/ 0 w 20728"/>
                  <a:gd name="connsiteY1" fmla="*/ 27142 h 39389"/>
                  <a:gd name="connsiteX2" fmla="*/ 8135 w 20728"/>
                  <a:gd name="connsiteY2" fmla="*/ 20475 h 39389"/>
                  <a:gd name="connsiteX3" fmla="*/ 1542 w 20728"/>
                  <a:gd name="connsiteY3" fmla="*/ 12249 h 39389"/>
                  <a:gd name="connsiteX4" fmla="*/ 0 w 20728"/>
                  <a:gd name="connsiteY4" fmla="*/ 12249 h 39389"/>
                  <a:gd name="connsiteX5" fmla="*/ 0 w 20728"/>
                  <a:gd name="connsiteY5" fmla="*/ 41 h 39389"/>
                  <a:gd name="connsiteX6" fmla="*/ 20688 w 20728"/>
                  <a:gd name="connsiteY6" fmla="*/ 18430 h 39389"/>
                  <a:gd name="connsiteX7" fmla="*/ 2503 w 20728"/>
                  <a:gd name="connsiteY7" fmla="*/ 39349 h 39389"/>
                  <a:gd name="connsiteX8" fmla="*/ 0 w 20728"/>
                  <a:gd name="connsiteY8" fmla="*/ 39349 h 39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728" h="39389">
                    <a:moveTo>
                      <a:pt x="0" y="39349"/>
                    </a:moveTo>
                    <a:lnTo>
                      <a:pt x="0" y="27142"/>
                    </a:lnTo>
                    <a:cubicBezTo>
                      <a:pt x="4067" y="27572"/>
                      <a:pt x="7709" y="24587"/>
                      <a:pt x="8135" y="20475"/>
                    </a:cubicBezTo>
                    <a:cubicBezTo>
                      <a:pt x="8561" y="16362"/>
                      <a:pt x="5609" y="12679"/>
                      <a:pt x="1542" y="12249"/>
                    </a:cubicBezTo>
                    <a:cubicBezTo>
                      <a:pt x="1029" y="12194"/>
                      <a:pt x="513" y="12194"/>
                      <a:pt x="0" y="12249"/>
                    </a:cubicBezTo>
                    <a:lnTo>
                      <a:pt x="0" y="41"/>
                    </a:lnTo>
                    <a:cubicBezTo>
                      <a:pt x="10734" y="-658"/>
                      <a:pt x="19996" y="7575"/>
                      <a:pt x="20688" y="18430"/>
                    </a:cubicBezTo>
                    <a:cubicBezTo>
                      <a:pt x="21379" y="29285"/>
                      <a:pt x="13237" y="38650"/>
                      <a:pt x="2503" y="39349"/>
                    </a:cubicBezTo>
                    <a:cubicBezTo>
                      <a:pt x="1669" y="39404"/>
                      <a:pt x="833" y="39404"/>
                      <a:pt x="0" y="39349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0" name="Freihandform 9">
                <a:extLst>
                  <a:ext uri="{FF2B5EF4-FFF2-40B4-BE49-F238E27FC236}">
                    <a16:creationId xmlns:a16="http://schemas.microsoft.com/office/drawing/2014/main" id="{CA1C0615-45A9-E9E2-AE2A-CFC57E77C591}"/>
                  </a:ext>
                </a:extLst>
              </p:cNvPr>
              <p:cNvSpPr/>
              <p:nvPr/>
            </p:nvSpPr>
            <p:spPr>
              <a:xfrm>
                <a:off x="6319393" y="3390297"/>
                <a:ext cx="65397" cy="26355"/>
              </a:xfrm>
              <a:custGeom>
                <a:avLst/>
                <a:gdLst>
                  <a:gd name="connsiteX0" fmla="*/ 38631 w 65397"/>
                  <a:gd name="connsiteY0" fmla="*/ 26356 h 26355"/>
                  <a:gd name="connsiteX1" fmla="*/ 6036 w 65397"/>
                  <a:gd name="connsiteY1" fmla="*/ 26356 h 26355"/>
                  <a:gd name="connsiteX2" fmla="*/ 0 w 65397"/>
                  <a:gd name="connsiteY2" fmla="*/ 20252 h 26355"/>
                  <a:gd name="connsiteX3" fmla="*/ 6036 w 65397"/>
                  <a:gd name="connsiteY3" fmla="*/ 14149 h 26355"/>
                  <a:gd name="connsiteX4" fmla="*/ 38631 w 65397"/>
                  <a:gd name="connsiteY4" fmla="*/ 14149 h 26355"/>
                  <a:gd name="connsiteX5" fmla="*/ 46679 w 65397"/>
                  <a:gd name="connsiteY5" fmla="*/ 10730 h 26355"/>
                  <a:gd name="connsiteX6" fmla="*/ 54163 w 65397"/>
                  <a:gd name="connsiteY6" fmla="*/ 2999 h 26355"/>
                  <a:gd name="connsiteX7" fmla="*/ 62431 w 65397"/>
                  <a:gd name="connsiteY7" fmla="*/ 850 h 26355"/>
                  <a:gd name="connsiteX8" fmla="*/ 64557 w 65397"/>
                  <a:gd name="connsiteY8" fmla="*/ 9209 h 26355"/>
                  <a:gd name="connsiteX9" fmla="*/ 62775 w 65397"/>
                  <a:gd name="connsiteY9" fmla="*/ 11137 h 26355"/>
                  <a:gd name="connsiteX10" fmla="*/ 55371 w 65397"/>
                  <a:gd name="connsiteY10" fmla="*/ 19276 h 26355"/>
                  <a:gd name="connsiteX11" fmla="*/ 38631 w 65397"/>
                  <a:gd name="connsiteY11" fmla="*/ 26356 h 26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5397" h="26355">
                    <a:moveTo>
                      <a:pt x="38631" y="26356"/>
                    </a:moveTo>
                    <a:lnTo>
                      <a:pt x="6036" y="26356"/>
                    </a:lnTo>
                    <a:cubicBezTo>
                      <a:pt x="2703" y="26356"/>
                      <a:pt x="0" y="23623"/>
                      <a:pt x="0" y="20252"/>
                    </a:cubicBezTo>
                    <a:cubicBezTo>
                      <a:pt x="0" y="16881"/>
                      <a:pt x="2703" y="14149"/>
                      <a:pt x="6036" y="14149"/>
                    </a:cubicBezTo>
                    <a:lnTo>
                      <a:pt x="38631" y="14149"/>
                    </a:lnTo>
                    <a:cubicBezTo>
                      <a:pt x="41666" y="14187"/>
                      <a:pt x="44581" y="12949"/>
                      <a:pt x="46679" y="10730"/>
                    </a:cubicBezTo>
                    <a:lnTo>
                      <a:pt x="54163" y="2999"/>
                    </a:lnTo>
                    <a:cubicBezTo>
                      <a:pt x="55859" y="97"/>
                      <a:pt x="59561" y="-865"/>
                      <a:pt x="62431" y="850"/>
                    </a:cubicBezTo>
                    <a:cubicBezTo>
                      <a:pt x="65301" y="2565"/>
                      <a:pt x="66252" y="6307"/>
                      <a:pt x="64557" y="9209"/>
                    </a:cubicBezTo>
                    <a:cubicBezTo>
                      <a:pt x="64108" y="9976"/>
                      <a:pt x="63501" y="10634"/>
                      <a:pt x="62775" y="11137"/>
                    </a:cubicBezTo>
                    <a:lnTo>
                      <a:pt x="55371" y="19276"/>
                    </a:lnTo>
                    <a:cubicBezTo>
                      <a:pt x="50958" y="23814"/>
                      <a:pt x="44925" y="26366"/>
                      <a:pt x="38631" y="26356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1" name="Freihandform 10">
                <a:extLst>
                  <a:ext uri="{FF2B5EF4-FFF2-40B4-BE49-F238E27FC236}">
                    <a16:creationId xmlns:a16="http://schemas.microsoft.com/office/drawing/2014/main" id="{6B7456FD-25E5-83F1-0858-68FA129F990B}"/>
                  </a:ext>
                </a:extLst>
              </p:cNvPr>
              <p:cNvSpPr/>
              <p:nvPr/>
            </p:nvSpPr>
            <p:spPr>
              <a:xfrm>
                <a:off x="6345067" y="3425279"/>
                <a:ext cx="9174" cy="9277"/>
              </a:xfrm>
              <a:custGeom>
                <a:avLst/>
                <a:gdLst>
                  <a:gd name="connsiteX0" fmla="*/ 9175 w 9174"/>
                  <a:gd name="connsiteY0" fmla="*/ 4639 h 9277"/>
                  <a:gd name="connsiteX1" fmla="*/ 4587 w 9174"/>
                  <a:gd name="connsiteY1" fmla="*/ 9278 h 9277"/>
                  <a:gd name="connsiteX2" fmla="*/ 0 w 9174"/>
                  <a:gd name="connsiteY2" fmla="*/ 4639 h 9277"/>
                  <a:gd name="connsiteX3" fmla="*/ 4587 w 9174"/>
                  <a:gd name="connsiteY3" fmla="*/ 0 h 9277"/>
                  <a:gd name="connsiteX4" fmla="*/ 9175 w 9174"/>
                  <a:gd name="connsiteY4" fmla="*/ 4639 h 9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74" h="9277">
                    <a:moveTo>
                      <a:pt x="9175" y="4639"/>
                    </a:moveTo>
                    <a:cubicBezTo>
                      <a:pt x="9175" y="7201"/>
                      <a:pt x="7121" y="9278"/>
                      <a:pt x="4587" y="9278"/>
                    </a:cubicBezTo>
                    <a:cubicBezTo>
                      <a:pt x="2054" y="9278"/>
                      <a:pt x="0" y="7201"/>
                      <a:pt x="0" y="4639"/>
                    </a:cubicBezTo>
                    <a:cubicBezTo>
                      <a:pt x="0" y="2077"/>
                      <a:pt x="2054" y="0"/>
                      <a:pt x="4587" y="0"/>
                    </a:cubicBezTo>
                    <a:cubicBezTo>
                      <a:pt x="7121" y="0"/>
                      <a:pt x="9175" y="2077"/>
                      <a:pt x="9175" y="4639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2" name="Freihandform 11">
                <a:extLst>
                  <a:ext uri="{FF2B5EF4-FFF2-40B4-BE49-F238E27FC236}">
                    <a16:creationId xmlns:a16="http://schemas.microsoft.com/office/drawing/2014/main" id="{5F73BEFF-6CBA-A383-6C29-CBF7829C90B5}"/>
                  </a:ext>
                </a:extLst>
              </p:cNvPr>
              <p:cNvSpPr/>
              <p:nvPr/>
            </p:nvSpPr>
            <p:spPr>
              <a:xfrm>
                <a:off x="6377903" y="3425279"/>
                <a:ext cx="9174" cy="9277"/>
              </a:xfrm>
              <a:custGeom>
                <a:avLst/>
                <a:gdLst>
                  <a:gd name="connsiteX0" fmla="*/ 9175 w 9174"/>
                  <a:gd name="connsiteY0" fmla="*/ 4639 h 9277"/>
                  <a:gd name="connsiteX1" fmla="*/ 4587 w 9174"/>
                  <a:gd name="connsiteY1" fmla="*/ 9278 h 9277"/>
                  <a:gd name="connsiteX2" fmla="*/ 0 w 9174"/>
                  <a:gd name="connsiteY2" fmla="*/ 4639 h 9277"/>
                  <a:gd name="connsiteX3" fmla="*/ 4587 w 9174"/>
                  <a:gd name="connsiteY3" fmla="*/ 0 h 9277"/>
                  <a:gd name="connsiteX4" fmla="*/ 9175 w 9174"/>
                  <a:gd name="connsiteY4" fmla="*/ 4639 h 9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74" h="9277">
                    <a:moveTo>
                      <a:pt x="9175" y="4639"/>
                    </a:moveTo>
                    <a:cubicBezTo>
                      <a:pt x="9175" y="7201"/>
                      <a:pt x="7121" y="9278"/>
                      <a:pt x="4587" y="9278"/>
                    </a:cubicBezTo>
                    <a:cubicBezTo>
                      <a:pt x="2054" y="9278"/>
                      <a:pt x="0" y="7201"/>
                      <a:pt x="0" y="4639"/>
                    </a:cubicBezTo>
                    <a:cubicBezTo>
                      <a:pt x="0" y="2077"/>
                      <a:pt x="2054" y="0"/>
                      <a:pt x="4587" y="0"/>
                    </a:cubicBezTo>
                    <a:cubicBezTo>
                      <a:pt x="7121" y="0"/>
                      <a:pt x="9175" y="2077"/>
                      <a:pt x="9175" y="4639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3" name="Freihandform 12">
                <a:extLst>
                  <a:ext uri="{FF2B5EF4-FFF2-40B4-BE49-F238E27FC236}">
                    <a16:creationId xmlns:a16="http://schemas.microsoft.com/office/drawing/2014/main" id="{B04B22DF-CF30-6FC1-3A6E-327FD88D6D29}"/>
                  </a:ext>
                </a:extLst>
              </p:cNvPr>
              <p:cNvSpPr/>
              <p:nvPr/>
            </p:nvSpPr>
            <p:spPr>
              <a:xfrm>
                <a:off x="6342089" y="3469877"/>
                <a:ext cx="12072" cy="34994"/>
              </a:xfrm>
              <a:custGeom>
                <a:avLst/>
                <a:gdLst>
                  <a:gd name="connsiteX0" fmla="*/ 6036 w 12072"/>
                  <a:gd name="connsiteY0" fmla="*/ 34994 h 34994"/>
                  <a:gd name="connsiteX1" fmla="*/ 0 w 12072"/>
                  <a:gd name="connsiteY1" fmla="*/ 28891 h 34994"/>
                  <a:gd name="connsiteX2" fmla="*/ 0 w 12072"/>
                  <a:gd name="connsiteY2" fmla="*/ 6104 h 34994"/>
                  <a:gd name="connsiteX3" fmla="*/ 6036 w 12072"/>
                  <a:gd name="connsiteY3" fmla="*/ 0 h 34994"/>
                  <a:gd name="connsiteX4" fmla="*/ 12072 w 12072"/>
                  <a:gd name="connsiteY4" fmla="*/ 6104 h 34994"/>
                  <a:gd name="connsiteX5" fmla="*/ 12072 w 12072"/>
                  <a:gd name="connsiteY5" fmla="*/ 28891 h 34994"/>
                  <a:gd name="connsiteX6" fmla="*/ 6036 w 12072"/>
                  <a:gd name="connsiteY6" fmla="*/ 34994 h 34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072" h="34994">
                    <a:moveTo>
                      <a:pt x="6036" y="34994"/>
                    </a:moveTo>
                    <a:cubicBezTo>
                      <a:pt x="2703" y="34994"/>
                      <a:pt x="0" y="32262"/>
                      <a:pt x="0" y="28891"/>
                    </a:cubicBezTo>
                    <a:lnTo>
                      <a:pt x="0" y="6104"/>
                    </a:lnTo>
                    <a:cubicBezTo>
                      <a:pt x="0" y="2733"/>
                      <a:pt x="2703" y="0"/>
                      <a:pt x="6036" y="0"/>
                    </a:cubicBezTo>
                    <a:cubicBezTo>
                      <a:pt x="9370" y="0"/>
                      <a:pt x="12072" y="2733"/>
                      <a:pt x="12072" y="6104"/>
                    </a:cubicBezTo>
                    <a:lnTo>
                      <a:pt x="12072" y="28891"/>
                    </a:lnTo>
                    <a:cubicBezTo>
                      <a:pt x="12029" y="32244"/>
                      <a:pt x="9352" y="34950"/>
                      <a:pt x="6036" y="34994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4" name="Freihandform 13">
                <a:extLst>
                  <a:ext uri="{FF2B5EF4-FFF2-40B4-BE49-F238E27FC236}">
                    <a16:creationId xmlns:a16="http://schemas.microsoft.com/office/drawing/2014/main" id="{DFF7883D-A082-6C1F-0F68-889747A0D82A}"/>
                  </a:ext>
                </a:extLst>
              </p:cNvPr>
              <p:cNvSpPr/>
              <p:nvPr/>
            </p:nvSpPr>
            <p:spPr>
              <a:xfrm>
                <a:off x="6379995" y="3469877"/>
                <a:ext cx="12072" cy="33041"/>
              </a:xfrm>
              <a:custGeom>
                <a:avLst/>
                <a:gdLst>
                  <a:gd name="connsiteX0" fmla="*/ 6037 w 12072"/>
                  <a:gd name="connsiteY0" fmla="*/ 33041 h 33041"/>
                  <a:gd name="connsiteX1" fmla="*/ 1 w 12072"/>
                  <a:gd name="connsiteY1" fmla="*/ 27101 h 33041"/>
                  <a:gd name="connsiteX2" fmla="*/ 1 w 12072"/>
                  <a:gd name="connsiteY2" fmla="*/ 26938 h 33041"/>
                  <a:gd name="connsiteX3" fmla="*/ 1 w 12072"/>
                  <a:gd name="connsiteY3" fmla="*/ 6104 h 33041"/>
                  <a:gd name="connsiteX4" fmla="*/ 6037 w 12072"/>
                  <a:gd name="connsiteY4" fmla="*/ 0 h 33041"/>
                  <a:gd name="connsiteX5" fmla="*/ 12073 w 12072"/>
                  <a:gd name="connsiteY5" fmla="*/ 6104 h 33041"/>
                  <a:gd name="connsiteX6" fmla="*/ 12073 w 12072"/>
                  <a:gd name="connsiteY6" fmla="*/ 26938 h 33041"/>
                  <a:gd name="connsiteX7" fmla="*/ 6037 w 12072"/>
                  <a:gd name="connsiteY7" fmla="*/ 33041 h 33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072" h="33041">
                    <a:moveTo>
                      <a:pt x="6037" y="33041"/>
                    </a:moveTo>
                    <a:cubicBezTo>
                      <a:pt x="2747" y="33087"/>
                      <a:pt x="46" y="30427"/>
                      <a:pt x="1" y="27101"/>
                    </a:cubicBezTo>
                    <a:cubicBezTo>
                      <a:pt x="0" y="27047"/>
                      <a:pt x="0" y="26992"/>
                      <a:pt x="1" y="26938"/>
                    </a:cubicBezTo>
                    <a:lnTo>
                      <a:pt x="1" y="6104"/>
                    </a:lnTo>
                    <a:cubicBezTo>
                      <a:pt x="1" y="2733"/>
                      <a:pt x="2703" y="0"/>
                      <a:pt x="6037" y="0"/>
                    </a:cubicBezTo>
                    <a:cubicBezTo>
                      <a:pt x="9370" y="0"/>
                      <a:pt x="12073" y="2733"/>
                      <a:pt x="12073" y="6104"/>
                    </a:cubicBezTo>
                    <a:lnTo>
                      <a:pt x="12073" y="26938"/>
                    </a:lnTo>
                    <a:cubicBezTo>
                      <a:pt x="12073" y="30308"/>
                      <a:pt x="9370" y="33041"/>
                      <a:pt x="6037" y="33041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5" name="Freihandform 14">
                <a:extLst>
                  <a:ext uri="{FF2B5EF4-FFF2-40B4-BE49-F238E27FC236}">
                    <a16:creationId xmlns:a16="http://schemas.microsoft.com/office/drawing/2014/main" id="{B69D241E-D1AA-E10A-0774-92C7810CA0A8}"/>
                  </a:ext>
                </a:extLst>
              </p:cNvPr>
              <p:cNvSpPr/>
              <p:nvPr/>
            </p:nvSpPr>
            <p:spPr>
              <a:xfrm>
                <a:off x="6503211" y="3343653"/>
                <a:ext cx="99956" cy="140954"/>
              </a:xfrm>
              <a:custGeom>
                <a:avLst/>
                <a:gdLst>
                  <a:gd name="connsiteX0" fmla="*/ 49978 w 99956"/>
                  <a:gd name="connsiteY0" fmla="*/ 140954 h 140954"/>
                  <a:gd name="connsiteX1" fmla="*/ 0 w 99956"/>
                  <a:gd name="connsiteY1" fmla="*/ 90416 h 140954"/>
                  <a:gd name="connsiteX2" fmla="*/ 0 w 99956"/>
                  <a:gd name="connsiteY2" fmla="*/ 79836 h 140954"/>
                  <a:gd name="connsiteX3" fmla="*/ 6036 w 99956"/>
                  <a:gd name="connsiteY3" fmla="*/ 73732 h 140954"/>
                  <a:gd name="connsiteX4" fmla="*/ 12072 w 99956"/>
                  <a:gd name="connsiteY4" fmla="*/ 79836 h 140954"/>
                  <a:gd name="connsiteX5" fmla="*/ 12072 w 99956"/>
                  <a:gd name="connsiteY5" fmla="*/ 90416 h 140954"/>
                  <a:gd name="connsiteX6" fmla="*/ 49978 w 99956"/>
                  <a:gd name="connsiteY6" fmla="*/ 128747 h 140954"/>
                  <a:gd name="connsiteX7" fmla="*/ 87885 w 99956"/>
                  <a:gd name="connsiteY7" fmla="*/ 90416 h 140954"/>
                  <a:gd name="connsiteX8" fmla="*/ 87885 w 99956"/>
                  <a:gd name="connsiteY8" fmla="*/ 50538 h 140954"/>
                  <a:gd name="connsiteX9" fmla="*/ 49978 w 99956"/>
                  <a:gd name="connsiteY9" fmla="*/ 12207 h 140954"/>
                  <a:gd name="connsiteX10" fmla="*/ 43942 w 99956"/>
                  <a:gd name="connsiteY10" fmla="*/ 6104 h 140954"/>
                  <a:gd name="connsiteX11" fmla="*/ 49978 w 99956"/>
                  <a:gd name="connsiteY11" fmla="*/ 0 h 140954"/>
                  <a:gd name="connsiteX12" fmla="*/ 99957 w 99956"/>
                  <a:gd name="connsiteY12" fmla="*/ 50538 h 140954"/>
                  <a:gd name="connsiteX13" fmla="*/ 99957 w 99956"/>
                  <a:gd name="connsiteY13" fmla="*/ 90416 h 140954"/>
                  <a:gd name="connsiteX14" fmla="*/ 49978 w 99956"/>
                  <a:gd name="connsiteY14" fmla="*/ 140954 h 14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9956" h="140954">
                    <a:moveTo>
                      <a:pt x="49978" y="140954"/>
                    </a:moveTo>
                    <a:cubicBezTo>
                      <a:pt x="22395" y="140909"/>
                      <a:pt x="44" y="118309"/>
                      <a:pt x="0" y="90416"/>
                    </a:cubicBezTo>
                    <a:lnTo>
                      <a:pt x="0" y="79836"/>
                    </a:lnTo>
                    <a:cubicBezTo>
                      <a:pt x="0" y="76465"/>
                      <a:pt x="2703" y="73732"/>
                      <a:pt x="6036" y="73732"/>
                    </a:cubicBezTo>
                    <a:cubicBezTo>
                      <a:pt x="9370" y="73732"/>
                      <a:pt x="12072" y="76465"/>
                      <a:pt x="12072" y="79836"/>
                    </a:cubicBezTo>
                    <a:lnTo>
                      <a:pt x="12072" y="90416"/>
                    </a:lnTo>
                    <a:cubicBezTo>
                      <a:pt x="12072" y="111586"/>
                      <a:pt x="29043" y="128747"/>
                      <a:pt x="49978" y="128747"/>
                    </a:cubicBezTo>
                    <a:cubicBezTo>
                      <a:pt x="70914" y="128747"/>
                      <a:pt x="87885" y="111586"/>
                      <a:pt x="87885" y="90416"/>
                    </a:cubicBezTo>
                    <a:lnTo>
                      <a:pt x="87885" y="50538"/>
                    </a:lnTo>
                    <a:cubicBezTo>
                      <a:pt x="87840" y="29387"/>
                      <a:pt x="70895" y="12252"/>
                      <a:pt x="49978" y="12207"/>
                    </a:cubicBezTo>
                    <a:cubicBezTo>
                      <a:pt x="46645" y="12207"/>
                      <a:pt x="43942" y="9475"/>
                      <a:pt x="43942" y="6104"/>
                    </a:cubicBezTo>
                    <a:cubicBezTo>
                      <a:pt x="43942" y="2733"/>
                      <a:pt x="46645" y="0"/>
                      <a:pt x="49978" y="0"/>
                    </a:cubicBezTo>
                    <a:cubicBezTo>
                      <a:pt x="77562" y="45"/>
                      <a:pt x="99913" y="22645"/>
                      <a:pt x="99957" y="50538"/>
                    </a:cubicBezTo>
                    <a:lnTo>
                      <a:pt x="99957" y="90416"/>
                    </a:lnTo>
                    <a:cubicBezTo>
                      <a:pt x="99913" y="118309"/>
                      <a:pt x="77562" y="140909"/>
                      <a:pt x="49978" y="140954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29" name="Freihandform 28">
                <a:extLst>
                  <a:ext uri="{FF2B5EF4-FFF2-40B4-BE49-F238E27FC236}">
                    <a16:creationId xmlns:a16="http://schemas.microsoft.com/office/drawing/2014/main" id="{6A9EC68B-05D1-9E38-3897-F698C136722D}"/>
                  </a:ext>
                </a:extLst>
              </p:cNvPr>
              <p:cNvSpPr/>
              <p:nvPr/>
            </p:nvSpPr>
            <p:spPr>
              <a:xfrm>
                <a:off x="6475682" y="3415803"/>
                <a:ext cx="38819" cy="43822"/>
              </a:xfrm>
              <a:custGeom>
                <a:avLst/>
                <a:gdLst>
                  <a:gd name="connsiteX0" fmla="*/ 9421 w 38819"/>
                  <a:gd name="connsiteY0" fmla="*/ 43820 h 43822"/>
                  <a:gd name="connsiteX1" fmla="*/ 4351 w 38819"/>
                  <a:gd name="connsiteY1" fmla="*/ 41053 h 43822"/>
                  <a:gd name="connsiteX2" fmla="*/ 11718 w 38819"/>
                  <a:gd name="connsiteY2" fmla="*/ 4397 h 43822"/>
                  <a:gd name="connsiteX3" fmla="*/ 34612 w 38819"/>
                  <a:gd name="connsiteY3" fmla="*/ 1419 h 43822"/>
                  <a:gd name="connsiteX4" fmla="*/ 38512 w 38819"/>
                  <a:gd name="connsiteY4" fmla="*/ 9226 h 43822"/>
                  <a:gd name="connsiteX5" fmla="*/ 38394 w 38819"/>
                  <a:gd name="connsiteY5" fmla="*/ 9558 h 43822"/>
                  <a:gd name="connsiteX6" fmla="*/ 30846 w 38819"/>
                  <a:gd name="connsiteY6" fmla="*/ 13335 h 43822"/>
                  <a:gd name="connsiteX7" fmla="*/ 30748 w 38819"/>
                  <a:gd name="connsiteY7" fmla="*/ 13301 h 43822"/>
                  <a:gd name="connsiteX8" fmla="*/ 13003 w 38819"/>
                  <a:gd name="connsiteY8" fmla="*/ 22449 h 43822"/>
                  <a:gd name="connsiteX9" fmla="*/ 14652 w 38819"/>
                  <a:gd name="connsiteY9" fmla="*/ 34705 h 43822"/>
                  <a:gd name="connsiteX10" fmla="*/ 12962 w 38819"/>
                  <a:gd name="connsiteY10" fmla="*/ 42843 h 43822"/>
                  <a:gd name="connsiteX11" fmla="*/ 9421 w 38819"/>
                  <a:gd name="connsiteY11" fmla="*/ 43820 h 4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8819" h="43822">
                    <a:moveTo>
                      <a:pt x="9421" y="43820"/>
                    </a:moveTo>
                    <a:cubicBezTo>
                      <a:pt x="7373" y="43840"/>
                      <a:pt x="5458" y="42795"/>
                      <a:pt x="4351" y="41053"/>
                    </a:cubicBezTo>
                    <a:cubicBezTo>
                      <a:pt x="-3625" y="28874"/>
                      <a:pt x="-327" y="12462"/>
                      <a:pt x="11718" y="4397"/>
                    </a:cubicBezTo>
                    <a:cubicBezTo>
                      <a:pt x="18480" y="-131"/>
                      <a:pt x="26936" y="-1231"/>
                      <a:pt x="34612" y="1419"/>
                    </a:cubicBezTo>
                    <a:cubicBezTo>
                      <a:pt x="37821" y="2486"/>
                      <a:pt x="39567" y="5982"/>
                      <a:pt x="38512" y="9226"/>
                    </a:cubicBezTo>
                    <a:cubicBezTo>
                      <a:pt x="38476" y="9338"/>
                      <a:pt x="38437" y="9449"/>
                      <a:pt x="38394" y="9558"/>
                    </a:cubicBezTo>
                    <a:cubicBezTo>
                      <a:pt x="37341" y="12709"/>
                      <a:pt x="33962" y="14400"/>
                      <a:pt x="30846" y="13335"/>
                    </a:cubicBezTo>
                    <a:cubicBezTo>
                      <a:pt x="30813" y="13324"/>
                      <a:pt x="30781" y="13313"/>
                      <a:pt x="30748" y="13301"/>
                    </a:cubicBezTo>
                    <a:cubicBezTo>
                      <a:pt x="23350" y="10872"/>
                      <a:pt x="15406" y="14967"/>
                      <a:pt x="13003" y="22449"/>
                    </a:cubicBezTo>
                    <a:cubicBezTo>
                      <a:pt x="11678" y="26575"/>
                      <a:pt x="12285" y="31087"/>
                      <a:pt x="14652" y="34705"/>
                    </a:cubicBezTo>
                    <a:cubicBezTo>
                      <a:pt x="16246" y="37453"/>
                      <a:pt x="15514" y="40975"/>
                      <a:pt x="12962" y="42843"/>
                    </a:cubicBezTo>
                    <a:cubicBezTo>
                      <a:pt x="11905" y="43518"/>
                      <a:pt x="10671" y="43858"/>
                      <a:pt x="9421" y="43820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46" name="Freihandform 45">
                <a:extLst>
                  <a:ext uri="{FF2B5EF4-FFF2-40B4-BE49-F238E27FC236}">
                    <a16:creationId xmlns:a16="http://schemas.microsoft.com/office/drawing/2014/main" id="{1B5D1786-D2DA-CD08-5C0F-A5980092760E}"/>
                  </a:ext>
                </a:extLst>
              </p:cNvPr>
              <p:cNvSpPr/>
              <p:nvPr/>
            </p:nvSpPr>
            <p:spPr>
              <a:xfrm>
                <a:off x="6531943" y="3425279"/>
                <a:ext cx="9174" cy="9277"/>
              </a:xfrm>
              <a:custGeom>
                <a:avLst/>
                <a:gdLst>
                  <a:gd name="connsiteX0" fmla="*/ 9175 w 9174"/>
                  <a:gd name="connsiteY0" fmla="*/ 4639 h 9277"/>
                  <a:gd name="connsiteX1" fmla="*/ 4587 w 9174"/>
                  <a:gd name="connsiteY1" fmla="*/ 9278 h 9277"/>
                  <a:gd name="connsiteX2" fmla="*/ 0 w 9174"/>
                  <a:gd name="connsiteY2" fmla="*/ 4639 h 9277"/>
                  <a:gd name="connsiteX3" fmla="*/ 4587 w 9174"/>
                  <a:gd name="connsiteY3" fmla="*/ 0 h 9277"/>
                  <a:gd name="connsiteX4" fmla="*/ 9175 w 9174"/>
                  <a:gd name="connsiteY4" fmla="*/ 4639 h 9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74" h="9277">
                    <a:moveTo>
                      <a:pt x="9175" y="4639"/>
                    </a:moveTo>
                    <a:cubicBezTo>
                      <a:pt x="9175" y="7201"/>
                      <a:pt x="7121" y="9278"/>
                      <a:pt x="4587" y="9278"/>
                    </a:cubicBezTo>
                    <a:cubicBezTo>
                      <a:pt x="2054" y="9278"/>
                      <a:pt x="0" y="7201"/>
                      <a:pt x="0" y="4639"/>
                    </a:cubicBezTo>
                    <a:cubicBezTo>
                      <a:pt x="0" y="2077"/>
                      <a:pt x="2054" y="0"/>
                      <a:pt x="4587" y="0"/>
                    </a:cubicBezTo>
                    <a:cubicBezTo>
                      <a:pt x="7121" y="0"/>
                      <a:pt x="9175" y="2077"/>
                      <a:pt x="9175" y="4639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48" name="Freihandform 47">
                <a:extLst>
                  <a:ext uri="{FF2B5EF4-FFF2-40B4-BE49-F238E27FC236}">
                    <a16:creationId xmlns:a16="http://schemas.microsoft.com/office/drawing/2014/main" id="{2CD845A5-DA2B-6ED3-6E41-88CEC3E390F5}"/>
                  </a:ext>
                </a:extLst>
              </p:cNvPr>
              <p:cNvSpPr/>
              <p:nvPr/>
            </p:nvSpPr>
            <p:spPr>
              <a:xfrm>
                <a:off x="6565905" y="3425279"/>
                <a:ext cx="9174" cy="9277"/>
              </a:xfrm>
              <a:custGeom>
                <a:avLst/>
                <a:gdLst>
                  <a:gd name="connsiteX0" fmla="*/ 9175 w 9174"/>
                  <a:gd name="connsiteY0" fmla="*/ 4639 h 9277"/>
                  <a:gd name="connsiteX1" fmla="*/ 4587 w 9174"/>
                  <a:gd name="connsiteY1" fmla="*/ 9278 h 9277"/>
                  <a:gd name="connsiteX2" fmla="*/ 0 w 9174"/>
                  <a:gd name="connsiteY2" fmla="*/ 4639 h 9277"/>
                  <a:gd name="connsiteX3" fmla="*/ 4587 w 9174"/>
                  <a:gd name="connsiteY3" fmla="*/ 0 h 9277"/>
                  <a:gd name="connsiteX4" fmla="*/ 9175 w 9174"/>
                  <a:gd name="connsiteY4" fmla="*/ 4639 h 9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74" h="9277">
                    <a:moveTo>
                      <a:pt x="9175" y="4639"/>
                    </a:moveTo>
                    <a:cubicBezTo>
                      <a:pt x="9175" y="7201"/>
                      <a:pt x="7121" y="9278"/>
                      <a:pt x="4587" y="9278"/>
                    </a:cubicBezTo>
                    <a:cubicBezTo>
                      <a:pt x="2054" y="9278"/>
                      <a:pt x="0" y="7201"/>
                      <a:pt x="0" y="4639"/>
                    </a:cubicBezTo>
                    <a:cubicBezTo>
                      <a:pt x="0" y="2077"/>
                      <a:pt x="2054" y="0"/>
                      <a:pt x="4587" y="0"/>
                    </a:cubicBezTo>
                    <a:cubicBezTo>
                      <a:pt x="7121" y="0"/>
                      <a:pt x="9175" y="2077"/>
                      <a:pt x="9175" y="4639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69" name="Freihandform 68">
                <a:extLst>
                  <a:ext uri="{FF2B5EF4-FFF2-40B4-BE49-F238E27FC236}">
                    <a16:creationId xmlns:a16="http://schemas.microsoft.com/office/drawing/2014/main" id="{3445F6E2-7427-186E-01FE-A83F08F7C959}"/>
                  </a:ext>
                </a:extLst>
              </p:cNvPr>
              <p:cNvSpPr/>
              <p:nvPr/>
            </p:nvSpPr>
            <p:spPr>
              <a:xfrm>
                <a:off x="6528964" y="3469877"/>
                <a:ext cx="12072" cy="33041"/>
              </a:xfrm>
              <a:custGeom>
                <a:avLst/>
                <a:gdLst>
                  <a:gd name="connsiteX0" fmla="*/ 6037 w 12072"/>
                  <a:gd name="connsiteY0" fmla="*/ 33041 h 33041"/>
                  <a:gd name="connsiteX1" fmla="*/ 1 w 12072"/>
                  <a:gd name="connsiteY1" fmla="*/ 27101 h 33041"/>
                  <a:gd name="connsiteX2" fmla="*/ 1 w 12072"/>
                  <a:gd name="connsiteY2" fmla="*/ 26938 h 33041"/>
                  <a:gd name="connsiteX3" fmla="*/ 1 w 12072"/>
                  <a:gd name="connsiteY3" fmla="*/ 6104 h 33041"/>
                  <a:gd name="connsiteX4" fmla="*/ 6037 w 12072"/>
                  <a:gd name="connsiteY4" fmla="*/ 0 h 33041"/>
                  <a:gd name="connsiteX5" fmla="*/ 12073 w 12072"/>
                  <a:gd name="connsiteY5" fmla="*/ 6104 h 33041"/>
                  <a:gd name="connsiteX6" fmla="*/ 12073 w 12072"/>
                  <a:gd name="connsiteY6" fmla="*/ 26938 h 33041"/>
                  <a:gd name="connsiteX7" fmla="*/ 6037 w 12072"/>
                  <a:gd name="connsiteY7" fmla="*/ 33041 h 33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072" h="33041">
                    <a:moveTo>
                      <a:pt x="6037" y="33041"/>
                    </a:moveTo>
                    <a:cubicBezTo>
                      <a:pt x="2747" y="33087"/>
                      <a:pt x="46" y="30427"/>
                      <a:pt x="1" y="27101"/>
                    </a:cubicBezTo>
                    <a:cubicBezTo>
                      <a:pt x="0" y="27047"/>
                      <a:pt x="0" y="26992"/>
                      <a:pt x="1" y="26938"/>
                    </a:cubicBezTo>
                    <a:lnTo>
                      <a:pt x="1" y="6104"/>
                    </a:lnTo>
                    <a:cubicBezTo>
                      <a:pt x="1" y="2733"/>
                      <a:pt x="2703" y="0"/>
                      <a:pt x="6037" y="0"/>
                    </a:cubicBezTo>
                    <a:cubicBezTo>
                      <a:pt x="9370" y="0"/>
                      <a:pt x="12073" y="2733"/>
                      <a:pt x="12073" y="6104"/>
                    </a:cubicBezTo>
                    <a:lnTo>
                      <a:pt x="12073" y="26938"/>
                    </a:lnTo>
                    <a:cubicBezTo>
                      <a:pt x="12073" y="30308"/>
                      <a:pt x="9370" y="33041"/>
                      <a:pt x="6037" y="33041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70" name="Freihandform 69">
                <a:extLst>
                  <a:ext uri="{FF2B5EF4-FFF2-40B4-BE49-F238E27FC236}">
                    <a16:creationId xmlns:a16="http://schemas.microsoft.com/office/drawing/2014/main" id="{8D135BB2-417C-0CBC-C910-885910AEC1F8}"/>
                  </a:ext>
                </a:extLst>
              </p:cNvPr>
              <p:cNvSpPr/>
              <p:nvPr/>
            </p:nvSpPr>
            <p:spPr>
              <a:xfrm>
                <a:off x="6566630" y="3469877"/>
                <a:ext cx="12072" cy="33041"/>
              </a:xfrm>
              <a:custGeom>
                <a:avLst/>
                <a:gdLst>
                  <a:gd name="connsiteX0" fmla="*/ 6036 w 12072"/>
                  <a:gd name="connsiteY0" fmla="*/ 33041 h 33041"/>
                  <a:gd name="connsiteX1" fmla="*/ 0 w 12072"/>
                  <a:gd name="connsiteY1" fmla="*/ 26938 h 33041"/>
                  <a:gd name="connsiteX2" fmla="*/ 0 w 12072"/>
                  <a:gd name="connsiteY2" fmla="*/ 6104 h 33041"/>
                  <a:gd name="connsiteX3" fmla="*/ 6036 w 12072"/>
                  <a:gd name="connsiteY3" fmla="*/ 0 h 33041"/>
                  <a:gd name="connsiteX4" fmla="*/ 12072 w 12072"/>
                  <a:gd name="connsiteY4" fmla="*/ 6104 h 33041"/>
                  <a:gd name="connsiteX5" fmla="*/ 12072 w 12072"/>
                  <a:gd name="connsiteY5" fmla="*/ 26938 h 33041"/>
                  <a:gd name="connsiteX6" fmla="*/ 6036 w 12072"/>
                  <a:gd name="connsiteY6" fmla="*/ 33041 h 33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072" h="33041">
                    <a:moveTo>
                      <a:pt x="6036" y="33041"/>
                    </a:moveTo>
                    <a:cubicBezTo>
                      <a:pt x="2703" y="33041"/>
                      <a:pt x="0" y="30308"/>
                      <a:pt x="0" y="26938"/>
                    </a:cubicBezTo>
                    <a:lnTo>
                      <a:pt x="0" y="6104"/>
                    </a:lnTo>
                    <a:cubicBezTo>
                      <a:pt x="0" y="2733"/>
                      <a:pt x="2703" y="0"/>
                      <a:pt x="6036" y="0"/>
                    </a:cubicBezTo>
                    <a:cubicBezTo>
                      <a:pt x="9370" y="0"/>
                      <a:pt x="12072" y="2733"/>
                      <a:pt x="12072" y="6104"/>
                    </a:cubicBezTo>
                    <a:lnTo>
                      <a:pt x="12072" y="26938"/>
                    </a:lnTo>
                    <a:cubicBezTo>
                      <a:pt x="12072" y="30308"/>
                      <a:pt x="9370" y="33041"/>
                      <a:pt x="6036" y="33041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71" name="Freihandform 70">
                <a:extLst>
                  <a:ext uri="{FF2B5EF4-FFF2-40B4-BE49-F238E27FC236}">
                    <a16:creationId xmlns:a16="http://schemas.microsoft.com/office/drawing/2014/main" id="{12D1B725-F90E-9B99-D911-970681C9863B}"/>
                  </a:ext>
                </a:extLst>
              </p:cNvPr>
              <p:cNvSpPr/>
              <p:nvPr/>
            </p:nvSpPr>
            <p:spPr>
              <a:xfrm>
                <a:off x="6278590" y="3492572"/>
                <a:ext cx="180603" cy="128757"/>
              </a:xfrm>
              <a:custGeom>
                <a:avLst/>
                <a:gdLst>
                  <a:gd name="connsiteX0" fmla="*/ 174562 w 180603"/>
                  <a:gd name="connsiteY0" fmla="*/ 128757 h 128757"/>
                  <a:gd name="connsiteX1" fmla="*/ 6036 w 180603"/>
                  <a:gd name="connsiteY1" fmla="*/ 128757 h 128757"/>
                  <a:gd name="connsiteX2" fmla="*/ 0 w 180603"/>
                  <a:gd name="connsiteY2" fmla="*/ 122653 h 128757"/>
                  <a:gd name="connsiteX3" fmla="*/ 0 w 180603"/>
                  <a:gd name="connsiteY3" fmla="*/ 65686 h 128757"/>
                  <a:gd name="connsiteX4" fmla="*/ 36538 w 180603"/>
                  <a:gd name="connsiteY4" fmla="*/ 11811 h 128757"/>
                  <a:gd name="connsiteX5" fmla="*/ 64384 w 180603"/>
                  <a:gd name="connsiteY5" fmla="*/ 661 h 128757"/>
                  <a:gd name="connsiteX6" fmla="*/ 68167 w 180603"/>
                  <a:gd name="connsiteY6" fmla="*/ 661 h 128757"/>
                  <a:gd name="connsiteX7" fmla="*/ 81607 w 180603"/>
                  <a:gd name="connsiteY7" fmla="*/ 4405 h 128757"/>
                  <a:gd name="connsiteX8" fmla="*/ 97140 w 180603"/>
                  <a:gd name="connsiteY8" fmla="*/ 4405 h 128757"/>
                  <a:gd name="connsiteX9" fmla="*/ 108971 w 180603"/>
                  <a:gd name="connsiteY9" fmla="*/ 336 h 128757"/>
                  <a:gd name="connsiteX10" fmla="*/ 112753 w 180603"/>
                  <a:gd name="connsiteY10" fmla="*/ 336 h 128757"/>
                  <a:gd name="connsiteX11" fmla="*/ 143094 w 180603"/>
                  <a:gd name="connsiteY11" fmla="*/ 11811 h 128757"/>
                  <a:gd name="connsiteX12" fmla="*/ 180598 w 180603"/>
                  <a:gd name="connsiteY12" fmla="*/ 66255 h 128757"/>
                  <a:gd name="connsiteX13" fmla="*/ 180598 w 180603"/>
                  <a:gd name="connsiteY13" fmla="*/ 122409 h 128757"/>
                  <a:gd name="connsiteX14" fmla="*/ 174809 w 180603"/>
                  <a:gd name="connsiteY14" fmla="*/ 128752 h 128757"/>
                  <a:gd name="connsiteX15" fmla="*/ 174562 w 180603"/>
                  <a:gd name="connsiteY15" fmla="*/ 128757 h 128757"/>
                  <a:gd name="connsiteX16" fmla="*/ 12394 w 180603"/>
                  <a:gd name="connsiteY16" fmla="*/ 116550 h 128757"/>
                  <a:gd name="connsiteX17" fmla="*/ 168526 w 180603"/>
                  <a:gd name="connsiteY17" fmla="*/ 116550 h 128757"/>
                  <a:gd name="connsiteX18" fmla="*/ 168526 w 180603"/>
                  <a:gd name="connsiteY18" fmla="*/ 66500 h 128757"/>
                  <a:gd name="connsiteX19" fmla="*/ 138909 w 180603"/>
                  <a:gd name="connsiteY19" fmla="*/ 23448 h 128757"/>
                  <a:gd name="connsiteX20" fmla="*/ 110017 w 180603"/>
                  <a:gd name="connsiteY20" fmla="*/ 12624 h 128757"/>
                  <a:gd name="connsiteX21" fmla="*/ 100440 w 180603"/>
                  <a:gd name="connsiteY21" fmla="*/ 15554 h 128757"/>
                  <a:gd name="connsiteX22" fmla="*/ 78227 w 180603"/>
                  <a:gd name="connsiteY22" fmla="*/ 15554 h 128757"/>
                  <a:gd name="connsiteX23" fmla="*/ 66799 w 180603"/>
                  <a:gd name="connsiteY23" fmla="*/ 12380 h 128757"/>
                  <a:gd name="connsiteX24" fmla="*/ 40804 w 180603"/>
                  <a:gd name="connsiteY24" fmla="*/ 22797 h 128757"/>
                  <a:gd name="connsiteX25" fmla="*/ 12394 w 180603"/>
                  <a:gd name="connsiteY25" fmla="*/ 65686 h 128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80603" h="128757">
                    <a:moveTo>
                      <a:pt x="174562" y="128757"/>
                    </a:moveTo>
                    <a:lnTo>
                      <a:pt x="6036" y="128757"/>
                    </a:lnTo>
                    <a:cubicBezTo>
                      <a:pt x="2702" y="128757"/>
                      <a:pt x="0" y="126024"/>
                      <a:pt x="0" y="122653"/>
                    </a:cubicBezTo>
                    <a:lnTo>
                      <a:pt x="0" y="65686"/>
                    </a:lnTo>
                    <a:cubicBezTo>
                      <a:pt x="53" y="41835"/>
                      <a:pt x="14554" y="20453"/>
                      <a:pt x="36538" y="11811"/>
                    </a:cubicBezTo>
                    <a:lnTo>
                      <a:pt x="64384" y="661"/>
                    </a:lnTo>
                    <a:cubicBezTo>
                      <a:pt x="65613" y="257"/>
                      <a:pt x="66938" y="257"/>
                      <a:pt x="68167" y="661"/>
                    </a:cubicBezTo>
                    <a:lnTo>
                      <a:pt x="81607" y="4405"/>
                    </a:lnTo>
                    <a:cubicBezTo>
                      <a:pt x="86684" y="5868"/>
                      <a:pt x="92063" y="5868"/>
                      <a:pt x="97140" y="4405"/>
                    </a:cubicBezTo>
                    <a:lnTo>
                      <a:pt x="108971" y="336"/>
                    </a:lnTo>
                    <a:cubicBezTo>
                      <a:pt x="110192" y="-112"/>
                      <a:pt x="111532" y="-112"/>
                      <a:pt x="112753" y="336"/>
                    </a:cubicBezTo>
                    <a:lnTo>
                      <a:pt x="143094" y="11811"/>
                    </a:lnTo>
                    <a:cubicBezTo>
                      <a:pt x="165591" y="20287"/>
                      <a:pt x="180533" y="41979"/>
                      <a:pt x="180598" y="66255"/>
                    </a:cubicBezTo>
                    <a:lnTo>
                      <a:pt x="180598" y="122409"/>
                    </a:lnTo>
                    <a:cubicBezTo>
                      <a:pt x="180732" y="125778"/>
                      <a:pt x="178140" y="128617"/>
                      <a:pt x="174809" y="128752"/>
                    </a:cubicBezTo>
                    <a:cubicBezTo>
                      <a:pt x="174726" y="128755"/>
                      <a:pt x="174644" y="128757"/>
                      <a:pt x="174562" y="128757"/>
                    </a:cubicBezTo>
                    <a:close/>
                    <a:moveTo>
                      <a:pt x="12394" y="116550"/>
                    </a:moveTo>
                    <a:lnTo>
                      <a:pt x="168526" y="116550"/>
                    </a:lnTo>
                    <a:lnTo>
                      <a:pt x="168526" y="66500"/>
                    </a:lnTo>
                    <a:cubicBezTo>
                      <a:pt x="168438" y="47327"/>
                      <a:pt x="156655" y="30199"/>
                      <a:pt x="138909" y="23448"/>
                    </a:cubicBezTo>
                    <a:lnTo>
                      <a:pt x="110017" y="12624"/>
                    </a:lnTo>
                    <a:lnTo>
                      <a:pt x="100440" y="15554"/>
                    </a:lnTo>
                    <a:cubicBezTo>
                      <a:pt x="93172" y="17590"/>
                      <a:pt x="85494" y="17590"/>
                      <a:pt x="78227" y="15554"/>
                    </a:cubicBezTo>
                    <a:lnTo>
                      <a:pt x="66799" y="12380"/>
                    </a:lnTo>
                    <a:lnTo>
                      <a:pt x="40804" y="22797"/>
                    </a:lnTo>
                    <a:cubicBezTo>
                      <a:pt x="23483" y="29788"/>
                      <a:pt x="12195" y="46829"/>
                      <a:pt x="12394" y="65686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72" name="Freihandform 71">
                <a:extLst>
                  <a:ext uri="{FF2B5EF4-FFF2-40B4-BE49-F238E27FC236}">
                    <a16:creationId xmlns:a16="http://schemas.microsoft.com/office/drawing/2014/main" id="{4DC29512-5C21-2835-860C-EBC40224DB5E}"/>
                  </a:ext>
                </a:extLst>
              </p:cNvPr>
              <p:cNvSpPr/>
              <p:nvPr/>
            </p:nvSpPr>
            <p:spPr>
              <a:xfrm>
                <a:off x="6464741" y="3491133"/>
                <a:ext cx="180357" cy="130196"/>
              </a:xfrm>
              <a:custGeom>
                <a:avLst/>
                <a:gdLst>
                  <a:gd name="connsiteX0" fmla="*/ 174482 w 180357"/>
                  <a:gd name="connsiteY0" fmla="*/ 130196 h 130196"/>
                  <a:gd name="connsiteX1" fmla="*/ 6037 w 180357"/>
                  <a:gd name="connsiteY1" fmla="*/ 130196 h 130196"/>
                  <a:gd name="connsiteX2" fmla="*/ 1 w 180357"/>
                  <a:gd name="connsiteY2" fmla="*/ 124256 h 130196"/>
                  <a:gd name="connsiteX3" fmla="*/ 1 w 180357"/>
                  <a:gd name="connsiteY3" fmla="*/ 124092 h 130196"/>
                  <a:gd name="connsiteX4" fmla="*/ 1 w 180357"/>
                  <a:gd name="connsiteY4" fmla="*/ 67125 h 130196"/>
                  <a:gd name="connsiteX5" fmla="*/ 36297 w 180357"/>
                  <a:gd name="connsiteY5" fmla="*/ 13250 h 130196"/>
                  <a:gd name="connsiteX6" fmla="*/ 67685 w 180357"/>
                  <a:gd name="connsiteY6" fmla="*/ 635 h 130196"/>
                  <a:gd name="connsiteX7" fmla="*/ 75210 w 180357"/>
                  <a:gd name="connsiteY7" fmla="*/ 4708 h 130196"/>
                  <a:gd name="connsiteX8" fmla="*/ 72111 w 180357"/>
                  <a:gd name="connsiteY8" fmla="*/ 11947 h 130196"/>
                  <a:gd name="connsiteX9" fmla="*/ 41126 w 180357"/>
                  <a:gd name="connsiteY9" fmla="*/ 24480 h 130196"/>
                  <a:gd name="connsiteX10" fmla="*/ 12395 w 180357"/>
                  <a:gd name="connsiteY10" fmla="*/ 67125 h 130196"/>
                  <a:gd name="connsiteX11" fmla="*/ 12395 w 180357"/>
                  <a:gd name="connsiteY11" fmla="*/ 117989 h 130196"/>
                  <a:gd name="connsiteX12" fmla="*/ 168446 w 180357"/>
                  <a:gd name="connsiteY12" fmla="*/ 117989 h 130196"/>
                  <a:gd name="connsiteX13" fmla="*/ 168446 w 180357"/>
                  <a:gd name="connsiteY13" fmla="*/ 67938 h 130196"/>
                  <a:gd name="connsiteX14" fmla="*/ 138830 w 180357"/>
                  <a:gd name="connsiteY14" fmla="*/ 24887 h 130196"/>
                  <a:gd name="connsiteX15" fmla="*/ 106637 w 180357"/>
                  <a:gd name="connsiteY15" fmla="*/ 11947 h 130196"/>
                  <a:gd name="connsiteX16" fmla="*/ 102609 w 180357"/>
                  <a:gd name="connsiteY16" fmla="*/ 4337 h 130196"/>
                  <a:gd name="connsiteX17" fmla="*/ 110135 w 180357"/>
                  <a:gd name="connsiteY17" fmla="*/ 263 h 130196"/>
                  <a:gd name="connsiteX18" fmla="*/ 111064 w 180357"/>
                  <a:gd name="connsiteY18" fmla="*/ 635 h 130196"/>
                  <a:gd name="connsiteX19" fmla="*/ 143256 w 180357"/>
                  <a:gd name="connsiteY19" fmla="*/ 13494 h 130196"/>
                  <a:gd name="connsiteX20" fmla="*/ 180357 w 180357"/>
                  <a:gd name="connsiteY20" fmla="*/ 67938 h 130196"/>
                  <a:gd name="connsiteX21" fmla="*/ 180357 w 180357"/>
                  <a:gd name="connsiteY21" fmla="*/ 124092 h 130196"/>
                  <a:gd name="connsiteX22" fmla="*/ 174482 w 180357"/>
                  <a:gd name="connsiteY22" fmla="*/ 130196 h 130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80357" h="130196">
                    <a:moveTo>
                      <a:pt x="174482" y="130196"/>
                    </a:moveTo>
                    <a:lnTo>
                      <a:pt x="6037" y="130196"/>
                    </a:lnTo>
                    <a:cubicBezTo>
                      <a:pt x="2747" y="130242"/>
                      <a:pt x="46" y="127582"/>
                      <a:pt x="1" y="124256"/>
                    </a:cubicBezTo>
                    <a:cubicBezTo>
                      <a:pt x="0" y="124201"/>
                      <a:pt x="0" y="124147"/>
                      <a:pt x="1" y="124092"/>
                    </a:cubicBezTo>
                    <a:lnTo>
                      <a:pt x="1" y="67125"/>
                    </a:lnTo>
                    <a:cubicBezTo>
                      <a:pt x="-7" y="43328"/>
                      <a:pt x="14394" y="21952"/>
                      <a:pt x="36297" y="13250"/>
                    </a:cubicBezTo>
                    <a:lnTo>
                      <a:pt x="67685" y="635"/>
                    </a:lnTo>
                    <a:cubicBezTo>
                      <a:pt x="70875" y="-341"/>
                      <a:pt x="74245" y="1482"/>
                      <a:pt x="75210" y="4708"/>
                    </a:cubicBezTo>
                    <a:cubicBezTo>
                      <a:pt x="76065" y="7563"/>
                      <a:pt x="74755" y="10624"/>
                      <a:pt x="72111" y="11947"/>
                    </a:cubicBezTo>
                    <a:lnTo>
                      <a:pt x="41126" y="24480"/>
                    </a:lnTo>
                    <a:cubicBezTo>
                      <a:pt x="23732" y="31297"/>
                      <a:pt x="12302" y="48261"/>
                      <a:pt x="12395" y="67125"/>
                    </a:cubicBezTo>
                    <a:lnTo>
                      <a:pt x="12395" y="117989"/>
                    </a:lnTo>
                    <a:lnTo>
                      <a:pt x="168446" y="117989"/>
                    </a:lnTo>
                    <a:lnTo>
                      <a:pt x="168446" y="67938"/>
                    </a:lnTo>
                    <a:cubicBezTo>
                      <a:pt x="168359" y="48766"/>
                      <a:pt x="156575" y="31638"/>
                      <a:pt x="138830" y="24887"/>
                    </a:cubicBezTo>
                    <a:lnTo>
                      <a:pt x="106637" y="11947"/>
                    </a:lnTo>
                    <a:cubicBezTo>
                      <a:pt x="103447" y="10971"/>
                      <a:pt x="101644" y="7563"/>
                      <a:pt x="102609" y="4337"/>
                    </a:cubicBezTo>
                    <a:cubicBezTo>
                      <a:pt x="103575" y="1111"/>
                      <a:pt x="106945" y="-713"/>
                      <a:pt x="110135" y="263"/>
                    </a:cubicBezTo>
                    <a:cubicBezTo>
                      <a:pt x="110455" y="361"/>
                      <a:pt x="110765" y="486"/>
                      <a:pt x="111064" y="635"/>
                    </a:cubicBezTo>
                    <a:lnTo>
                      <a:pt x="143256" y="13494"/>
                    </a:lnTo>
                    <a:cubicBezTo>
                      <a:pt x="165579" y="22122"/>
                      <a:pt x="180333" y="43772"/>
                      <a:pt x="180357" y="67938"/>
                    </a:cubicBezTo>
                    <a:lnTo>
                      <a:pt x="180357" y="124092"/>
                    </a:lnTo>
                    <a:cubicBezTo>
                      <a:pt x="180358" y="127401"/>
                      <a:pt x="177753" y="130108"/>
                      <a:pt x="174482" y="130196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73" name="Freihandform 72">
                <a:extLst>
                  <a:ext uri="{FF2B5EF4-FFF2-40B4-BE49-F238E27FC236}">
                    <a16:creationId xmlns:a16="http://schemas.microsoft.com/office/drawing/2014/main" id="{0F92CFD7-59CD-77C5-D77C-58881023D607}"/>
                  </a:ext>
                </a:extLst>
              </p:cNvPr>
              <p:cNvSpPr/>
              <p:nvPr/>
            </p:nvSpPr>
            <p:spPr>
              <a:xfrm>
                <a:off x="6464380" y="3444783"/>
                <a:ext cx="48520" cy="70424"/>
              </a:xfrm>
              <a:custGeom>
                <a:avLst/>
                <a:gdLst>
                  <a:gd name="connsiteX0" fmla="*/ 35854 w 48520"/>
                  <a:gd name="connsiteY0" fmla="*/ 70424 h 70424"/>
                  <a:gd name="connsiteX1" fmla="*/ 1 w 48520"/>
                  <a:gd name="connsiteY1" fmla="*/ 34738 h 70424"/>
                  <a:gd name="connsiteX2" fmla="*/ 23782 w 48520"/>
                  <a:gd name="connsiteY2" fmla="*/ 516 h 70424"/>
                  <a:gd name="connsiteX3" fmla="*/ 31735 w 48520"/>
                  <a:gd name="connsiteY3" fmla="*/ 3653 h 70424"/>
                  <a:gd name="connsiteX4" fmla="*/ 28633 w 48520"/>
                  <a:gd name="connsiteY4" fmla="*/ 11694 h 70424"/>
                  <a:gd name="connsiteX5" fmla="*/ 27806 w 48520"/>
                  <a:gd name="connsiteY5" fmla="*/ 11991 h 70424"/>
                  <a:gd name="connsiteX6" fmla="*/ 12670 w 48520"/>
                  <a:gd name="connsiteY6" fmla="*/ 41911 h 70424"/>
                  <a:gd name="connsiteX7" fmla="*/ 41085 w 48520"/>
                  <a:gd name="connsiteY7" fmla="*/ 57565 h 70424"/>
                  <a:gd name="connsiteX8" fmla="*/ 48328 w 48520"/>
                  <a:gd name="connsiteY8" fmla="*/ 62123 h 70424"/>
                  <a:gd name="connsiteX9" fmla="*/ 44132 w 48520"/>
                  <a:gd name="connsiteY9" fmla="*/ 69374 h 70424"/>
                  <a:gd name="connsiteX10" fmla="*/ 43821 w 48520"/>
                  <a:gd name="connsiteY10" fmla="*/ 69447 h 70424"/>
                  <a:gd name="connsiteX11" fmla="*/ 35854 w 48520"/>
                  <a:gd name="connsiteY11" fmla="*/ 70424 h 70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8520" h="70424">
                    <a:moveTo>
                      <a:pt x="35854" y="70424"/>
                    </a:moveTo>
                    <a:cubicBezTo>
                      <a:pt x="16208" y="70581"/>
                      <a:pt x="156" y="54604"/>
                      <a:pt x="1" y="34738"/>
                    </a:cubicBezTo>
                    <a:cubicBezTo>
                      <a:pt x="-120" y="19364"/>
                      <a:pt x="9437" y="5612"/>
                      <a:pt x="23782" y="516"/>
                    </a:cubicBezTo>
                    <a:cubicBezTo>
                      <a:pt x="26834" y="-839"/>
                      <a:pt x="30395" y="566"/>
                      <a:pt x="31735" y="3653"/>
                    </a:cubicBezTo>
                    <a:cubicBezTo>
                      <a:pt x="33074" y="6740"/>
                      <a:pt x="31686" y="10340"/>
                      <a:pt x="28633" y="11694"/>
                    </a:cubicBezTo>
                    <a:cubicBezTo>
                      <a:pt x="28365" y="11814"/>
                      <a:pt x="28088" y="11913"/>
                      <a:pt x="27806" y="11991"/>
                    </a:cubicBezTo>
                    <a:cubicBezTo>
                      <a:pt x="15456" y="16027"/>
                      <a:pt x="8679" y="29422"/>
                      <a:pt x="12670" y="41911"/>
                    </a:cubicBezTo>
                    <a:cubicBezTo>
                      <a:pt x="16515" y="53942"/>
                      <a:pt x="29003" y="60822"/>
                      <a:pt x="41085" y="57565"/>
                    </a:cubicBezTo>
                    <a:cubicBezTo>
                      <a:pt x="44329" y="56803"/>
                      <a:pt x="47571" y="58843"/>
                      <a:pt x="48328" y="62123"/>
                    </a:cubicBezTo>
                    <a:cubicBezTo>
                      <a:pt x="49150" y="65297"/>
                      <a:pt x="47271" y="68544"/>
                      <a:pt x="44132" y="69374"/>
                    </a:cubicBezTo>
                    <a:cubicBezTo>
                      <a:pt x="44029" y="69401"/>
                      <a:pt x="43925" y="69426"/>
                      <a:pt x="43821" y="69447"/>
                    </a:cubicBezTo>
                    <a:cubicBezTo>
                      <a:pt x="41212" y="70086"/>
                      <a:pt x="38538" y="70414"/>
                      <a:pt x="35854" y="70424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74" name="Freihandform 73">
                <a:extLst>
                  <a:ext uri="{FF2B5EF4-FFF2-40B4-BE49-F238E27FC236}">
                    <a16:creationId xmlns:a16="http://schemas.microsoft.com/office/drawing/2014/main" id="{3A34A6A3-2110-AF7B-78EF-A192BBC59C0E}"/>
                  </a:ext>
                </a:extLst>
              </p:cNvPr>
              <p:cNvSpPr/>
              <p:nvPr/>
            </p:nvSpPr>
            <p:spPr>
              <a:xfrm>
                <a:off x="6593592" y="3415796"/>
                <a:ext cx="38791" cy="43826"/>
              </a:xfrm>
              <a:custGeom>
                <a:avLst/>
                <a:gdLst>
                  <a:gd name="connsiteX0" fmla="*/ 29615 w 38791"/>
                  <a:gd name="connsiteY0" fmla="*/ 43826 h 43826"/>
                  <a:gd name="connsiteX1" fmla="*/ 26235 w 38791"/>
                  <a:gd name="connsiteY1" fmla="*/ 42850 h 43826"/>
                  <a:gd name="connsiteX2" fmla="*/ 24545 w 38791"/>
                  <a:gd name="connsiteY2" fmla="*/ 34712 h 43826"/>
                  <a:gd name="connsiteX3" fmla="*/ 20569 w 38791"/>
                  <a:gd name="connsiteY3" fmla="*/ 14976 h 43826"/>
                  <a:gd name="connsiteX4" fmla="*/ 8449 w 38791"/>
                  <a:gd name="connsiteY4" fmla="*/ 13308 h 43826"/>
                  <a:gd name="connsiteX5" fmla="*/ 562 w 38791"/>
                  <a:gd name="connsiteY5" fmla="*/ 10006 h 43826"/>
                  <a:gd name="connsiteX6" fmla="*/ 401 w 38791"/>
                  <a:gd name="connsiteY6" fmla="*/ 9564 h 43826"/>
                  <a:gd name="connsiteX7" fmla="*/ 4011 w 38791"/>
                  <a:gd name="connsiteY7" fmla="*/ 1489 h 43826"/>
                  <a:gd name="connsiteX8" fmla="*/ 4183 w 38791"/>
                  <a:gd name="connsiteY8" fmla="*/ 1426 h 43826"/>
                  <a:gd name="connsiteX9" fmla="*/ 37389 w 38791"/>
                  <a:gd name="connsiteY9" fmla="*/ 17909 h 43826"/>
                  <a:gd name="connsiteX10" fmla="*/ 34444 w 38791"/>
                  <a:gd name="connsiteY10" fmla="*/ 41059 h 43826"/>
                  <a:gd name="connsiteX11" fmla="*/ 29615 w 38791"/>
                  <a:gd name="connsiteY11" fmla="*/ 43826 h 43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8791" h="43826">
                    <a:moveTo>
                      <a:pt x="29615" y="43826"/>
                    </a:moveTo>
                    <a:cubicBezTo>
                      <a:pt x="28420" y="43829"/>
                      <a:pt x="27248" y="43490"/>
                      <a:pt x="26235" y="42850"/>
                    </a:cubicBezTo>
                    <a:cubicBezTo>
                      <a:pt x="23683" y="40982"/>
                      <a:pt x="22951" y="37460"/>
                      <a:pt x="24545" y="34712"/>
                    </a:cubicBezTo>
                    <a:cubicBezTo>
                      <a:pt x="28837" y="28151"/>
                      <a:pt x="27057" y="19316"/>
                      <a:pt x="20569" y="14976"/>
                    </a:cubicBezTo>
                    <a:cubicBezTo>
                      <a:pt x="16991" y="12582"/>
                      <a:pt x="12529" y="11968"/>
                      <a:pt x="8449" y="13308"/>
                    </a:cubicBezTo>
                    <a:cubicBezTo>
                      <a:pt x="5369" y="14598"/>
                      <a:pt x="1838" y="13120"/>
                      <a:pt x="562" y="10006"/>
                    </a:cubicBezTo>
                    <a:cubicBezTo>
                      <a:pt x="503" y="9861"/>
                      <a:pt x="449" y="9713"/>
                      <a:pt x="401" y="9564"/>
                    </a:cubicBezTo>
                    <a:cubicBezTo>
                      <a:pt x="-807" y="6326"/>
                      <a:pt x="809" y="2711"/>
                      <a:pt x="4011" y="1489"/>
                    </a:cubicBezTo>
                    <a:cubicBezTo>
                      <a:pt x="4068" y="1467"/>
                      <a:pt x="4125" y="1447"/>
                      <a:pt x="4183" y="1426"/>
                    </a:cubicBezTo>
                    <a:cubicBezTo>
                      <a:pt x="17854" y="-3294"/>
                      <a:pt x="32720" y="4085"/>
                      <a:pt x="37389" y="17909"/>
                    </a:cubicBezTo>
                    <a:cubicBezTo>
                      <a:pt x="40009" y="25670"/>
                      <a:pt x="38922" y="34222"/>
                      <a:pt x="34444" y="41059"/>
                    </a:cubicBezTo>
                    <a:cubicBezTo>
                      <a:pt x="33384" y="42730"/>
                      <a:pt x="31577" y="43765"/>
                      <a:pt x="29615" y="43826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75" name="Freihandform 74">
                <a:extLst>
                  <a:ext uri="{FF2B5EF4-FFF2-40B4-BE49-F238E27FC236}">
                    <a16:creationId xmlns:a16="http://schemas.microsoft.com/office/drawing/2014/main" id="{22CF9F16-394E-F2A5-FBDE-3E9A6F0B6A3A}"/>
                  </a:ext>
                </a:extLst>
              </p:cNvPr>
              <p:cNvSpPr/>
              <p:nvPr/>
            </p:nvSpPr>
            <p:spPr>
              <a:xfrm>
                <a:off x="6591939" y="3444792"/>
                <a:ext cx="51604" cy="70415"/>
              </a:xfrm>
              <a:custGeom>
                <a:avLst/>
                <a:gdLst>
                  <a:gd name="connsiteX0" fmla="*/ 15977 w 51604"/>
                  <a:gd name="connsiteY0" fmla="*/ 70415 h 70415"/>
                  <a:gd name="connsiteX1" fmla="*/ 3825 w 51604"/>
                  <a:gd name="connsiteY1" fmla="*/ 68218 h 70415"/>
                  <a:gd name="connsiteX2" fmla="*/ 422 w 51604"/>
                  <a:gd name="connsiteY2" fmla="*/ 60302 h 70415"/>
                  <a:gd name="connsiteX3" fmla="*/ 7929 w 51604"/>
                  <a:gd name="connsiteY3" fmla="*/ 56743 h 70415"/>
                  <a:gd name="connsiteX4" fmla="*/ 38130 w 51604"/>
                  <a:gd name="connsiteY4" fmla="*/ 42442 h 70415"/>
                  <a:gd name="connsiteX5" fmla="*/ 37305 w 51604"/>
                  <a:gd name="connsiteY5" fmla="*/ 24190 h 70415"/>
                  <a:gd name="connsiteX6" fmla="*/ 23945 w 51604"/>
                  <a:gd name="connsiteY6" fmla="*/ 11901 h 70415"/>
                  <a:gd name="connsiteX7" fmla="*/ 20104 w 51604"/>
                  <a:gd name="connsiteY7" fmla="*/ 4192 h 70415"/>
                  <a:gd name="connsiteX8" fmla="*/ 27728 w 51604"/>
                  <a:gd name="connsiteY8" fmla="*/ 309 h 70415"/>
                  <a:gd name="connsiteX9" fmla="*/ 28049 w 51604"/>
                  <a:gd name="connsiteY9" fmla="*/ 426 h 70415"/>
                  <a:gd name="connsiteX10" fmla="*/ 48250 w 51604"/>
                  <a:gd name="connsiteY10" fmla="*/ 18900 h 70415"/>
                  <a:gd name="connsiteX11" fmla="*/ 49457 w 51604"/>
                  <a:gd name="connsiteY11" fmla="*/ 46489 h 70415"/>
                  <a:gd name="connsiteX12" fmla="*/ 31108 w 51604"/>
                  <a:gd name="connsiteY12" fmla="*/ 66834 h 70415"/>
                  <a:gd name="connsiteX13" fmla="*/ 15977 w 51604"/>
                  <a:gd name="connsiteY13" fmla="*/ 70415 h 70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1604" h="70415">
                    <a:moveTo>
                      <a:pt x="15977" y="70415"/>
                    </a:moveTo>
                    <a:cubicBezTo>
                      <a:pt x="11830" y="70413"/>
                      <a:pt x="7716" y="69669"/>
                      <a:pt x="3825" y="68218"/>
                    </a:cubicBezTo>
                    <a:cubicBezTo>
                      <a:pt x="723" y="66982"/>
                      <a:pt x="-800" y="63437"/>
                      <a:pt x="422" y="60302"/>
                    </a:cubicBezTo>
                    <a:cubicBezTo>
                      <a:pt x="1595" y="57290"/>
                      <a:pt x="4890" y="55728"/>
                      <a:pt x="7929" y="56743"/>
                    </a:cubicBezTo>
                    <a:cubicBezTo>
                      <a:pt x="20174" y="61227"/>
                      <a:pt x="33696" y="54825"/>
                      <a:pt x="38130" y="42442"/>
                    </a:cubicBezTo>
                    <a:cubicBezTo>
                      <a:pt x="40263" y="36488"/>
                      <a:pt x="39965" y="29922"/>
                      <a:pt x="37305" y="24190"/>
                    </a:cubicBezTo>
                    <a:cubicBezTo>
                      <a:pt x="34685" y="18430"/>
                      <a:pt x="29863" y="13994"/>
                      <a:pt x="23945" y="11901"/>
                    </a:cubicBezTo>
                    <a:cubicBezTo>
                      <a:pt x="20780" y="10845"/>
                      <a:pt x="19060" y="7393"/>
                      <a:pt x="20104" y="4192"/>
                    </a:cubicBezTo>
                    <a:cubicBezTo>
                      <a:pt x="21150" y="991"/>
                      <a:pt x="24563" y="-747"/>
                      <a:pt x="27728" y="309"/>
                    </a:cubicBezTo>
                    <a:cubicBezTo>
                      <a:pt x="27836" y="345"/>
                      <a:pt x="27943" y="384"/>
                      <a:pt x="28049" y="426"/>
                    </a:cubicBezTo>
                    <a:cubicBezTo>
                      <a:pt x="36963" y="3590"/>
                      <a:pt x="44244" y="10248"/>
                      <a:pt x="48250" y="18900"/>
                    </a:cubicBezTo>
                    <a:cubicBezTo>
                      <a:pt x="52258" y="27570"/>
                      <a:pt x="52692" y="37495"/>
                      <a:pt x="49457" y="46489"/>
                    </a:cubicBezTo>
                    <a:cubicBezTo>
                      <a:pt x="46282" y="55482"/>
                      <a:pt x="39672" y="62812"/>
                      <a:pt x="31108" y="66834"/>
                    </a:cubicBezTo>
                    <a:cubicBezTo>
                      <a:pt x="26385" y="69136"/>
                      <a:pt x="21220" y="70358"/>
                      <a:pt x="15977" y="70415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76" name="Freihandform 75">
                <a:extLst>
                  <a:ext uri="{FF2B5EF4-FFF2-40B4-BE49-F238E27FC236}">
                    <a16:creationId xmlns:a16="http://schemas.microsoft.com/office/drawing/2014/main" id="{EBADEA26-9EB6-CF5A-9849-46B994649BA9}"/>
                  </a:ext>
                </a:extLst>
              </p:cNvPr>
              <p:cNvSpPr/>
              <p:nvPr/>
            </p:nvSpPr>
            <p:spPr>
              <a:xfrm>
                <a:off x="6519951" y="3386134"/>
                <a:ext cx="39194" cy="30518"/>
              </a:xfrm>
              <a:custGeom>
                <a:avLst/>
                <a:gdLst>
                  <a:gd name="connsiteX0" fmla="*/ 15050 w 39194"/>
                  <a:gd name="connsiteY0" fmla="*/ 30518 h 30518"/>
                  <a:gd name="connsiteX1" fmla="*/ 6036 w 39194"/>
                  <a:gd name="connsiteY1" fmla="*/ 30518 h 30518"/>
                  <a:gd name="connsiteX2" fmla="*/ 0 w 39194"/>
                  <a:gd name="connsiteY2" fmla="*/ 24415 h 30518"/>
                  <a:gd name="connsiteX3" fmla="*/ 6036 w 39194"/>
                  <a:gd name="connsiteY3" fmla="*/ 18311 h 30518"/>
                  <a:gd name="connsiteX4" fmla="*/ 15050 w 39194"/>
                  <a:gd name="connsiteY4" fmla="*/ 18311 h 30518"/>
                  <a:gd name="connsiteX5" fmla="*/ 27122 w 39194"/>
                  <a:gd name="connsiteY5" fmla="*/ 6104 h 30518"/>
                  <a:gd name="connsiteX6" fmla="*/ 33158 w 39194"/>
                  <a:gd name="connsiteY6" fmla="*/ 0 h 30518"/>
                  <a:gd name="connsiteX7" fmla="*/ 39194 w 39194"/>
                  <a:gd name="connsiteY7" fmla="*/ 6104 h 30518"/>
                  <a:gd name="connsiteX8" fmla="*/ 15050 w 39194"/>
                  <a:gd name="connsiteY8" fmla="*/ 30518 h 30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194" h="30518">
                    <a:moveTo>
                      <a:pt x="15050" y="30518"/>
                    </a:moveTo>
                    <a:lnTo>
                      <a:pt x="6036" y="30518"/>
                    </a:lnTo>
                    <a:cubicBezTo>
                      <a:pt x="2703" y="30518"/>
                      <a:pt x="0" y="27786"/>
                      <a:pt x="0" y="24415"/>
                    </a:cubicBezTo>
                    <a:cubicBezTo>
                      <a:pt x="0" y="21044"/>
                      <a:pt x="2703" y="18311"/>
                      <a:pt x="6036" y="18311"/>
                    </a:cubicBezTo>
                    <a:lnTo>
                      <a:pt x="15050" y="18311"/>
                    </a:lnTo>
                    <a:cubicBezTo>
                      <a:pt x="21717" y="18311"/>
                      <a:pt x="27122" y="12845"/>
                      <a:pt x="27122" y="6104"/>
                    </a:cubicBezTo>
                    <a:cubicBezTo>
                      <a:pt x="27122" y="2733"/>
                      <a:pt x="29824" y="0"/>
                      <a:pt x="33158" y="0"/>
                    </a:cubicBezTo>
                    <a:cubicBezTo>
                      <a:pt x="36491" y="0"/>
                      <a:pt x="39194" y="2733"/>
                      <a:pt x="39194" y="6104"/>
                    </a:cubicBezTo>
                    <a:cubicBezTo>
                      <a:pt x="39194" y="19588"/>
                      <a:pt x="28385" y="30518"/>
                      <a:pt x="15050" y="30518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77" name="Freihandform 76">
                <a:extLst>
                  <a:ext uri="{FF2B5EF4-FFF2-40B4-BE49-F238E27FC236}">
                    <a16:creationId xmlns:a16="http://schemas.microsoft.com/office/drawing/2014/main" id="{5FC599F4-C9B0-ADA1-87CB-14948569401B}"/>
                  </a:ext>
                </a:extLst>
              </p:cNvPr>
              <p:cNvSpPr/>
              <p:nvPr/>
            </p:nvSpPr>
            <p:spPr>
              <a:xfrm>
                <a:off x="6547153" y="3386134"/>
                <a:ext cx="53760" cy="30518"/>
              </a:xfrm>
              <a:custGeom>
                <a:avLst/>
                <a:gdLst>
                  <a:gd name="connsiteX0" fmla="*/ 47725 w 53760"/>
                  <a:gd name="connsiteY0" fmla="*/ 30518 h 30518"/>
                  <a:gd name="connsiteX1" fmla="*/ 24144 w 53760"/>
                  <a:gd name="connsiteY1" fmla="*/ 30518 h 30518"/>
                  <a:gd name="connsiteX2" fmla="*/ 0 w 53760"/>
                  <a:gd name="connsiteY2" fmla="*/ 6104 h 30518"/>
                  <a:gd name="connsiteX3" fmla="*/ 6036 w 53760"/>
                  <a:gd name="connsiteY3" fmla="*/ 0 h 30518"/>
                  <a:gd name="connsiteX4" fmla="*/ 12072 w 53760"/>
                  <a:gd name="connsiteY4" fmla="*/ 6104 h 30518"/>
                  <a:gd name="connsiteX5" fmla="*/ 24144 w 53760"/>
                  <a:gd name="connsiteY5" fmla="*/ 18311 h 30518"/>
                  <a:gd name="connsiteX6" fmla="*/ 47725 w 53760"/>
                  <a:gd name="connsiteY6" fmla="*/ 18311 h 30518"/>
                  <a:gd name="connsiteX7" fmla="*/ 53761 w 53760"/>
                  <a:gd name="connsiteY7" fmla="*/ 24415 h 30518"/>
                  <a:gd name="connsiteX8" fmla="*/ 47725 w 53760"/>
                  <a:gd name="connsiteY8" fmla="*/ 30518 h 30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3760" h="30518">
                    <a:moveTo>
                      <a:pt x="47725" y="30518"/>
                    </a:moveTo>
                    <a:lnTo>
                      <a:pt x="24144" y="30518"/>
                    </a:lnTo>
                    <a:cubicBezTo>
                      <a:pt x="10809" y="30518"/>
                      <a:pt x="0" y="19588"/>
                      <a:pt x="0" y="6104"/>
                    </a:cubicBezTo>
                    <a:cubicBezTo>
                      <a:pt x="0" y="2733"/>
                      <a:pt x="2703" y="0"/>
                      <a:pt x="6036" y="0"/>
                    </a:cubicBezTo>
                    <a:cubicBezTo>
                      <a:pt x="9370" y="0"/>
                      <a:pt x="12072" y="2733"/>
                      <a:pt x="12072" y="6104"/>
                    </a:cubicBezTo>
                    <a:cubicBezTo>
                      <a:pt x="12072" y="12845"/>
                      <a:pt x="17477" y="18311"/>
                      <a:pt x="24144" y="18311"/>
                    </a:cubicBezTo>
                    <a:lnTo>
                      <a:pt x="47725" y="18311"/>
                    </a:lnTo>
                    <a:cubicBezTo>
                      <a:pt x="51058" y="18311"/>
                      <a:pt x="53761" y="21044"/>
                      <a:pt x="53761" y="24415"/>
                    </a:cubicBezTo>
                    <a:cubicBezTo>
                      <a:pt x="53761" y="27786"/>
                      <a:pt x="51058" y="30518"/>
                      <a:pt x="47725" y="30518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78" name="Freihandform 77">
                <a:extLst>
                  <a:ext uri="{FF2B5EF4-FFF2-40B4-BE49-F238E27FC236}">
                    <a16:creationId xmlns:a16="http://schemas.microsoft.com/office/drawing/2014/main" id="{C39521BD-13DD-8F51-B5B3-122F8DDB61F7}"/>
                  </a:ext>
                </a:extLst>
              </p:cNvPr>
              <p:cNvSpPr/>
              <p:nvPr/>
            </p:nvSpPr>
            <p:spPr>
              <a:xfrm>
                <a:off x="6319579" y="3500639"/>
                <a:ext cx="93728" cy="45494"/>
              </a:xfrm>
              <a:custGeom>
                <a:avLst/>
                <a:gdLst>
                  <a:gd name="connsiteX0" fmla="*/ 70396 w 93728"/>
                  <a:gd name="connsiteY0" fmla="*/ 45494 h 45494"/>
                  <a:gd name="connsiteX1" fmla="*/ 65406 w 93728"/>
                  <a:gd name="connsiteY1" fmla="*/ 42808 h 45494"/>
                  <a:gd name="connsiteX2" fmla="*/ 48264 w 93728"/>
                  <a:gd name="connsiteY2" fmla="*/ 17335 h 45494"/>
                  <a:gd name="connsiteX3" fmla="*/ 33697 w 93728"/>
                  <a:gd name="connsiteY3" fmla="*/ 42482 h 45494"/>
                  <a:gd name="connsiteX4" fmla="*/ 28707 w 93728"/>
                  <a:gd name="connsiteY4" fmla="*/ 45494 h 45494"/>
                  <a:gd name="connsiteX5" fmla="*/ 23556 w 93728"/>
                  <a:gd name="connsiteY5" fmla="*/ 42808 h 45494"/>
                  <a:gd name="connsiteX6" fmla="*/ 861 w 93728"/>
                  <a:gd name="connsiteY6" fmla="*/ 9360 h 45494"/>
                  <a:gd name="connsiteX7" fmla="*/ 2932 w 93728"/>
                  <a:gd name="connsiteY7" fmla="*/ 986 h 45494"/>
                  <a:gd name="connsiteX8" fmla="*/ 10841 w 93728"/>
                  <a:gd name="connsiteY8" fmla="*/ 2524 h 45494"/>
                  <a:gd name="connsiteX9" fmla="*/ 28144 w 93728"/>
                  <a:gd name="connsiteY9" fmla="*/ 28159 h 45494"/>
                  <a:gd name="connsiteX10" fmla="*/ 42711 w 93728"/>
                  <a:gd name="connsiteY10" fmla="*/ 3012 h 45494"/>
                  <a:gd name="connsiteX11" fmla="*/ 47701 w 93728"/>
                  <a:gd name="connsiteY11" fmla="*/ 1 h 45494"/>
                  <a:gd name="connsiteX12" fmla="*/ 52932 w 93728"/>
                  <a:gd name="connsiteY12" fmla="*/ 2686 h 45494"/>
                  <a:gd name="connsiteX13" fmla="*/ 69672 w 93728"/>
                  <a:gd name="connsiteY13" fmla="*/ 27671 h 45494"/>
                  <a:gd name="connsiteX14" fmla="*/ 82468 w 93728"/>
                  <a:gd name="connsiteY14" fmla="*/ 3256 h 45494"/>
                  <a:gd name="connsiteX15" fmla="*/ 90512 w 93728"/>
                  <a:gd name="connsiteY15" fmla="*/ 731 h 45494"/>
                  <a:gd name="connsiteX16" fmla="*/ 90516 w 93728"/>
                  <a:gd name="connsiteY16" fmla="*/ 733 h 45494"/>
                  <a:gd name="connsiteX17" fmla="*/ 93089 w 93728"/>
                  <a:gd name="connsiteY17" fmla="*/ 8722 h 45494"/>
                  <a:gd name="connsiteX18" fmla="*/ 93011 w 93728"/>
                  <a:gd name="connsiteY18" fmla="*/ 8872 h 45494"/>
                  <a:gd name="connsiteX19" fmla="*/ 76030 w 93728"/>
                  <a:gd name="connsiteY19" fmla="*/ 42238 h 45494"/>
                  <a:gd name="connsiteX20" fmla="*/ 71040 w 93728"/>
                  <a:gd name="connsiteY20" fmla="*/ 45494 h 45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93728" h="45494">
                    <a:moveTo>
                      <a:pt x="70396" y="45494"/>
                    </a:moveTo>
                    <a:cubicBezTo>
                      <a:pt x="68399" y="45476"/>
                      <a:pt x="66536" y="44473"/>
                      <a:pt x="65406" y="42808"/>
                    </a:cubicBezTo>
                    <a:lnTo>
                      <a:pt x="48264" y="17335"/>
                    </a:lnTo>
                    <a:lnTo>
                      <a:pt x="33697" y="42482"/>
                    </a:lnTo>
                    <a:cubicBezTo>
                      <a:pt x="32652" y="44283"/>
                      <a:pt x="30770" y="45419"/>
                      <a:pt x="28707" y="45494"/>
                    </a:cubicBezTo>
                    <a:cubicBezTo>
                      <a:pt x="26653" y="45530"/>
                      <a:pt x="24719" y="44521"/>
                      <a:pt x="23556" y="42808"/>
                    </a:cubicBezTo>
                    <a:lnTo>
                      <a:pt x="861" y="9360"/>
                    </a:lnTo>
                    <a:cubicBezTo>
                      <a:pt x="-854" y="6469"/>
                      <a:pt x="73" y="2720"/>
                      <a:pt x="2932" y="986"/>
                    </a:cubicBezTo>
                    <a:cubicBezTo>
                      <a:pt x="5570" y="-615"/>
                      <a:pt x="8977" y="47"/>
                      <a:pt x="10841" y="2524"/>
                    </a:cubicBezTo>
                    <a:lnTo>
                      <a:pt x="28144" y="28159"/>
                    </a:lnTo>
                    <a:lnTo>
                      <a:pt x="42711" y="3012"/>
                    </a:lnTo>
                    <a:cubicBezTo>
                      <a:pt x="43755" y="1212"/>
                      <a:pt x="45638" y="76"/>
                      <a:pt x="47701" y="1"/>
                    </a:cubicBezTo>
                    <a:cubicBezTo>
                      <a:pt x="49776" y="-33"/>
                      <a:pt x="51734" y="972"/>
                      <a:pt x="52932" y="2686"/>
                    </a:cubicBezTo>
                    <a:lnTo>
                      <a:pt x="69672" y="27671"/>
                    </a:lnTo>
                    <a:lnTo>
                      <a:pt x="82468" y="3256"/>
                    </a:lnTo>
                    <a:cubicBezTo>
                      <a:pt x="84000" y="313"/>
                      <a:pt x="87601" y="-818"/>
                      <a:pt x="90512" y="731"/>
                    </a:cubicBezTo>
                    <a:cubicBezTo>
                      <a:pt x="90513" y="732"/>
                      <a:pt x="90515" y="732"/>
                      <a:pt x="90516" y="733"/>
                    </a:cubicBezTo>
                    <a:cubicBezTo>
                      <a:pt x="93408" y="2221"/>
                      <a:pt x="94560" y="5798"/>
                      <a:pt x="93089" y="8722"/>
                    </a:cubicBezTo>
                    <a:cubicBezTo>
                      <a:pt x="93063" y="8772"/>
                      <a:pt x="93038" y="8822"/>
                      <a:pt x="93011" y="8872"/>
                    </a:cubicBezTo>
                    <a:lnTo>
                      <a:pt x="76030" y="42238"/>
                    </a:lnTo>
                    <a:cubicBezTo>
                      <a:pt x="75022" y="44111"/>
                      <a:pt x="73143" y="45337"/>
                      <a:pt x="71040" y="45494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79" name="Freihandform 78">
                <a:extLst>
                  <a:ext uri="{FF2B5EF4-FFF2-40B4-BE49-F238E27FC236}">
                    <a16:creationId xmlns:a16="http://schemas.microsoft.com/office/drawing/2014/main" id="{623B8F6A-8021-9EB6-CC25-80B86685D776}"/>
                  </a:ext>
                </a:extLst>
              </p:cNvPr>
              <p:cNvSpPr/>
              <p:nvPr/>
            </p:nvSpPr>
            <p:spPr>
              <a:xfrm>
                <a:off x="6497318" y="3501865"/>
                <a:ext cx="109426" cy="24735"/>
              </a:xfrm>
              <a:custGeom>
                <a:avLst/>
                <a:gdLst>
                  <a:gd name="connsiteX0" fmla="*/ 53618 w 109426"/>
                  <a:gd name="connsiteY0" fmla="*/ 24735 h 24735"/>
                  <a:gd name="connsiteX1" fmla="*/ 2513 w 109426"/>
                  <a:gd name="connsiteY1" fmla="*/ 12853 h 24735"/>
                  <a:gd name="connsiteX2" fmla="*/ 1144 w 109426"/>
                  <a:gd name="connsiteY2" fmla="*/ 4308 h 24735"/>
                  <a:gd name="connsiteX3" fmla="*/ 9595 w 109426"/>
                  <a:gd name="connsiteY3" fmla="*/ 2925 h 24735"/>
                  <a:gd name="connsiteX4" fmla="*/ 53618 w 109426"/>
                  <a:gd name="connsiteY4" fmla="*/ 12528 h 24735"/>
                  <a:gd name="connsiteX5" fmla="*/ 98928 w 109426"/>
                  <a:gd name="connsiteY5" fmla="*/ 1785 h 24735"/>
                  <a:gd name="connsiteX6" fmla="*/ 107459 w 109426"/>
                  <a:gd name="connsiteY6" fmla="*/ 1785 h 24735"/>
                  <a:gd name="connsiteX7" fmla="*/ 107895 w 109426"/>
                  <a:gd name="connsiteY7" fmla="*/ 10291 h 24735"/>
                  <a:gd name="connsiteX8" fmla="*/ 107540 w 109426"/>
                  <a:gd name="connsiteY8" fmla="*/ 10656 h 24735"/>
                  <a:gd name="connsiteX9" fmla="*/ 53618 w 109426"/>
                  <a:gd name="connsiteY9" fmla="*/ 24735 h 24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9426" h="24735">
                    <a:moveTo>
                      <a:pt x="53618" y="24735"/>
                    </a:moveTo>
                    <a:cubicBezTo>
                      <a:pt x="31968" y="24735"/>
                      <a:pt x="12412" y="20178"/>
                      <a:pt x="2513" y="12853"/>
                    </a:cubicBezTo>
                    <a:cubicBezTo>
                      <a:pt x="-199" y="10876"/>
                      <a:pt x="-811" y="7050"/>
                      <a:pt x="1144" y="4308"/>
                    </a:cubicBezTo>
                    <a:cubicBezTo>
                      <a:pt x="3100" y="1566"/>
                      <a:pt x="6883" y="947"/>
                      <a:pt x="9595" y="2925"/>
                    </a:cubicBezTo>
                    <a:cubicBezTo>
                      <a:pt x="23124" y="10137"/>
                      <a:pt x="38351" y="13458"/>
                      <a:pt x="53618" y="12528"/>
                    </a:cubicBezTo>
                    <a:cubicBezTo>
                      <a:pt x="77118" y="12528"/>
                      <a:pt x="93858" y="6994"/>
                      <a:pt x="98928" y="1785"/>
                    </a:cubicBezTo>
                    <a:cubicBezTo>
                      <a:pt x="101285" y="-595"/>
                      <a:pt x="105103" y="-595"/>
                      <a:pt x="107459" y="1785"/>
                    </a:cubicBezTo>
                    <a:cubicBezTo>
                      <a:pt x="109902" y="4013"/>
                      <a:pt x="110096" y="7821"/>
                      <a:pt x="107895" y="10291"/>
                    </a:cubicBezTo>
                    <a:cubicBezTo>
                      <a:pt x="107781" y="10418"/>
                      <a:pt x="107663" y="10540"/>
                      <a:pt x="107540" y="10656"/>
                    </a:cubicBezTo>
                    <a:cubicBezTo>
                      <a:pt x="98284" y="19364"/>
                      <a:pt x="77681" y="24735"/>
                      <a:pt x="53618" y="24735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80" name="Freihandform 79">
                <a:extLst>
                  <a:ext uri="{FF2B5EF4-FFF2-40B4-BE49-F238E27FC236}">
                    <a16:creationId xmlns:a16="http://schemas.microsoft.com/office/drawing/2014/main" id="{997EC78B-FC7B-FDE5-BEA7-9EE9C81751EC}"/>
                  </a:ext>
                </a:extLst>
              </p:cNvPr>
              <p:cNvSpPr/>
              <p:nvPr/>
            </p:nvSpPr>
            <p:spPr>
              <a:xfrm>
                <a:off x="6367681" y="3223614"/>
                <a:ext cx="183254" cy="185552"/>
              </a:xfrm>
              <a:custGeom>
                <a:avLst/>
                <a:gdLst>
                  <a:gd name="connsiteX0" fmla="*/ 102935 w 183254"/>
                  <a:gd name="connsiteY0" fmla="*/ 185552 h 185552"/>
                  <a:gd name="connsiteX1" fmla="*/ 80481 w 183254"/>
                  <a:gd name="connsiteY1" fmla="*/ 185552 h 185552"/>
                  <a:gd name="connsiteX2" fmla="*/ 70743 w 183254"/>
                  <a:gd name="connsiteY2" fmla="*/ 177414 h 185552"/>
                  <a:gd name="connsiteX3" fmla="*/ 68167 w 183254"/>
                  <a:gd name="connsiteY3" fmla="*/ 162358 h 185552"/>
                  <a:gd name="connsiteX4" fmla="*/ 59556 w 183254"/>
                  <a:gd name="connsiteY4" fmla="*/ 158696 h 185552"/>
                  <a:gd name="connsiteX5" fmla="*/ 47484 w 183254"/>
                  <a:gd name="connsiteY5" fmla="*/ 167404 h 185552"/>
                  <a:gd name="connsiteX6" fmla="*/ 34768 w 183254"/>
                  <a:gd name="connsiteY6" fmla="*/ 166834 h 185552"/>
                  <a:gd name="connsiteX7" fmla="*/ 18672 w 183254"/>
                  <a:gd name="connsiteY7" fmla="*/ 150558 h 185552"/>
                  <a:gd name="connsiteX8" fmla="*/ 17626 w 183254"/>
                  <a:gd name="connsiteY8" fmla="*/ 137699 h 185552"/>
                  <a:gd name="connsiteX9" fmla="*/ 26237 w 183254"/>
                  <a:gd name="connsiteY9" fmla="*/ 125492 h 185552"/>
                  <a:gd name="connsiteX10" fmla="*/ 22615 w 183254"/>
                  <a:gd name="connsiteY10" fmla="*/ 116621 h 185552"/>
                  <a:gd name="connsiteX11" fmla="*/ 8048 w 183254"/>
                  <a:gd name="connsiteY11" fmla="*/ 114098 h 185552"/>
                  <a:gd name="connsiteX12" fmla="*/ 0 w 183254"/>
                  <a:gd name="connsiteY12" fmla="*/ 104251 h 185552"/>
                  <a:gd name="connsiteX13" fmla="*/ 0 w 183254"/>
                  <a:gd name="connsiteY13" fmla="*/ 81383 h 185552"/>
                  <a:gd name="connsiteX14" fmla="*/ 8048 w 183254"/>
                  <a:gd name="connsiteY14" fmla="*/ 71535 h 185552"/>
                  <a:gd name="connsiteX15" fmla="*/ 22776 w 183254"/>
                  <a:gd name="connsiteY15" fmla="*/ 69175 h 185552"/>
                  <a:gd name="connsiteX16" fmla="*/ 26398 w 183254"/>
                  <a:gd name="connsiteY16" fmla="*/ 60386 h 185552"/>
                  <a:gd name="connsiteX17" fmla="*/ 17787 w 183254"/>
                  <a:gd name="connsiteY17" fmla="*/ 47935 h 185552"/>
                  <a:gd name="connsiteX18" fmla="*/ 18913 w 183254"/>
                  <a:gd name="connsiteY18" fmla="*/ 35076 h 185552"/>
                  <a:gd name="connsiteX19" fmla="*/ 35009 w 183254"/>
                  <a:gd name="connsiteY19" fmla="*/ 18800 h 185552"/>
                  <a:gd name="connsiteX20" fmla="*/ 47645 w 183254"/>
                  <a:gd name="connsiteY20" fmla="*/ 17742 h 185552"/>
                  <a:gd name="connsiteX21" fmla="*/ 59636 w 183254"/>
                  <a:gd name="connsiteY21" fmla="*/ 26450 h 185552"/>
                  <a:gd name="connsiteX22" fmla="*/ 68167 w 183254"/>
                  <a:gd name="connsiteY22" fmla="*/ 23032 h 185552"/>
                  <a:gd name="connsiteX23" fmla="*/ 70662 w 183254"/>
                  <a:gd name="connsiteY23" fmla="*/ 8139 h 185552"/>
                  <a:gd name="connsiteX24" fmla="*/ 80400 w 183254"/>
                  <a:gd name="connsiteY24" fmla="*/ 0 h 185552"/>
                  <a:gd name="connsiteX25" fmla="*/ 102854 w 183254"/>
                  <a:gd name="connsiteY25" fmla="*/ 0 h 185552"/>
                  <a:gd name="connsiteX26" fmla="*/ 112593 w 183254"/>
                  <a:gd name="connsiteY26" fmla="*/ 8139 h 185552"/>
                  <a:gd name="connsiteX27" fmla="*/ 115168 w 183254"/>
                  <a:gd name="connsiteY27" fmla="*/ 23032 h 185552"/>
                  <a:gd name="connsiteX28" fmla="*/ 123860 w 183254"/>
                  <a:gd name="connsiteY28" fmla="*/ 26694 h 185552"/>
                  <a:gd name="connsiteX29" fmla="*/ 135851 w 183254"/>
                  <a:gd name="connsiteY29" fmla="*/ 17986 h 185552"/>
                  <a:gd name="connsiteX30" fmla="*/ 148648 w 183254"/>
                  <a:gd name="connsiteY30" fmla="*/ 19044 h 185552"/>
                  <a:gd name="connsiteX31" fmla="*/ 164744 w 183254"/>
                  <a:gd name="connsiteY31" fmla="*/ 35320 h 185552"/>
                  <a:gd name="connsiteX32" fmla="*/ 165790 w 183254"/>
                  <a:gd name="connsiteY32" fmla="*/ 48179 h 185552"/>
                  <a:gd name="connsiteX33" fmla="*/ 156696 w 183254"/>
                  <a:gd name="connsiteY33" fmla="*/ 60223 h 185552"/>
                  <a:gd name="connsiteX34" fmla="*/ 160639 w 183254"/>
                  <a:gd name="connsiteY34" fmla="*/ 69175 h 185552"/>
                  <a:gd name="connsiteX35" fmla="*/ 175206 w 183254"/>
                  <a:gd name="connsiteY35" fmla="*/ 71698 h 185552"/>
                  <a:gd name="connsiteX36" fmla="*/ 183254 w 183254"/>
                  <a:gd name="connsiteY36" fmla="*/ 81545 h 185552"/>
                  <a:gd name="connsiteX37" fmla="*/ 183254 w 183254"/>
                  <a:gd name="connsiteY37" fmla="*/ 104251 h 185552"/>
                  <a:gd name="connsiteX38" fmla="*/ 175206 w 183254"/>
                  <a:gd name="connsiteY38" fmla="*/ 114098 h 185552"/>
                  <a:gd name="connsiteX39" fmla="*/ 160639 w 183254"/>
                  <a:gd name="connsiteY39" fmla="*/ 116621 h 185552"/>
                  <a:gd name="connsiteX40" fmla="*/ 156696 w 183254"/>
                  <a:gd name="connsiteY40" fmla="*/ 125248 h 185552"/>
                  <a:gd name="connsiteX41" fmla="*/ 165307 w 183254"/>
                  <a:gd name="connsiteY41" fmla="*/ 137537 h 185552"/>
                  <a:gd name="connsiteX42" fmla="*/ 164744 w 183254"/>
                  <a:gd name="connsiteY42" fmla="*/ 150558 h 185552"/>
                  <a:gd name="connsiteX43" fmla="*/ 148648 w 183254"/>
                  <a:gd name="connsiteY43" fmla="*/ 166834 h 185552"/>
                  <a:gd name="connsiteX44" fmla="*/ 135932 w 183254"/>
                  <a:gd name="connsiteY44" fmla="*/ 167892 h 185552"/>
                  <a:gd name="connsiteX45" fmla="*/ 123860 w 183254"/>
                  <a:gd name="connsiteY45" fmla="*/ 158696 h 185552"/>
                  <a:gd name="connsiteX46" fmla="*/ 115248 w 183254"/>
                  <a:gd name="connsiteY46" fmla="*/ 162277 h 185552"/>
                  <a:gd name="connsiteX47" fmla="*/ 112673 w 183254"/>
                  <a:gd name="connsiteY47" fmla="*/ 177170 h 185552"/>
                  <a:gd name="connsiteX48" fmla="*/ 102935 w 183254"/>
                  <a:gd name="connsiteY48" fmla="*/ 185552 h 185552"/>
                  <a:gd name="connsiteX49" fmla="*/ 82332 w 183254"/>
                  <a:gd name="connsiteY49" fmla="*/ 173345 h 185552"/>
                  <a:gd name="connsiteX50" fmla="*/ 101084 w 183254"/>
                  <a:gd name="connsiteY50" fmla="*/ 173345 h 185552"/>
                  <a:gd name="connsiteX51" fmla="*/ 104625 w 183254"/>
                  <a:gd name="connsiteY51" fmla="*/ 152836 h 185552"/>
                  <a:gd name="connsiteX52" fmla="*/ 108247 w 183254"/>
                  <a:gd name="connsiteY52" fmla="*/ 151778 h 185552"/>
                  <a:gd name="connsiteX53" fmla="*/ 121365 w 183254"/>
                  <a:gd name="connsiteY53" fmla="*/ 146244 h 185552"/>
                  <a:gd name="connsiteX54" fmla="*/ 124745 w 183254"/>
                  <a:gd name="connsiteY54" fmla="*/ 144373 h 185552"/>
                  <a:gd name="connsiteX55" fmla="*/ 141405 w 183254"/>
                  <a:gd name="connsiteY55" fmla="*/ 156499 h 185552"/>
                  <a:gd name="connsiteX56" fmla="*/ 154684 w 183254"/>
                  <a:gd name="connsiteY56" fmla="*/ 143071 h 185552"/>
                  <a:gd name="connsiteX57" fmla="*/ 142773 w 183254"/>
                  <a:gd name="connsiteY57" fmla="*/ 126143 h 185552"/>
                  <a:gd name="connsiteX58" fmla="*/ 144704 w 183254"/>
                  <a:gd name="connsiteY58" fmla="*/ 122806 h 185552"/>
                  <a:gd name="connsiteX59" fmla="*/ 150097 w 183254"/>
                  <a:gd name="connsiteY59" fmla="*/ 109867 h 185552"/>
                  <a:gd name="connsiteX60" fmla="*/ 151062 w 183254"/>
                  <a:gd name="connsiteY60" fmla="*/ 106042 h 185552"/>
                  <a:gd name="connsiteX61" fmla="*/ 171424 w 183254"/>
                  <a:gd name="connsiteY61" fmla="*/ 102623 h 185552"/>
                  <a:gd name="connsiteX62" fmla="*/ 171424 w 183254"/>
                  <a:gd name="connsiteY62" fmla="*/ 83254 h 185552"/>
                  <a:gd name="connsiteX63" fmla="*/ 151062 w 183254"/>
                  <a:gd name="connsiteY63" fmla="*/ 79755 h 185552"/>
                  <a:gd name="connsiteX64" fmla="*/ 150097 w 183254"/>
                  <a:gd name="connsiteY64" fmla="*/ 76011 h 185552"/>
                  <a:gd name="connsiteX65" fmla="*/ 144704 w 183254"/>
                  <a:gd name="connsiteY65" fmla="*/ 62746 h 185552"/>
                  <a:gd name="connsiteX66" fmla="*/ 142773 w 183254"/>
                  <a:gd name="connsiteY66" fmla="*/ 59409 h 185552"/>
                  <a:gd name="connsiteX67" fmla="*/ 154684 w 183254"/>
                  <a:gd name="connsiteY67" fmla="*/ 42401 h 185552"/>
                  <a:gd name="connsiteX68" fmla="*/ 141405 w 183254"/>
                  <a:gd name="connsiteY68" fmla="*/ 29054 h 185552"/>
                  <a:gd name="connsiteX69" fmla="*/ 124504 w 183254"/>
                  <a:gd name="connsiteY69" fmla="*/ 41180 h 185552"/>
                  <a:gd name="connsiteX70" fmla="*/ 121124 w 183254"/>
                  <a:gd name="connsiteY70" fmla="*/ 39145 h 185552"/>
                  <a:gd name="connsiteX71" fmla="*/ 108408 w 183254"/>
                  <a:gd name="connsiteY71" fmla="*/ 33611 h 185552"/>
                  <a:gd name="connsiteX72" fmla="*/ 104786 w 183254"/>
                  <a:gd name="connsiteY72" fmla="*/ 32553 h 185552"/>
                  <a:gd name="connsiteX73" fmla="*/ 101084 w 183254"/>
                  <a:gd name="connsiteY73" fmla="*/ 12208 h 185552"/>
                  <a:gd name="connsiteX74" fmla="*/ 82332 w 183254"/>
                  <a:gd name="connsiteY74" fmla="*/ 12208 h 185552"/>
                  <a:gd name="connsiteX75" fmla="*/ 78871 w 183254"/>
                  <a:gd name="connsiteY75" fmla="*/ 32553 h 185552"/>
                  <a:gd name="connsiteX76" fmla="*/ 75169 w 183254"/>
                  <a:gd name="connsiteY76" fmla="*/ 33611 h 185552"/>
                  <a:gd name="connsiteX77" fmla="*/ 62051 w 183254"/>
                  <a:gd name="connsiteY77" fmla="*/ 39145 h 185552"/>
                  <a:gd name="connsiteX78" fmla="*/ 58671 w 183254"/>
                  <a:gd name="connsiteY78" fmla="*/ 41180 h 185552"/>
                  <a:gd name="connsiteX79" fmla="*/ 42011 w 183254"/>
                  <a:gd name="connsiteY79" fmla="*/ 29054 h 185552"/>
                  <a:gd name="connsiteX80" fmla="*/ 28732 w 183254"/>
                  <a:gd name="connsiteY80" fmla="*/ 42401 h 185552"/>
                  <a:gd name="connsiteX81" fmla="*/ 40643 w 183254"/>
                  <a:gd name="connsiteY81" fmla="*/ 59409 h 185552"/>
                  <a:gd name="connsiteX82" fmla="*/ 38711 w 183254"/>
                  <a:gd name="connsiteY82" fmla="*/ 62746 h 185552"/>
                  <a:gd name="connsiteX83" fmla="*/ 33239 w 183254"/>
                  <a:gd name="connsiteY83" fmla="*/ 76093 h 185552"/>
                  <a:gd name="connsiteX84" fmla="*/ 32193 w 183254"/>
                  <a:gd name="connsiteY84" fmla="*/ 79755 h 185552"/>
                  <a:gd name="connsiteX85" fmla="*/ 12072 w 183254"/>
                  <a:gd name="connsiteY85" fmla="*/ 83254 h 185552"/>
                  <a:gd name="connsiteX86" fmla="*/ 12072 w 183254"/>
                  <a:gd name="connsiteY86" fmla="*/ 102217 h 185552"/>
                  <a:gd name="connsiteX87" fmla="*/ 32193 w 183254"/>
                  <a:gd name="connsiteY87" fmla="*/ 105635 h 185552"/>
                  <a:gd name="connsiteX88" fmla="*/ 33239 w 183254"/>
                  <a:gd name="connsiteY88" fmla="*/ 109378 h 185552"/>
                  <a:gd name="connsiteX89" fmla="*/ 38711 w 183254"/>
                  <a:gd name="connsiteY89" fmla="*/ 122725 h 185552"/>
                  <a:gd name="connsiteX90" fmla="*/ 40643 w 183254"/>
                  <a:gd name="connsiteY90" fmla="*/ 126143 h 185552"/>
                  <a:gd name="connsiteX91" fmla="*/ 28732 w 183254"/>
                  <a:gd name="connsiteY91" fmla="*/ 143071 h 185552"/>
                  <a:gd name="connsiteX92" fmla="*/ 42011 w 183254"/>
                  <a:gd name="connsiteY92" fmla="*/ 156499 h 185552"/>
                  <a:gd name="connsiteX93" fmla="*/ 58671 w 183254"/>
                  <a:gd name="connsiteY93" fmla="*/ 144373 h 185552"/>
                  <a:gd name="connsiteX94" fmla="*/ 62051 w 183254"/>
                  <a:gd name="connsiteY94" fmla="*/ 146244 h 185552"/>
                  <a:gd name="connsiteX95" fmla="*/ 75169 w 183254"/>
                  <a:gd name="connsiteY95" fmla="*/ 151778 h 185552"/>
                  <a:gd name="connsiteX96" fmla="*/ 78871 w 183254"/>
                  <a:gd name="connsiteY96" fmla="*/ 152836 h 185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183254" h="185552">
                    <a:moveTo>
                      <a:pt x="102935" y="185552"/>
                    </a:moveTo>
                    <a:lnTo>
                      <a:pt x="80481" y="185552"/>
                    </a:lnTo>
                    <a:cubicBezTo>
                      <a:pt x="75711" y="185592"/>
                      <a:pt x="71603" y="182158"/>
                      <a:pt x="70743" y="177414"/>
                    </a:cubicBezTo>
                    <a:lnTo>
                      <a:pt x="68167" y="162358"/>
                    </a:lnTo>
                    <a:cubicBezTo>
                      <a:pt x="65217" y="161339"/>
                      <a:pt x="62340" y="160115"/>
                      <a:pt x="59556" y="158696"/>
                    </a:cubicBezTo>
                    <a:lnTo>
                      <a:pt x="47484" y="167404"/>
                    </a:lnTo>
                    <a:cubicBezTo>
                      <a:pt x="43681" y="170394"/>
                      <a:pt x="38295" y="170153"/>
                      <a:pt x="34768" y="166834"/>
                    </a:cubicBezTo>
                    <a:lnTo>
                      <a:pt x="18672" y="150558"/>
                    </a:lnTo>
                    <a:cubicBezTo>
                      <a:pt x="15274" y="147101"/>
                      <a:pt x="14832" y="141672"/>
                      <a:pt x="17626" y="137699"/>
                    </a:cubicBezTo>
                    <a:lnTo>
                      <a:pt x="26237" y="125492"/>
                    </a:lnTo>
                    <a:cubicBezTo>
                      <a:pt x="24865" y="122607"/>
                      <a:pt x="23656" y="119645"/>
                      <a:pt x="22615" y="116621"/>
                    </a:cubicBezTo>
                    <a:lnTo>
                      <a:pt x="8048" y="114098"/>
                    </a:lnTo>
                    <a:cubicBezTo>
                      <a:pt x="3356" y="113228"/>
                      <a:pt x="-39" y="109075"/>
                      <a:pt x="0" y="104251"/>
                    </a:cubicBezTo>
                    <a:lnTo>
                      <a:pt x="0" y="81383"/>
                    </a:lnTo>
                    <a:cubicBezTo>
                      <a:pt x="-39" y="76559"/>
                      <a:pt x="3356" y="72405"/>
                      <a:pt x="8048" y="71535"/>
                    </a:cubicBezTo>
                    <a:lnTo>
                      <a:pt x="22776" y="69175"/>
                    </a:lnTo>
                    <a:cubicBezTo>
                      <a:pt x="23802" y="66172"/>
                      <a:pt x="25012" y="63237"/>
                      <a:pt x="26398" y="60386"/>
                    </a:cubicBezTo>
                    <a:lnTo>
                      <a:pt x="17787" y="47935"/>
                    </a:lnTo>
                    <a:cubicBezTo>
                      <a:pt x="14979" y="43953"/>
                      <a:pt x="15457" y="38497"/>
                      <a:pt x="18913" y="35076"/>
                    </a:cubicBezTo>
                    <a:lnTo>
                      <a:pt x="35009" y="18800"/>
                    </a:lnTo>
                    <a:cubicBezTo>
                      <a:pt x="38402" y="15376"/>
                      <a:pt x="43742" y="14929"/>
                      <a:pt x="47645" y="17742"/>
                    </a:cubicBezTo>
                    <a:lnTo>
                      <a:pt x="59636" y="26450"/>
                    </a:lnTo>
                    <a:cubicBezTo>
                      <a:pt x="62411" y="25140"/>
                      <a:pt x="65259" y="23999"/>
                      <a:pt x="68167" y="23032"/>
                    </a:cubicBezTo>
                    <a:lnTo>
                      <a:pt x="70662" y="8139"/>
                    </a:lnTo>
                    <a:cubicBezTo>
                      <a:pt x="71523" y="3394"/>
                      <a:pt x="75630" y="-39"/>
                      <a:pt x="80400" y="0"/>
                    </a:cubicBezTo>
                    <a:lnTo>
                      <a:pt x="102854" y="0"/>
                    </a:lnTo>
                    <a:cubicBezTo>
                      <a:pt x="107625" y="-39"/>
                      <a:pt x="111732" y="3394"/>
                      <a:pt x="112593" y="8139"/>
                    </a:cubicBezTo>
                    <a:lnTo>
                      <a:pt x="115168" y="23032"/>
                    </a:lnTo>
                    <a:cubicBezTo>
                      <a:pt x="118132" y="24084"/>
                      <a:pt x="121034" y="25307"/>
                      <a:pt x="123860" y="26694"/>
                    </a:cubicBezTo>
                    <a:lnTo>
                      <a:pt x="135851" y="17986"/>
                    </a:lnTo>
                    <a:cubicBezTo>
                      <a:pt x="139796" y="15114"/>
                      <a:pt x="145218" y="15563"/>
                      <a:pt x="148648" y="19044"/>
                    </a:cubicBezTo>
                    <a:lnTo>
                      <a:pt x="164744" y="35320"/>
                    </a:lnTo>
                    <a:cubicBezTo>
                      <a:pt x="168174" y="38762"/>
                      <a:pt x="168618" y="44216"/>
                      <a:pt x="165790" y="48179"/>
                    </a:cubicBezTo>
                    <a:lnTo>
                      <a:pt x="156696" y="60223"/>
                    </a:lnTo>
                    <a:cubicBezTo>
                      <a:pt x="158183" y="63127"/>
                      <a:pt x="159500" y="66116"/>
                      <a:pt x="160639" y="69175"/>
                    </a:cubicBezTo>
                    <a:lnTo>
                      <a:pt x="175206" y="71698"/>
                    </a:lnTo>
                    <a:cubicBezTo>
                      <a:pt x="179898" y="72568"/>
                      <a:pt x="183294" y="76722"/>
                      <a:pt x="183254" y="81545"/>
                    </a:cubicBezTo>
                    <a:lnTo>
                      <a:pt x="183254" y="104251"/>
                    </a:lnTo>
                    <a:cubicBezTo>
                      <a:pt x="183261" y="109063"/>
                      <a:pt x="179881" y="113198"/>
                      <a:pt x="175206" y="114098"/>
                    </a:cubicBezTo>
                    <a:lnTo>
                      <a:pt x="160639" y="116621"/>
                    </a:lnTo>
                    <a:cubicBezTo>
                      <a:pt x="159489" y="119571"/>
                      <a:pt x="158172" y="122451"/>
                      <a:pt x="156696" y="125248"/>
                    </a:cubicBezTo>
                    <a:lnTo>
                      <a:pt x="165307" y="137537"/>
                    </a:lnTo>
                    <a:cubicBezTo>
                      <a:pt x="168322" y="141423"/>
                      <a:pt x="168083" y="146952"/>
                      <a:pt x="164744" y="150558"/>
                    </a:cubicBezTo>
                    <a:lnTo>
                      <a:pt x="148648" y="166834"/>
                    </a:lnTo>
                    <a:cubicBezTo>
                      <a:pt x="145244" y="170303"/>
                      <a:pt x="139851" y="170752"/>
                      <a:pt x="135932" y="167892"/>
                    </a:cubicBezTo>
                    <a:lnTo>
                      <a:pt x="123860" y="158696"/>
                    </a:lnTo>
                    <a:cubicBezTo>
                      <a:pt x="121069" y="160077"/>
                      <a:pt x="118192" y="161273"/>
                      <a:pt x="115248" y="162277"/>
                    </a:cubicBezTo>
                    <a:lnTo>
                      <a:pt x="112673" y="177170"/>
                    </a:lnTo>
                    <a:cubicBezTo>
                      <a:pt x="111918" y="182011"/>
                      <a:pt x="107782" y="185572"/>
                      <a:pt x="102935" y="185552"/>
                    </a:cubicBezTo>
                    <a:close/>
                    <a:moveTo>
                      <a:pt x="82332" y="173345"/>
                    </a:moveTo>
                    <a:lnTo>
                      <a:pt x="101084" y="173345"/>
                    </a:lnTo>
                    <a:lnTo>
                      <a:pt x="104625" y="152836"/>
                    </a:lnTo>
                    <a:lnTo>
                      <a:pt x="108247" y="151778"/>
                    </a:lnTo>
                    <a:cubicBezTo>
                      <a:pt x="112825" y="150478"/>
                      <a:pt x="117230" y="148620"/>
                      <a:pt x="121365" y="146244"/>
                    </a:cubicBezTo>
                    <a:lnTo>
                      <a:pt x="124745" y="144373"/>
                    </a:lnTo>
                    <a:lnTo>
                      <a:pt x="141405" y="156499"/>
                    </a:lnTo>
                    <a:lnTo>
                      <a:pt x="154684" y="143071"/>
                    </a:lnTo>
                    <a:lnTo>
                      <a:pt x="142773" y="126143"/>
                    </a:lnTo>
                    <a:lnTo>
                      <a:pt x="144704" y="122806"/>
                    </a:lnTo>
                    <a:cubicBezTo>
                      <a:pt x="147041" y="118744"/>
                      <a:pt x="148854" y="114395"/>
                      <a:pt x="150097" y="109867"/>
                    </a:cubicBezTo>
                    <a:lnTo>
                      <a:pt x="151062" y="106042"/>
                    </a:lnTo>
                    <a:lnTo>
                      <a:pt x="171424" y="102623"/>
                    </a:lnTo>
                    <a:lnTo>
                      <a:pt x="171424" y="83254"/>
                    </a:lnTo>
                    <a:lnTo>
                      <a:pt x="151062" y="79755"/>
                    </a:lnTo>
                    <a:lnTo>
                      <a:pt x="150097" y="76011"/>
                    </a:lnTo>
                    <a:cubicBezTo>
                      <a:pt x="148873" y="71373"/>
                      <a:pt x="147061" y="66914"/>
                      <a:pt x="144704" y="62746"/>
                    </a:cubicBezTo>
                    <a:lnTo>
                      <a:pt x="142773" y="59409"/>
                    </a:lnTo>
                    <a:lnTo>
                      <a:pt x="154684" y="42401"/>
                    </a:lnTo>
                    <a:lnTo>
                      <a:pt x="141405" y="29054"/>
                    </a:lnTo>
                    <a:lnTo>
                      <a:pt x="124504" y="41180"/>
                    </a:lnTo>
                    <a:lnTo>
                      <a:pt x="121124" y="39145"/>
                    </a:lnTo>
                    <a:cubicBezTo>
                      <a:pt x="117116" y="36800"/>
                      <a:pt x="112848" y="34942"/>
                      <a:pt x="108408" y="33611"/>
                    </a:cubicBezTo>
                    <a:lnTo>
                      <a:pt x="104786" y="32553"/>
                    </a:lnTo>
                    <a:lnTo>
                      <a:pt x="101084" y="12208"/>
                    </a:lnTo>
                    <a:lnTo>
                      <a:pt x="82332" y="12208"/>
                    </a:lnTo>
                    <a:lnTo>
                      <a:pt x="78871" y="32553"/>
                    </a:lnTo>
                    <a:lnTo>
                      <a:pt x="75169" y="33611"/>
                    </a:lnTo>
                    <a:cubicBezTo>
                      <a:pt x="70581" y="34882"/>
                      <a:pt x="66172" y="36742"/>
                      <a:pt x="62051" y="39145"/>
                    </a:cubicBezTo>
                    <a:lnTo>
                      <a:pt x="58671" y="41180"/>
                    </a:lnTo>
                    <a:lnTo>
                      <a:pt x="42011" y="29054"/>
                    </a:lnTo>
                    <a:lnTo>
                      <a:pt x="28732" y="42401"/>
                    </a:lnTo>
                    <a:lnTo>
                      <a:pt x="40643" y="59409"/>
                    </a:lnTo>
                    <a:lnTo>
                      <a:pt x="38711" y="62746"/>
                    </a:lnTo>
                    <a:cubicBezTo>
                      <a:pt x="36349" y="66949"/>
                      <a:pt x="34510" y="71432"/>
                      <a:pt x="33239" y="76093"/>
                    </a:cubicBezTo>
                    <a:lnTo>
                      <a:pt x="32193" y="79755"/>
                    </a:lnTo>
                    <a:lnTo>
                      <a:pt x="12072" y="83254"/>
                    </a:lnTo>
                    <a:lnTo>
                      <a:pt x="12072" y="102217"/>
                    </a:lnTo>
                    <a:lnTo>
                      <a:pt x="32193" y="105635"/>
                    </a:lnTo>
                    <a:lnTo>
                      <a:pt x="33239" y="109378"/>
                    </a:lnTo>
                    <a:cubicBezTo>
                      <a:pt x="34495" y="114044"/>
                      <a:pt x="36334" y="118529"/>
                      <a:pt x="38711" y="122725"/>
                    </a:cubicBezTo>
                    <a:lnTo>
                      <a:pt x="40643" y="126143"/>
                    </a:lnTo>
                    <a:lnTo>
                      <a:pt x="28732" y="143071"/>
                    </a:lnTo>
                    <a:lnTo>
                      <a:pt x="42011" y="156499"/>
                    </a:lnTo>
                    <a:lnTo>
                      <a:pt x="58671" y="144373"/>
                    </a:lnTo>
                    <a:lnTo>
                      <a:pt x="62051" y="146244"/>
                    </a:lnTo>
                    <a:cubicBezTo>
                      <a:pt x="66186" y="148620"/>
                      <a:pt x="70591" y="150478"/>
                      <a:pt x="75169" y="151778"/>
                    </a:cubicBezTo>
                    <a:lnTo>
                      <a:pt x="78871" y="152836"/>
                    </a:ln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81" name="Freihandform 80">
                <a:extLst>
                  <a:ext uri="{FF2B5EF4-FFF2-40B4-BE49-F238E27FC236}">
                    <a16:creationId xmlns:a16="http://schemas.microsoft.com/office/drawing/2014/main" id="{D1A434D7-D798-63B5-596A-E143F1CBC88E}"/>
                  </a:ext>
                </a:extLst>
              </p:cNvPr>
              <p:cNvSpPr/>
              <p:nvPr/>
            </p:nvSpPr>
            <p:spPr>
              <a:xfrm>
                <a:off x="6416936" y="3273420"/>
                <a:ext cx="84826" cy="85776"/>
              </a:xfrm>
              <a:custGeom>
                <a:avLst/>
                <a:gdLst>
                  <a:gd name="connsiteX0" fmla="*/ 42494 w 84826"/>
                  <a:gd name="connsiteY0" fmla="*/ 85777 h 85776"/>
                  <a:gd name="connsiteX1" fmla="*/ 0 w 84826"/>
                  <a:gd name="connsiteY1" fmla="*/ 42970 h 85776"/>
                  <a:gd name="connsiteX2" fmla="*/ 42333 w 84826"/>
                  <a:gd name="connsiteY2" fmla="*/ 0 h 85776"/>
                  <a:gd name="connsiteX3" fmla="*/ 84827 w 84826"/>
                  <a:gd name="connsiteY3" fmla="*/ 42807 h 85776"/>
                  <a:gd name="connsiteX4" fmla="*/ 84827 w 84826"/>
                  <a:gd name="connsiteY4" fmla="*/ 42888 h 85776"/>
                  <a:gd name="connsiteX5" fmla="*/ 42494 w 84826"/>
                  <a:gd name="connsiteY5" fmla="*/ 85777 h 85776"/>
                  <a:gd name="connsiteX6" fmla="*/ 42494 w 84826"/>
                  <a:gd name="connsiteY6" fmla="*/ 12533 h 85776"/>
                  <a:gd name="connsiteX7" fmla="*/ 12072 w 84826"/>
                  <a:gd name="connsiteY7" fmla="*/ 43133 h 85776"/>
                  <a:gd name="connsiteX8" fmla="*/ 42333 w 84826"/>
                  <a:gd name="connsiteY8" fmla="*/ 73895 h 85776"/>
                  <a:gd name="connsiteX9" fmla="*/ 72754 w 84826"/>
                  <a:gd name="connsiteY9" fmla="*/ 43295 h 85776"/>
                  <a:gd name="connsiteX10" fmla="*/ 72754 w 84826"/>
                  <a:gd name="connsiteY10" fmla="*/ 43133 h 85776"/>
                  <a:gd name="connsiteX11" fmla="*/ 42575 w 84826"/>
                  <a:gd name="connsiteY11" fmla="*/ 12289 h 85776"/>
                  <a:gd name="connsiteX12" fmla="*/ 42494 w 84826"/>
                  <a:gd name="connsiteY12" fmla="*/ 12289 h 8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4826" h="85776">
                    <a:moveTo>
                      <a:pt x="42494" y="85777"/>
                    </a:moveTo>
                    <a:cubicBezTo>
                      <a:pt x="19070" y="85822"/>
                      <a:pt x="44" y="66656"/>
                      <a:pt x="0" y="42970"/>
                    </a:cubicBezTo>
                    <a:cubicBezTo>
                      <a:pt x="-44" y="19283"/>
                      <a:pt x="18909" y="45"/>
                      <a:pt x="42333" y="0"/>
                    </a:cubicBezTo>
                    <a:cubicBezTo>
                      <a:pt x="65757" y="-45"/>
                      <a:pt x="84782" y="19120"/>
                      <a:pt x="84827" y="42807"/>
                    </a:cubicBezTo>
                    <a:cubicBezTo>
                      <a:pt x="84827" y="42834"/>
                      <a:pt x="84827" y="42862"/>
                      <a:pt x="84827" y="42888"/>
                    </a:cubicBezTo>
                    <a:cubicBezTo>
                      <a:pt x="84782" y="66525"/>
                      <a:pt x="65869" y="85687"/>
                      <a:pt x="42494" y="85777"/>
                    </a:cubicBezTo>
                    <a:close/>
                    <a:moveTo>
                      <a:pt x="42494" y="12533"/>
                    </a:moveTo>
                    <a:cubicBezTo>
                      <a:pt x="25737" y="12488"/>
                      <a:pt x="12116" y="26188"/>
                      <a:pt x="12072" y="43133"/>
                    </a:cubicBezTo>
                    <a:cubicBezTo>
                      <a:pt x="12028" y="60077"/>
                      <a:pt x="25576" y="73850"/>
                      <a:pt x="42333" y="73895"/>
                    </a:cubicBezTo>
                    <a:cubicBezTo>
                      <a:pt x="59090" y="73940"/>
                      <a:pt x="72710" y="60240"/>
                      <a:pt x="72754" y="43295"/>
                    </a:cubicBezTo>
                    <a:cubicBezTo>
                      <a:pt x="72754" y="43241"/>
                      <a:pt x="72754" y="43187"/>
                      <a:pt x="72754" y="43133"/>
                    </a:cubicBezTo>
                    <a:cubicBezTo>
                      <a:pt x="72844" y="26188"/>
                      <a:pt x="59332" y="12379"/>
                      <a:pt x="42575" y="12289"/>
                    </a:cubicBezTo>
                    <a:cubicBezTo>
                      <a:pt x="42548" y="12289"/>
                      <a:pt x="42521" y="12289"/>
                      <a:pt x="42494" y="12289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82" name="Freihandform 81">
                <a:extLst>
                  <a:ext uri="{FF2B5EF4-FFF2-40B4-BE49-F238E27FC236}">
                    <a16:creationId xmlns:a16="http://schemas.microsoft.com/office/drawing/2014/main" id="{B11013C2-AF17-2AE8-481F-58DC9B39DC9D}"/>
                  </a:ext>
                </a:extLst>
              </p:cNvPr>
              <p:cNvSpPr/>
              <p:nvPr/>
            </p:nvSpPr>
            <p:spPr>
              <a:xfrm>
                <a:off x="6279153" y="3250307"/>
                <a:ext cx="68972" cy="74221"/>
              </a:xfrm>
              <a:custGeom>
                <a:avLst/>
                <a:gdLst>
                  <a:gd name="connsiteX0" fmla="*/ 62936 w 68972"/>
                  <a:gd name="connsiteY0" fmla="*/ 74221 h 74221"/>
                  <a:gd name="connsiteX1" fmla="*/ 56900 w 68972"/>
                  <a:gd name="connsiteY1" fmla="*/ 68117 h 74221"/>
                  <a:gd name="connsiteX2" fmla="*/ 56900 w 68972"/>
                  <a:gd name="connsiteY2" fmla="*/ 23438 h 74221"/>
                  <a:gd name="connsiteX3" fmla="*/ 45793 w 68972"/>
                  <a:gd name="connsiteY3" fmla="*/ 12207 h 74221"/>
                  <a:gd name="connsiteX4" fmla="*/ 6036 w 68972"/>
                  <a:gd name="connsiteY4" fmla="*/ 12207 h 74221"/>
                  <a:gd name="connsiteX5" fmla="*/ 0 w 68972"/>
                  <a:gd name="connsiteY5" fmla="*/ 6104 h 74221"/>
                  <a:gd name="connsiteX6" fmla="*/ 6036 w 68972"/>
                  <a:gd name="connsiteY6" fmla="*/ 0 h 74221"/>
                  <a:gd name="connsiteX7" fmla="*/ 45793 w 68972"/>
                  <a:gd name="connsiteY7" fmla="*/ 0 h 74221"/>
                  <a:gd name="connsiteX8" fmla="*/ 68972 w 68972"/>
                  <a:gd name="connsiteY8" fmla="*/ 23438 h 74221"/>
                  <a:gd name="connsiteX9" fmla="*/ 68972 w 68972"/>
                  <a:gd name="connsiteY9" fmla="*/ 68117 h 74221"/>
                  <a:gd name="connsiteX10" fmla="*/ 63098 w 68972"/>
                  <a:gd name="connsiteY10" fmla="*/ 74221 h 74221"/>
                  <a:gd name="connsiteX11" fmla="*/ 62936 w 68972"/>
                  <a:gd name="connsiteY11" fmla="*/ 74221 h 74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8972" h="74221">
                    <a:moveTo>
                      <a:pt x="62936" y="74221"/>
                    </a:moveTo>
                    <a:cubicBezTo>
                      <a:pt x="59602" y="74221"/>
                      <a:pt x="56900" y="71488"/>
                      <a:pt x="56900" y="68117"/>
                    </a:cubicBezTo>
                    <a:lnTo>
                      <a:pt x="56900" y="23438"/>
                    </a:lnTo>
                    <a:cubicBezTo>
                      <a:pt x="56900" y="17236"/>
                      <a:pt x="51928" y="12207"/>
                      <a:pt x="45793" y="12207"/>
                    </a:cubicBezTo>
                    <a:lnTo>
                      <a:pt x="6036" y="12207"/>
                    </a:lnTo>
                    <a:cubicBezTo>
                      <a:pt x="2702" y="12207"/>
                      <a:pt x="0" y="9475"/>
                      <a:pt x="0" y="6104"/>
                    </a:cubicBezTo>
                    <a:cubicBezTo>
                      <a:pt x="0" y="2733"/>
                      <a:pt x="2702" y="0"/>
                      <a:pt x="6036" y="0"/>
                    </a:cubicBezTo>
                    <a:lnTo>
                      <a:pt x="45793" y="0"/>
                    </a:lnTo>
                    <a:cubicBezTo>
                      <a:pt x="58576" y="45"/>
                      <a:pt x="68928" y="10512"/>
                      <a:pt x="68972" y="23438"/>
                    </a:cubicBezTo>
                    <a:lnTo>
                      <a:pt x="68972" y="68117"/>
                    </a:lnTo>
                    <a:cubicBezTo>
                      <a:pt x="69017" y="71443"/>
                      <a:pt x="66387" y="74175"/>
                      <a:pt x="63098" y="74221"/>
                    </a:cubicBezTo>
                    <a:cubicBezTo>
                      <a:pt x="63044" y="74222"/>
                      <a:pt x="62990" y="74222"/>
                      <a:pt x="62936" y="74221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83" name="Freihandform 82">
                <a:extLst>
                  <a:ext uri="{FF2B5EF4-FFF2-40B4-BE49-F238E27FC236}">
                    <a16:creationId xmlns:a16="http://schemas.microsoft.com/office/drawing/2014/main" id="{D079F061-8D28-6194-5916-080FF8489228}"/>
                  </a:ext>
                </a:extLst>
              </p:cNvPr>
              <p:cNvSpPr/>
              <p:nvPr/>
            </p:nvSpPr>
            <p:spPr>
              <a:xfrm>
                <a:off x="6253324" y="3220999"/>
                <a:ext cx="41275" cy="71057"/>
              </a:xfrm>
              <a:custGeom>
                <a:avLst/>
                <a:gdLst>
                  <a:gd name="connsiteX0" fmla="*/ 35245 w 41275"/>
                  <a:gd name="connsiteY0" fmla="*/ 71057 h 71057"/>
                  <a:gd name="connsiteX1" fmla="*/ 30980 w 41275"/>
                  <a:gd name="connsiteY1" fmla="*/ 69267 h 71057"/>
                  <a:gd name="connsiteX2" fmla="*/ 1765 w 41275"/>
                  <a:gd name="connsiteY2" fmla="*/ 39725 h 71057"/>
                  <a:gd name="connsiteX3" fmla="*/ 1765 w 41275"/>
                  <a:gd name="connsiteY3" fmla="*/ 31099 h 71057"/>
                  <a:gd name="connsiteX4" fmla="*/ 30980 w 41275"/>
                  <a:gd name="connsiteY4" fmla="*/ 1638 h 71057"/>
                  <a:gd name="connsiteX5" fmla="*/ 39511 w 41275"/>
                  <a:gd name="connsiteY5" fmla="*/ 1943 h 71057"/>
                  <a:gd name="connsiteX6" fmla="*/ 39511 w 41275"/>
                  <a:gd name="connsiteY6" fmla="*/ 10265 h 71057"/>
                  <a:gd name="connsiteX7" fmla="*/ 14562 w 41275"/>
                  <a:gd name="connsiteY7" fmla="*/ 35412 h 71057"/>
                  <a:gd name="connsiteX8" fmla="*/ 39511 w 41275"/>
                  <a:gd name="connsiteY8" fmla="*/ 60640 h 71057"/>
                  <a:gd name="connsiteX9" fmla="*/ 39511 w 41275"/>
                  <a:gd name="connsiteY9" fmla="*/ 69267 h 71057"/>
                  <a:gd name="connsiteX10" fmla="*/ 35245 w 41275"/>
                  <a:gd name="connsiteY10" fmla="*/ 71057 h 71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1275" h="71057">
                    <a:moveTo>
                      <a:pt x="35245" y="71057"/>
                    </a:moveTo>
                    <a:cubicBezTo>
                      <a:pt x="33645" y="71056"/>
                      <a:pt x="32111" y="70412"/>
                      <a:pt x="30980" y="69267"/>
                    </a:cubicBezTo>
                    <a:lnTo>
                      <a:pt x="1765" y="39725"/>
                    </a:lnTo>
                    <a:cubicBezTo>
                      <a:pt x="-588" y="37342"/>
                      <a:pt x="-588" y="33482"/>
                      <a:pt x="1765" y="31099"/>
                    </a:cubicBezTo>
                    <a:lnTo>
                      <a:pt x="30980" y="1638"/>
                    </a:lnTo>
                    <a:cubicBezTo>
                      <a:pt x="33419" y="-660"/>
                      <a:pt x="37238" y="-524"/>
                      <a:pt x="39511" y="1943"/>
                    </a:cubicBezTo>
                    <a:cubicBezTo>
                      <a:pt x="41671" y="4287"/>
                      <a:pt x="41671" y="7921"/>
                      <a:pt x="39511" y="10265"/>
                    </a:cubicBezTo>
                    <a:lnTo>
                      <a:pt x="14562" y="35412"/>
                    </a:lnTo>
                    <a:lnTo>
                      <a:pt x="39511" y="60640"/>
                    </a:lnTo>
                    <a:cubicBezTo>
                      <a:pt x="41864" y="63023"/>
                      <a:pt x="41864" y="66884"/>
                      <a:pt x="39511" y="69267"/>
                    </a:cubicBezTo>
                    <a:cubicBezTo>
                      <a:pt x="38361" y="70383"/>
                      <a:pt x="36839" y="71022"/>
                      <a:pt x="35245" y="71057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84" name="Freihandform 83">
                <a:extLst>
                  <a:ext uri="{FF2B5EF4-FFF2-40B4-BE49-F238E27FC236}">
                    <a16:creationId xmlns:a16="http://schemas.microsoft.com/office/drawing/2014/main" id="{7D1AF013-CCB4-6894-9CBD-A7122FAEAF35}"/>
                  </a:ext>
                </a:extLst>
              </p:cNvPr>
              <p:cNvSpPr/>
              <p:nvPr/>
            </p:nvSpPr>
            <p:spPr>
              <a:xfrm>
                <a:off x="6571378" y="3250307"/>
                <a:ext cx="69454" cy="74221"/>
              </a:xfrm>
              <a:custGeom>
                <a:avLst/>
                <a:gdLst>
                  <a:gd name="connsiteX0" fmla="*/ 6036 w 69454"/>
                  <a:gd name="connsiteY0" fmla="*/ 74221 h 74221"/>
                  <a:gd name="connsiteX1" fmla="*/ 0 w 69454"/>
                  <a:gd name="connsiteY1" fmla="*/ 68117 h 74221"/>
                  <a:gd name="connsiteX2" fmla="*/ 0 w 69454"/>
                  <a:gd name="connsiteY2" fmla="*/ 23438 h 74221"/>
                  <a:gd name="connsiteX3" fmla="*/ 23178 w 69454"/>
                  <a:gd name="connsiteY3" fmla="*/ 0 h 74221"/>
                  <a:gd name="connsiteX4" fmla="*/ 63419 w 69454"/>
                  <a:gd name="connsiteY4" fmla="*/ 0 h 74221"/>
                  <a:gd name="connsiteX5" fmla="*/ 69455 w 69454"/>
                  <a:gd name="connsiteY5" fmla="*/ 6104 h 74221"/>
                  <a:gd name="connsiteX6" fmla="*/ 63419 w 69454"/>
                  <a:gd name="connsiteY6" fmla="*/ 12207 h 74221"/>
                  <a:gd name="connsiteX7" fmla="*/ 23178 w 69454"/>
                  <a:gd name="connsiteY7" fmla="*/ 12207 h 74221"/>
                  <a:gd name="connsiteX8" fmla="*/ 12072 w 69454"/>
                  <a:gd name="connsiteY8" fmla="*/ 23438 h 74221"/>
                  <a:gd name="connsiteX9" fmla="*/ 12072 w 69454"/>
                  <a:gd name="connsiteY9" fmla="*/ 68117 h 74221"/>
                  <a:gd name="connsiteX10" fmla="*/ 6198 w 69454"/>
                  <a:gd name="connsiteY10" fmla="*/ 74221 h 74221"/>
                  <a:gd name="connsiteX11" fmla="*/ 6036 w 69454"/>
                  <a:gd name="connsiteY11" fmla="*/ 74221 h 74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9454" h="74221">
                    <a:moveTo>
                      <a:pt x="6036" y="74221"/>
                    </a:moveTo>
                    <a:cubicBezTo>
                      <a:pt x="2703" y="74221"/>
                      <a:pt x="0" y="71488"/>
                      <a:pt x="0" y="68117"/>
                    </a:cubicBezTo>
                    <a:lnTo>
                      <a:pt x="0" y="23438"/>
                    </a:lnTo>
                    <a:cubicBezTo>
                      <a:pt x="44" y="10512"/>
                      <a:pt x="10396" y="45"/>
                      <a:pt x="23178" y="0"/>
                    </a:cubicBezTo>
                    <a:lnTo>
                      <a:pt x="63419" y="0"/>
                    </a:lnTo>
                    <a:cubicBezTo>
                      <a:pt x="66752" y="0"/>
                      <a:pt x="69455" y="2733"/>
                      <a:pt x="69455" y="6104"/>
                    </a:cubicBezTo>
                    <a:cubicBezTo>
                      <a:pt x="69455" y="9475"/>
                      <a:pt x="66752" y="12207"/>
                      <a:pt x="63419" y="12207"/>
                    </a:cubicBezTo>
                    <a:lnTo>
                      <a:pt x="23178" y="12207"/>
                    </a:lnTo>
                    <a:cubicBezTo>
                      <a:pt x="17044" y="12207"/>
                      <a:pt x="12072" y="17236"/>
                      <a:pt x="12072" y="23438"/>
                    </a:cubicBezTo>
                    <a:lnTo>
                      <a:pt x="12072" y="68117"/>
                    </a:lnTo>
                    <a:cubicBezTo>
                      <a:pt x="12117" y="71443"/>
                      <a:pt x="9487" y="74175"/>
                      <a:pt x="6198" y="74221"/>
                    </a:cubicBezTo>
                    <a:cubicBezTo>
                      <a:pt x="6144" y="74222"/>
                      <a:pt x="6090" y="74222"/>
                      <a:pt x="6036" y="74221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85" name="Freihandform 84">
                <a:extLst>
                  <a:ext uri="{FF2B5EF4-FFF2-40B4-BE49-F238E27FC236}">
                    <a16:creationId xmlns:a16="http://schemas.microsoft.com/office/drawing/2014/main" id="{D24F0033-7053-97E0-78FB-951F9542DAF5}"/>
                  </a:ext>
                </a:extLst>
              </p:cNvPr>
              <p:cNvSpPr/>
              <p:nvPr/>
            </p:nvSpPr>
            <p:spPr>
              <a:xfrm>
                <a:off x="6624983" y="3220999"/>
                <a:ext cx="41229" cy="71057"/>
              </a:xfrm>
              <a:custGeom>
                <a:avLst/>
                <a:gdLst>
                  <a:gd name="connsiteX0" fmla="*/ 6031 w 41229"/>
                  <a:gd name="connsiteY0" fmla="*/ 71057 h 71057"/>
                  <a:gd name="connsiteX1" fmla="*/ 1766 w 41229"/>
                  <a:gd name="connsiteY1" fmla="*/ 69267 h 71057"/>
                  <a:gd name="connsiteX2" fmla="*/ 1766 w 41229"/>
                  <a:gd name="connsiteY2" fmla="*/ 60640 h 71057"/>
                  <a:gd name="connsiteX3" fmla="*/ 26634 w 41229"/>
                  <a:gd name="connsiteY3" fmla="*/ 35412 h 71057"/>
                  <a:gd name="connsiteX4" fmla="*/ 1766 w 41229"/>
                  <a:gd name="connsiteY4" fmla="*/ 10265 h 71057"/>
                  <a:gd name="connsiteX5" fmla="*/ 2067 w 41229"/>
                  <a:gd name="connsiteY5" fmla="*/ 1638 h 71057"/>
                  <a:gd name="connsiteX6" fmla="*/ 10296 w 41229"/>
                  <a:gd name="connsiteY6" fmla="*/ 1638 h 71057"/>
                  <a:gd name="connsiteX7" fmla="*/ 39430 w 41229"/>
                  <a:gd name="connsiteY7" fmla="*/ 31099 h 71057"/>
                  <a:gd name="connsiteX8" fmla="*/ 39540 w 41229"/>
                  <a:gd name="connsiteY8" fmla="*/ 39615 h 71057"/>
                  <a:gd name="connsiteX9" fmla="*/ 39430 w 41229"/>
                  <a:gd name="connsiteY9" fmla="*/ 39725 h 71057"/>
                  <a:gd name="connsiteX10" fmla="*/ 10296 w 41229"/>
                  <a:gd name="connsiteY10" fmla="*/ 69267 h 71057"/>
                  <a:gd name="connsiteX11" fmla="*/ 6031 w 41229"/>
                  <a:gd name="connsiteY11" fmla="*/ 71057 h 71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1229" h="71057">
                    <a:moveTo>
                      <a:pt x="6031" y="71057"/>
                    </a:moveTo>
                    <a:cubicBezTo>
                      <a:pt x="4437" y="71022"/>
                      <a:pt x="2915" y="70383"/>
                      <a:pt x="1766" y="69267"/>
                    </a:cubicBezTo>
                    <a:cubicBezTo>
                      <a:pt x="-589" y="66884"/>
                      <a:pt x="-589" y="63023"/>
                      <a:pt x="1766" y="60640"/>
                    </a:cubicBezTo>
                    <a:lnTo>
                      <a:pt x="26634" y="35412"/>
                    </a:lnTo>
                    <a:lnTo>
                      <a:pt x="1766" y="10265"/>
                    </a:lnTo>
                    <a:cubicBezTo>
                      <a:pt x="-507" y="7798"/>
                      <a:pt x="-372" y="3936"/>
                      <a:pt x="2067" y="1638"/>
                    </a:cubicBezTo>
                    <a:cubicBezTo>
                      <a:pt x="4384" y="-546"/>
                      <a:pt x="7979" y="-546"/>
                      <a:pt x="10296" y="1638"/>
                    </a:cubicBezTo>
                    <a:lnTo>
                      <a:pt x="39430" y="31099"/>
                    </a:lnTo>
                    <a:cubicBezTo>
                      <a:pt x="41786" y="33420"/>
                      <a:pt x="41835" y="37233"/>
                      <a:pt x="39540" y="39615"/>
                    </a:cubicBezTo>
                    <a:cubicBezTo>
                      <a:pt x="39504" y="39652"/>
                      <a:pt x="39467" y="39689"/>
                      <a:pt x="39430" y="39725"/>
                    </a:cubicBezTo>
                    <a:lnTo>
                      <a:pt x="10296" y="69267"/>
                    </a:lnTo>
                    <a:cubicBezTo>
                      <a:pt x="9147" y="70383"/>
                      <a:pt x="7625" y="71022"/>
                      <a:pt x="6031" y="71057"/>
                    </a:cubicBezTo>
                    <a:close/>
                  </a:path>
                </a:pathLst>
              </a:custGeom>
              <a:solidFill>
                <a:schemeClr val="dk1"/>
              </a:solidFill>
              <a:ln w="80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49" name="Gruppieren 48">
              <a:extLst>
                <a:ext uri="{FF2B5EF4-FFF2-40B4-BE49-F238E27FC236}">
                  <a16:creationId xmlns:a16="http://schemas.microsoft.com/office/drawing/2014/main" id="{F2CD99A3-A30A-1860-D1E3-7663DE43E628}"/>
                </a:ext>
              </a:extLst>
            </p:cNvPr>
            <p:cNvGrpSpPr/>
            <p:nvPr/>
          </p:nvGrpSpPr>
          <p:grpSpPr>
            <a:xfrm>
              <a:off x="6208350" y="3756615"/>
              <a:ext cx="538610" cy="224429"/>
              <a:chOff x="6208350" y="3794715"/>
              <a:chExt cx="538610" cy="224429"/>
            </a:xfrm>
          </p:grpSpPr>
          <p:sp>
            <p:nvSpPr>
              <p:cNvPr id="87" name="Freihandform 86">
                <a:extLst>
                  <a:ext uri="{FF2B5EF4-FFF2-40B4-BE49-F238E27FC236}">
                    <a16:creationId xmlns:a16="http://schemas.microsoft.com/office/drawing/2014/main" id="{FC04EFDC-AE3C-2B11-9421-384A99F7DF23}"/>
                  </a:ext>
                </a:extLst>
              </p:cNvPr>
              <p:cNvSpPr/>
              <p:nvPr/>
            </p:nvSpPr>
            <p:spPr>
              <a:xfrm>
                <a:off x="6375941" y="3794715"/>
                <a:ext cx="312939" cy="152297"/>
              </a:xfrm>
              <a:custGeom>
                <a:avLst/>
                <a:gdLst>
                  <a:gd name="connsiteX0" fmla="*/ 217424 w 312939"/>
                  <a:gd name="connsiteY0" fmla="*/ 152298 h 152297"/>
                  <a:gd name="connsiteX1" fmla="*/ 214393 w 312939"/>
                  <a:gd name="connsiteY1" fmla="*/ 151486 h 152297"/>
                  <a:gd name="connsiteX2" fmla="*/ 102165 w 312939"/>
                  <a:gd name="connsiteY2" fmla="*/ 88767 h 152297"/>
                  <a:gd name="connsiteX3" fmla="*/ 53014 w 312939"/>
                  <a:gd name="connsiteY3" fmla="*/ 108240 h 152297"/>
                  <a:gd name="connsiteX4" fmla="*/ 8205 w 312939"/>
                  <a:gd name="connsiteY4" fmla="*/ 104426 h 152297"/>
                  <a:gd name="connsiteX5" fmla="*/ 13 w 312939"/>
                  <a:gd name="connsiteY5" fmla="*/ 89984 h 152297"/>
                  <a:gd name="connsiteX6" fmla="*/ 7386 w 312939"/>
                  <a:gd name="connsiteY6" fmla="*/ 74973 h 152297"/>
                  <a:gd name="connsiteX7" fmla="*/ 110439 w 312939"/>
                  <a:gd name="connsiteY7" fmla="*/ 1138 h 152297"/>
                  <a:gd name="connsiteX8" fmla="*/ 114043 w 312939"/>
                  <a:gd name="connsiteY8" fmla="*/ 2 h 152297"/>
                  <a:gd name="connsiteX9" fmla="*/ 306796 w 312939"/>
                  <a:gd name="connsiteY9" fmla="*/ 2 h 152297"/>
                  <a:gd name="connsiteX10" fmla="*/ 312940 w 312939"/>
                  <a:gd name="connsiteY10" fmla="*/ 6088 h 152297"/>
                  <a:gd name="connsiteX11" fmla="*/ 306796 w 312939"/>
                  <a:gd name="connsiteY11" fmla="*/ 12173 h 152297"/>
                  <a:gd name="connsiteX12" fmla="*/ 116009 w 312939"/>
                  <a:gd name="connsiteY12" fmla="*/ 12173 h 152297"/>
                  <a:gd name="connsiteX13" fmla="*/ 14595 w 312939"/>
                  <a:gd name="connsiteY13" fmla="*/ 84710 h 152297"/>
                  <a:gd name="connsiteX14" fmla="*/ 13110 w 312939"/>
                  <a:gd name="connsiteY14" fmla="*/ 92489 h 152297"/>
                  <a:gd name="connsiteX15" fmla="*/ 14595 w 312939"/>
                  <a:gd name="connsiteY15" fmla="*/ 93960 h 152297"/>
                  <a:gd name="connsiteX16" fmla="*/ 48427 w 312939"/>
                  <a:gd name="connsiteY16" fmla="*/ 96718 h 152297"/>
                  <a:gd name="connsiteX17" fmla="*/ 99953 w 312939"/>
                  <a:gd name="connsiteY17" fmla="*/ 76191 h 152297"/>
                  <a:gd name="connsiteX18" fmla="*/ 105278 w 312939"/>
                  <a:gd name="connsiteY18" fmla="*/ 76191 h 152297"/>
                  <a:gd name="connsiteX19" fmla="*/ 219963 w 312939"/>
                  <a:gd name="connsiteY19" fmla="*/ 140533 h 152297"/>
                  <a:gd name="connsiteX20" fmla="*/ 222257 w 312939"/>
                  <a:gd name="connsiteY20" fmla="*/ 148647 h 152297"/>
                  <a:gd name="connsiteX21" fmla="*/ 217424 w 312939"/>
                  <a:gd name="connsiteY21" fmla="*/ 152298 h 152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12939" h="152297">
                    <a:moveTo>
                      <a:pt x="217424" y="152298"/>
                    </a:moveTo>
                    <a:cubicBezTo>
                      <a:pt x="216364" y="152256"/>
                      <a:pt x="215328" y="151979"/>
                      <a:pt x="214393" y="151486"/>
                    </a:cubicBezTo>
                    <a:lnTo>
                      <a:pt x="102165" y="88767"/>
                    </a:lnTo>
                    <a:lnTo>
                      <a:pt x="53014" y="108240"/>
                    </a:lnTo>
                    <a:cubicBezTo>
                      <a:pt x="38310" y="114062"/>
                      <a:pt x="21691" y="112647"/>
                      <a:pt x="8205" y="104426"/>
                    </a:cubicBezTo>
                    <a:cubicBezTo>
                      <a:pt x="3171" y="101307"/>
                      <a:pt x="85" y="95865"/>
                      <a:pt x="13" y="89984"/>
                    </a:cubicBezTo>
                    <a:cubicBezTo>
                      <a:pt x="-217" y="84075"/>
                      <a:pt x="2549" y="78441"/>
                      <a:pt x="7386" y="74973"/>
                    </a:cubicBezTo>
                    <a:lnTo>
                      <a:pt x="110439" y="1138"/>
                    </a:lnTo>
                    <a:cubicBezTo>
                      <a:pt x="111476" y="367"/>
                      <a:pt x="112746" y="-34"/>
                      <a:pt x="114043" y="2"/>
                    </a:cubicBezTo>
                    <a:lnTo>
                      <a:pt x="306796" y="2"/>
                    </a:lnTo>
                    <a:cubicBezTo>
                      <a:pt x="310189" y="2"/>
                      <a:pt x="312940" y="2727"/>
                      <a:pt x="312940" y="6088"/>
                    </a:cubicBezTo>
                    <a:cubicBezTo>
                      <a:pt x="312940" y="9448"/>
                      <a:pt x="310189" y="12173"/>
                      <a:pt x="306796" y="12173"/>
                    </a:cubicBezTo>
                    <a:lnTo>
                      <a:pt x="116009" y="12173"/>
                    </a:lnTo>
                    <a:lnTo>
                      <a:pt x="14595" y="84710"/>
                    </a:lnTo>
                    <a:cubicBezTo>
                      <a:pt x="12016" y="86453"/>
                      <a:pt x="11352" y="89935"/>
                      <a:pt x="13110" y="92489"/>
                    </a:cubicBezTo>
                    <a:cubicBezTo>
                      <a:pt x="13508" y="93067"/>
                      <a:pt x="14011" y="93566"/>
                      <a:pt x="14595" y="93960"/>
                    </a:cubicBezTo>
                    <a:cubicBezTo>
                      <a:pt x="24792" y="100143"/>
                      <a:pt x="37347" y="101167"/>
                      <a:pt x="48427" y="96718"/>
                    </a:cubicBezTo>
                    <a:lnTo>
                      <a:pt x="99953" y="76191"/>
                    </a:lnTo>
                    <a:cubicBezTo>
                      <a:pt x="101633" y="75377"/>
                      <a:pt x="103598" y="75377"/>
                      <a:pt x="105278" y="76191"/>
                    </a:cubicBezTo>
                    <a:lnTo>
                      <a:pt x="219963" y="140533"/>
                    </a:lnTo>
                    <a:cubicBezTo>
                      <a:pt x="222837" y="142163"/>
                      <a:pt x="223858" y="145775"/>
                      <a:pt x="222257" y="148647"/>
                    </a:cubicBezTo>
                    <a:cubicBezTo>
                      <a:pt x="221437" y="150644"/>
                      <a:pt x="219585" y="152043"/>
                      <a:pt x="217424" y="152298"/>
                    </a:cubicBezTo>
                    <a:close/>
                  </a:path>
                </a:pathLst>
              </a:custGeom>
              <a:solidFill>
                <a:schemeClr val="dk1"/>
              </a:solidFill>
              <a:ln w="81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88" name="Freihandform 87">
                <a:extLst>
                  <a:ext uri="{FF2B5EF4-FFF2-40B4-BE49-F238E27FC236}">
                    <a16:creationId xmlns:a16="http://schemas.microsoft.com/office/drawing/2014/main" id="{7E4842D5-246D-E881-737C-31F2D6D117E8}"/>
                  </a:ext>
                </a:extLst>
              </p:cNvPr>
              <p:cNvSpPr/>
              <p:nvPr/>
            </p:nvSpPr>
            <p:spPr>
              <a:xfrm>
                <a:off x="6412049" y="3794717"/>
                <a:ext cx="334911" cy="218585"/>
              </a:xfrm>
              <a:custGeom>
                <a:avLst/>
                <a:gdLst>
                  <a:gd name="connsiteX0" fmla="*/ 94646 w 334911"/>
                  <a:gd name="connsiteY0" fmla="*/ 218585 h 218585"/>
                  <a:gd name="connsiteX1" fmla="*/ 80146 w 334911"/>
                  <a:gd name="connsiteY1" fmla="*/ 214609 h 218585"/>
                  <a:gd name="connsiteX2" fmla="*/ 3471 w 334911"/>
                  <a:gd name="connsiteY2" fmla="*/ 168685 h 218585"/>
                  <a:gd name="connsiteX3" fmla="*/ 614 w 334911"/>
                  <a:gd name="connsiteY3" fmla="*/ 160558 h 218585"/>
                  <a:gd name="connsiteX4" fmla="*/ 8819 w 334911"/>
                  <a:gd name="connsiteY4" fmla="*/ 157728 h 218585"/>
                  <a:gd name="connsiteX5" fmla="*/ 9779 w 334911"/>
                  <a:gd name="connsiteY5" fmla="*/ 158300 h 218585"/>
                  <a:gd name="connsiteX6" fmla="*/ 86454 w 334911"/>
                  <a:gd name="connsiteY6" fmla="*/ 204224 h 218585"/>
                  <a:gd name="connsiteX7" fmla="*/ 104312 w 334911"/>
                  <a:gd name="connsiteY7" fmla="*/ 203169 h 218585"/>
                  <a:gd name="connsiteX8" fmla="*/ 182708 w 334911"/>
                  <a:gd name="connsiteY8" fmla="*/ 142721 h 218585"/>
                  <a:gd name="connsiteX9" fmla="*/ 184919 w 334911"/>
                  <a:gd name="connsiteY9" fmla="*/ 141666 h 218585"/>
                  <a:gd name="connsiteX10" fmla="*/ 227844 w 334911"/>
                  <a:gd name="connsiteY10" fmla="*/ 130145 h 218585"/>
                  <a:gd name="connsiteX11" fmla="*/ 229483 w 334911"/>
                  <a:gd name="connsiteY11" fmla="*/ 130145 h 218585"/>
                  <a:gd name="connsiteX12" fmla="*/ 322624 w 334911"/>
                  <a:gd name="connsiteY12" fmla="*/ 130145 h 218585"/>
                  <a:gd name="connsiteX13" fmla="*/ 322624 w 334911"/>
                  <a:gd name="connsiteY13" fmla="*/ 12171 h 218585"/>
                  <a:gd name="connsiteX14" fmla="*/ 293297 w 334911"/>
                  <a:gd name="connsiteY14" fmla="*/ 12171 h 218585"/>
                  <a:gd name="connsiteX15" fmla="*/ 287153 w 334911"/>
                  <a:gd name="connsiteY15" fmla="*/ 6085 h 218585"/>
                  <a:gd name="connsiteX16" fmla="*/ 293297 w 334911"/>
                  <a:gd name="connsiteY16" fmla="*/ 0 h 218585"/>
                  <a:gd name="connsiteX17" fmla="*/ 328767 w 334911"/>
                  <a:gd name="connsiteY17" fmla="*/ 0 h 218585"/>
                  <a:gd name="connsiteX18" fmla="*/ 334911 w 334911"/>
                  <a:gd name="connsiteY18" fmla="*/ 6085 h 218585"/>
                  <a:gd name="connsiteX19" fmla="*/ 334911 w 334911"/>
                  <a:gd name="connsiteY19" fmla="*/ 135906 h 218585"/>
                  <a:gd name="connsiteX20" fmla="*/ 328767 w 334911"/>
                  <a:gd name="connsiteY20" fmla="*/ 141991 h 218585"/>
                  <a:gd name="connsiteX21" fmla="*/ 230466 w 334911"/>
                  <a:gd name="connsiteY21" fmla="*/ 141991 h 218585"/>
                  <a:gd name="connsiteX22" fmla="*/ 189507 w 334911"/>
                  <a:gd name="connsiteY22" fmla="*/ 152945 h 218585"/>
                  <a:gd name="connsiteX23" fmla="*/ 112176 w 334911"/>
                  <a:gd name="connsiteY23" fmla="*/ 212581 h 218585"/>
                  <a:gd name="connsiteX24" fmla="*/ 94646 w 334911"/>
                  <a:gd name="connsiteY24" fmla="*/ 218585 h 21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4911" h="218585">
                    <a:moveTo>
                      <a:pt x="94646" y="218585"/>
                    </a:moveTo>
                    <a:cubicBezTo>
                      <a:pt x="89535" y="218611"/>
                      <a:pt x="84517" y="217235"/>
                      <a:pt x="80146" y="214609"/>
                    </a:cubicBezTo>
                    <a:lnTo>
                      <a:pt x="3471" y="168685"/>
                    </a:lnTo>
                    <a:cubicBezTo>
                      <a:pt x="416" y="167222"/>
                      <a:pt x="-863" y="163584"/>
                      <a:pt x="614" y="160558"/>
                    </a:cubicBezTo>
                    <a:cubicBezTo>
                      <a:pt x="2090" y="157532"/>
                      <a:pt x="5764" y="156265"/>
                      <a:pt x="8819" y="157728"/>
                    </a:cubicBezTo>
                    <a:cubicBezTo>
                      <a:pt x="9155" y="157889"/>
                      <a:pt x="9477" y="158081"/>
                      <a:pt x="9779" y="158300"/>
                    </a:cubicBezTo>
                    <a:lnTo>
                      <a:pt x="86454" y="204224"/>
                    </a:lnTo>
                    <a:cubicBezTo>
                      <a:pt x="92055" y="207562"/>
                      <a:pt x="99152" y="207143"/>
                      <a:pt x="104312" y="203169"/>
                    </a:cubicBezTo>
                    <a:lnTo>
                      <a:pt x="182708" y="142721"/>
                    </a:lnTo>
                    <a:cubicBezTo>
                      <a:pt x="183356" y="142211"/>
                      <a:pt x="184113" y="141851"/>
                      <a:pt x="184919" y="141666"/>
                    </a:cubicBezTo>
                    <a:lnTo>
                      <a:pt x="227844" y="130145"/>
                    </a:lnTo>
                    <a:cubicBezTo>
                      <a:pt x="228388" y="130065"/>
                      <a:pt x="228940" y="130065"/>
                      <a:pt x="229483" y="130145"/>
                    </a:cubicBezTo>
                    <a:lnTo>
                      <a:pt x="322624" y="130145"/>
                    </a:lnTo>
                    <a:lnTo>
                      <a:pt x="322624" y="12171"/>
                    </a:lnTo>
                    <a:lnTo>
                      <a:pt x="293297" y="12171"/>
                    </a:lnTo>
                    <a:cubicBezTo>
                      <a:pt x="289904" y="12171"/>
                      <a:pt x="287153" y="9446"/>
                      <a:pt x="287153" y="6085"/>
                    </a:cubicBezTo>
                    <a:cubicBezTo>
                      <a:pt x="287153" y="2725"/>
                      <a:pt x="289904" y="0"/>
                      <a:pt x="293297" y="0"/>
                    </a:cubicBezTo>
                    <a:lnTo>
                      <a:pt x="328767" y="0"/>
                    </a:lnTo>
                    <a:cubicBezTo>
                      <a:pt x="332160" y="0"/>
                      <a:pt x="334911" y="2725"/>
                      <a:pt x="334911" y="6085"/>
                    </a:cubicBezTo>
                    <a:lnTo>
                      <a:pt x="334911" y="135906"/>
                    </a:lnTo>
                    <a:cubicBezTo>
                      <a:pt x="334867" y="139249"/>
                      <a:pt x="332142" y="141947"/>
                      <a:pt x="328767" y="141991"/>
                    </a:cubicBezTo>
                    <a:lnTo>
                      <a:pt x="230466" y="141991"/>
                    </a:lnTo>
                    <a:lnTo>
                      <a:pt x="189507" y="152945"/>
                    </a:lnTo>
                    <a:lnTo>
                      <a:pt x="112176" y="212581"/>
                    </a:lnTo>
                    <a:cubicBezTo>
                      <a:pt x="107188" y="216490"/>
                      <a:pt x="101007" y="218607"/>
                      <a:pt x="94646" y="218585"/>
                    </a:cubicBezTo>
                    <a:close/>
                  </a:path>
                </a:pathLst>
              </a:custGeom>
              <a:solidFill>
                <a:schemeClr val="dk1"/>
              </a:solidFill>
              <a:ln w="81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89" name="Freihandform 88">
                <a:extLst>
                  <a:ext uri="{FF2B5EF4-FFF2-40B4-BE49-F238E27FC236}">
                    <a16:creationId xmlns:a16="http://schemas.microsoft.com/office/drawing/2014/main" id="{FB832BAC-8261-E475-76B9-7F7D6F742CE0}"/>
                  </a:ext>
                </a:extLst>
              </p:cNvPr>
              <p:cNvSpPr/>
              <p:nvPr/>
            </p:nvSpPr>
            <p:spPr>
              <a:xfrm>
                <a:off x="6640549" y="3796259"/>
                <a:ext cx="12287" cy="140530"/>
              </a:xfrm>
              <a:custGeom>
                <a:avLst/>
                <a:gdLst>
                  <a:gd name="connsiteX0" fmla="*/ 6144 w 12287"/>
                  <a:gd name="connsiteY0" fmla="*/ 140531 h 140530"/>
                  <a:gd name="connsiteX1" fmla="*/ 0 w 12287"/>
                  <a:gd name="connsiteY1" fmla="*/ 134445 h 140530"/>
                  <a:gd name="connsiteX2" fmla="*/ 0 w 12287"/>
                  <a:gd name="connsiteY2" fmla="*/ 6085 h 140530"/>
                  <a:gd name="connsiteX3" fmla="*/ 6144 w 12287"/>
                  <a:gd name="connsiteY3" fmla="*/ 0 h 140530"/>
                  <a:gd name="connsiteX4" fmla="*/ 12288 w 12287"/>
                  <a:gd name="connsiteY4" fmla="*/ 6085 h 140530"/>
                  <a:gd name="connsiteX5" fmla="*/ 12288 w 12287"/>
                  <a:gd name="connsiteY5" fmla="*/ 134445 h 140530"/>
                  <a:gd name="connsiteX6" fmla="*/ 6144 w 12287"/>
                  <a:gd name="connsiteY6" fmla="*/ 140531 h 140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87" h="140530">
                    <a:moveTo>
                      <a:pt x="6144" y="140531"/>
                    </a:moveTo>
                    <a:cubicBezTo>
                      <a:pt x="2751" y="140531"/>
                      <a:pt x="0" y="137806"/>
                      <a:pt x="0" y="134445"/>
                    </a:cubicBezTo>
                    <a:lnTo>
                      <a:pt x="0" y="6085"/>
                    </a:lnTo>
                    <a:cubicBezTo>
                      <a:pt x="0" y="2725"/>
                      <a:pt x="2751" y="0"/>
                      <a:pt x="6144" y="0"/>
                    </a:cubicBezTo>
                    <a:cubicBezTo>
                      <a:pt x="9537" y="0"/>
                      <a:pt x="12288" y="2725"/>
                      <a:pt x="12288" y="6085"/>
                    </a:cubicBezTo>
                    <a:lnTo>
                      <a:pt x="12288" y="134445"/>
                    </a:lnTo>
                    <a:cubicBezTo>
                      <a:pt x="12243" y="137788"/>
                      <a:pt x="9519" y="140487"/>
                      <a:pt x="6144" y="140531"/>
                    </a:cubicBezTo>
                    <a:close/>
                  </a:path>
                </a:pathLst>
              </a:custGeom>
              <a:solidFill>
                <a:schemeClr val="dk1"/>
              </a:solidFill>
              <a:ln w="81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90" name="Freihandform 89">
                <a:extLst>
                  <a:ext uri="{FF2B5EF4-FFF2-40B4-BE49-F238E27FC236}">
                    <a16:creationId xmlns:a16="http://schemas.microsoft.com/office/drawing/2014/main" id="{887719F8-743E-5DA5-3EB0-9E993B3501EE}"/>
                  </a:ext>
                </a:extLst>
              </p:cNvPr>
              <p:cNvSpPr/>
              <p:nvPr/>
            </p:nvSpPr>
            <p:spPr>
              <a:xfrm>
                <a:off x="6454590" y="3900165"/>
                <a:ext cx="115979" cy="72974"/>
              </a:xfrm>
              <a:custGeom>
                <a:avLst/>
                <a:gdLst>
                  <a:gd name="connsiteX0" fmla="*/ 109775 w 115979"/>
                  <a:gd name="connsiteY0" fmla="*/ 72975 h 72974"/>
                  <a:gd name="connsiteX1" fmla="*/ 106662 w 115979"/>
                  <a:gd name="connsiteY1" fmla="*/ 72163 h 72974"/>
                  <a:gd name="connsiteX2" fmla="*/ 2872 w 115979"/>
                  <a:gd name="connsiteY2" fmla="*/ 10985 h 72974"/>
                  <a:gd name="connsiteX3" fmla="*/ 742 w 115979"/>
                  <a:gd name="connsiteY3" fmla="*/ 2872 h 72974"/>
                  <a:gd name="connsiteX4" fmla="*/ 8934 w 115979"/>
                  <a:gd name="connsiteY4" fmla="*/ 762 h 72974"/>
                  <a:gd name="connsiteX5" fmla="*/ 113052 w 115979"/>
                  <a:gd name="connsiteY5" fmla="*/ 61696 h 72974"/>
                  <a:gd name="connsiteX6" fmla="*/ 115182 w 115979"/>
                  <a:gd name="connsiteY6" fmla="*/ 69810 h 72974"/>
                  <a:gd name="connsiteX7" fmla="*/ 109775 w 115979"/>
                  <a:gd name="connsiteY7" fmla="*/ 72975 h 72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5979" h="72974">
                    <a:moveTo>
                      <a:pt x="109775" y="72975"/>
                    </a:moveTo>
                    <a:cubicBezTo>
                      <a:pt x="108683" y="72983"/>
                      <a:pt x="107609" y="72703"/>
                      <a:pt x="106662" y="72163"/>
                    </a:cubicBezTo>
                    <a:lnTo>
                      <a:pt x="2872" y="10985"/>
                    </a:lnTo>
                    <a:cubicBezTo>
                      <a:pt x="130" y="9248"/>
                      <a:pt x="-798" y="5711"/>
                      <a:pt x="742" y="2872"/>
                    </a:cubicBezTo>
                    <a:cubicBezTo>
                      <a:pt x="2471" y="120"/>
                      <a:pt x="6072" y="-807"/>
                      <a:pt x="8934" y="762"/>
                    </a:cubicBezTo>
                    <a:lnTo>
                      <a:pt x="113052" y="61696"/>
                    </a:lnTo>
                    <a:cubicBezTo>
                      <a:pt x="115867" y="63381"/>
                      <a:pt x="116811" y="66981"/>
                      <a:pt x="115182" y="69810"/>
                    </a:cubicBezTo>
                    <a:cubicBezTo>
                      <a:pt x="114101" y="71766"/>
                      <a:pt x="112026" y="72981"/>
                      <a:pt x="109775" y="72975"/>
                    </a:cubicBezTo>
                    <a:close/>
                  </a:path>
                </a:pathLst>
              </a:custGeom>
              <a:solidFill>
                <a:schemeClr val="dk1"/>
              </a:solidFill>
              <a:ln w="81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91" name="Freihandform 90">
                <a:extLst>
                  <a:ext uri="{FF2B5EF4-FFF2-40B4-BE49-F238E27FC236}">
                    <a16:creationId xmlns:a16="http://schemas.microsoft.com/office/drawing/2014/main" id="{CCD3881E-CA30-7E78-BE5A-AE7A9200FA03}"/>
                  </a:ext>
                </a:extLst>
              </p:cNvPr>
              <p:cNvSpPr/>
              <p:nvPr/>
            </p:nvSpPr>
            <p:spPr>
              <a:xfrm>
                <a:off x="6433220" y="3925039"/>
                <a:ext cx="107477" cy="67573"/>
              </a:xfrm>
              <a:custGeom>
                <a:avLst/>
                <a:gdLst>
                  <a:gd name="connsiteX0" fmla="*/ 101656 w 107477"/>
                  <a:gd name="connsiteY0" fmla="*/ 67574 h 67573"/>
                  <a:gd name="connsiteX1" fmla="*/ 98543 w 107477"/>
                  <a:gd name="connsiteY1" fmla="*/ 66762 h 67573"/>
                  <a:gd name="connsiteX2" fmla="*/ 3354 w 107477"/>
                  <a:gd name="connsiteY2" fmla="*/ 11507 h 67573"/>
                  <a:gd name="connsiteX3" fmla="*/ 672 w 107477"/>
                  <a:gd name="connsiteY3" fmla="*/ 3321 h 67573"/>
                  <a:gd name="connsiteX4" fmla="*/ 8937 w 107477"/>
                  <a:gd name="connsiteY4" fmla="*/ 666 h 67573"/>
                  <a:gd name="connsiteX5" fmla="*/ 9580 w 107477"/>
                  <a:gd name="connsiteY5" fmla="*/ 1041 h 67573"/>
                  <a:gd name="connsiteX6" fmla="*/ 104523 w 107477"/>
                  <a:gd name="connsiteY6" fmla="*/ 56295 h 67573"/>
                  <a:gd name="connsiteX7" fmla="*/ 106585 w 107477"/>
                  <a:gd name="connsiteY7" fmla="*/ 64656 h 67573"/>
                  <a:gd name="connsiteX8" fmla="*/ 101656 w 107477"/>
                  <a:gd name="connsiteY8" fmla="*/ 67574 h 67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477" h="67573">
                    <a:moveTo>
                      <a:pt x="101656" y="67574"/>
                    </a:moveTo>
                    <a:cubicBezTo>
                      <a:pt x="100564" y="67582"/>
                      <a:pt x="99489" y="67302"/>
                      <a:pt x="98543" y="66762"/>
                    </a:cubicBezTo>
                    <a:lnTo>
                      <a:pt x="3354" y="11507"/>
                    </a:lnTo>
                    <a:cubicBezTo>
                      <a:pt x="331" y="9980"/>
                      <a:pt x="-870" y="6315"/>
                      <a:pt x="672" y="3321"/>
                    </a:cubicBezTo>
                    <a:cubicBezTo>
                      <a:pt x="2214" y="327"/>
                      <a:pt x="5914" y="-861"/>
                      <a:pt x="8937" y="666"/>
                    </a:cubicBezTo>
                    <a:cubicBezTo>
                      <a:pt x="9159" y="778"/>
                      <a:pt x="9373" y="903"/>
                      <a:pt x="9580" y="1041"/>
                    </a:cubicBezTo>
                    <a:lnTo>
                      <a:pt x="104523" y="56295"/>
                    </a:lnTo>
                    <a:cubicBezTo>
                      <a:pt x="107423" y="58040"/>
                      <a:pt x="108346" y="61783"/>
                      <a:pt x="106585" y="64656"/>
                    </a:cubicBezTo>
                    <a:cubicBezTo>
                      <a:pt x="105529" y="66376"/>
                      <a:pt x="103685" y="67468"/>
                      <a:pt x="101656" y="67574"/>
                    </a:cubicBezTo>
                    <a:close/>
                  </a:path>
                </a:pathLst>
              </a:custGeom>
              <a:solidFill>
                <a:schemeClr val="dk1"/>
              </a:solidFill>
              <a:ln w="81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92" name="Freihandform 91">
                <a:extLst>
                  <a:ext uri="{FF2B5EF4-FFF2-40B4-BE49-F238E27FC236}">
                    <a16:creationId xmlns:a16="http://schemas.microsoft.com/office/drawing/2014/main" id="{FCD4BAA2-AB68-47C4-9B3A-05974B60C6C8}"/>
                  </a:ext>
                </a:extLst>
              </p:cNvPr>
              <p:cNvSpPr/>
              <p:nvPr/>
            </p:nvSpPr>
            <p:spPr>
              <a:xfrm>
                <a:off x="6208350" y="3794717"/>
                <a:ext cx="229367" cy="145561"/>
              </a:xfrm>
              <a:custGeom>
                <a:avLst/>
                <a:gdLst>
                  <a:gd name="connsiteX0" fmla="*/ 50625 w 229367"/>
                  <a:gd name="connsiteY0" fmla="*/ 145561 h 145561"/>
                  <a:gd name="connsiteX1" fmla="*/ 6144 w 229367"/>
                  <a:gd name="connsiteY1" fmla="*/ 145561 h 145561"/>
                  <a:gd name="connsiteX2" fmla="*/ 0 w 229367"/>
                  <a:gd name="connsiteY2" fmla="*/ 139476 h 145561"/>
                  <a:gd name="connsiteX3" fmla="*/ 0 w 229367"/>
                  <a:gd name="connsiteY3" fmla="*/ 6085 h 145561"/>
                  <a:gd name="connsiteX4" fmla="*/ 6144 w 229367"/>
                  <a:gd name="connsiteY4" fmla="*/ 0 h 145561"/>
                  <a:gd name="connsiteX5" fmla="*/ 179073 w 229367"/>
                  <a:gd name="connsiteY5" fmla="*/ 0 h 145561"/>
                  <a:gd name="connsiteX6" fmla="*/ 180957 w 229367"/>
                  <a:gd name="connsiteY6" fmla="*/ 0 h 145561"/>
                  <a:gd name="connsiteX7" fmla="*/ 225684 w 229367"/>
                  <a:gd name="connsiteY7" fmla="*/ 14361 h 145561"/>
                  <a:gd name="connsiteX8" fmla="*/ 228851 w 229367"/>
                  <a:gd name="connsiteY8" fmla="*/ 22375 h 145561"/>
                  <a:gd name="connsiteX9" fmla="*/ 221916 w 229367"/>
                  <a:gd name="connsiteY9" fmla="*/ 25883 h 145561"/>
                  <a:gd name="connsiteX10" fmla="*/ 178335 w 229367"/>
                  <a:gd name="connsiteY10" fmla="*/ 12171 h 145561"/>
                  <a:gd name="connsiteX11" fmla="*/ 12288 w 229367"/>
                  <a:gd name="connsiteY11" fmla="*/ 12171 h 145561"/>
                  <a:gd name="connsiteX12" fmla="*/ 12288 w 229367"/>
                  <a:gd name="connsiteY12" fmla="*/ 133228 h 145561"/>
                  <a:gd name="connsiteX13" fmla="*/ 50625 w 229367"/>
                  <a:gd name="connsiteY13" fmla="*/ 133228 h 145561"/>
                  <a:gd name="connsiteX14" fmla="*/ 56769 w 229367"/>
                  <a:gd name="connsiteY14" fmla="*/ 139313 h 145561"/>
                  <a:gd name="connsiteX15" fmla="*/ 50625 w 229367"/>
                  <a:gd name="connsiteY15" fmla="*/ 145399 h 145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29367" h="145561">
                    <a:moveTo>
                      <a:pt x="50625" y="145561"/>
                    </a:moveTo>
                    <a:lnTo>
                      <a:pt x="6144" y="145561"/>
                    </a:lnTo>
                    <a:cubicBezTo>
                      <a:pt x="2769" y="145517"/>
                      <a:pt x="44" y="142819"/>
                      <a:pt x="0" y="139476"/>
                    </a:cubicBezTo>
                    <a:lnTo>
                      <a:pt x="0" y="6085"/>
                    </a:lnTo>
                    <a:cubicBezTo>
                      <a:pt x="0" y="2725"/>
                      <a:pt x="2751" y="0"/>
                      <a:pt x="6144" y="0"/>
                    </a:cubicBezTo>
                    <a:lnTo>
                      <a:pt x="179073" y="0"/>
                    </a:lnTo>
                    <a:lnTo>
                      <a:pt x="180957" y="0"/>
                    </a:lnTo>
                    <a:lnTo>
                      <a:pt x="225684" y="14361"/>
                    </a:lnTo>
                    <a:cubicBezTo>
                      <a:pt x="228793" y="15708"/>
                      <a:pt x="230211" y="19296"/>
                      <a:pt x="228851" y="22375"/>
                    </a:cubicBezTo>
                    <a:cubicBezTo>
                      <a:pt x="227678" y="25032"/>
                      <a:pt x="224775" y="26499"/>
                      <a:pt x="221916" y="25883"/>
                    </a:cubicBezTo>
                    <a:lnTo>
                      <a:pt x="178335" y="12171"/>
                    </a:lnTo>
                    <a:lnTo>
                      <a:pt x="12288" y="12171"/>
                    </a:lnTo>
                    <a:lnTo>
                      <a:pt x="12288" y="133228"/>
                    </a:lnTo>
                    <a:lnTo>
                      <a:pt x="50625" y="133228"/>
                    </a:lnTo>
                    <a:cubicBezTo>
                      <a:pt x="54018" y="133228"/>
                      <a:pt x="56769" y="135953"/>
                      <a:pt x="56769" y="139313"/>
                    </a:cubicBezTo>
                    <a:cubicBezTo>
                      <a:pt x="56769" y="142674"/>
                      <a:pt x="54018" y="145399"/>
                      <a:pt x="50625" y="145399"/>
                    </a:cubicBezTo>
                    <a:close/>
                  </a:path>
                </a:pathLst>
              </a:custGeom>
              <a:solidFill>
                <a:schemeClr val="dk1"/>
              </a:solidFill>
              <a:ln w="81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93" name="Freihandform 92">
                <a:extLst>
                  <a:ext uri="{FF2B5EF4-FFF2-40B4-BE49-F238E27FC236}">
                    <a16:creationId xmlns:a16="http://schemas.microsoft.com/office/drawing/2014/main" id="{5868C3A8-C784-DA9F-7A1E-3C07A87BA041}"/>
                  </a:ext>
                </a:extLst>
              </p:cNvPr>
              <p:cNvSpPr/>
              <p:nvPr/>
            </p:nvSpPr>
            <p:spPr>
              <a:xfrm>
                <a:off x="6282404" y="3794717"/>
                <a:ext cx="38339" cy="145561"/>
              </a:xfrm>
              <a:custGeom>
                <a:avLst/>
                <a:gdLst>
                  <a:gd name="connsiteX0" fmla="*/ 32194 w 38339"/>
                  <a:gd name="connsiteY0" fmla="*/ 145561 h 145561"/>
                  <a:gd name="connsiteX1" fmla="*/ 6144 w 38339"/>
                  <a:gd name="connsiteY1" fmla="*/ 145561 h 145561"/>
                  <a:gd name="connsiteX2" fmla="*/ 0 w 38339"/>
                  <a:gd name="connsiteY2" fmla="*/ 139476 h 145561"/>
                  <a:gd name="connsiteX3" fmla="*/ 6144 w 38339"/>
                  <a:gd name="connsiteY3" fmla="*/ 133390 h 145561"/>
                  <a:gd name="connsiteX4" fmla="*/ 26050 w 38339"/>
                  <a:gd name="connsiteY4" fmla="*/ 133390 h 145561"/>
                  <a:gd name="connsiteX5" fmla="*/ 26050 w 38339"/>
                  <a:gd name="connsiteY5" fmla="*/ 6085 h 145561"/>
                  <a:gd name="connsiteX6" fmla="*/ 32194 w 38339"/>
                  <a:gd name="connsiteY6" fmla="*/ 0 h 145561"/>
                  <a:gd name="connsiteX7" fmla="*/ 38338 w 38339"/>
                  <a:gd name="connsiteY7" fmla="*/ 6085 h 145561"/>
                  <a:gd name="connsiteX8" fmla="*/ 38338 w 38339"/>
                  <a:gd name="connsiteY8" fmla="*/ 139313 h 145561"/>
                  <a:gd name="connsiteX9" fmla="*/ 32360 w 38339"/>
                  <a:gd name="connsiteY9" fmla="*/ 145559 h 145561"/>
                  <a:gd name="connsiteX10" fmla="*/ 32194 w 38339"/>
                  <a:gd name="connsiteY10" fmla="*/ 145561 h 145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339" h="145561">
                    <a:moveTo>
                      <a:pt x="32194" y="145561"/>
                    </a:moveTo>
                    <a:lnTo>
                      <a:pt x="6144" y="145561"/>
                    </a:lnTo>
                    <a:cubicBezTo>
                      <a:pt x="2751" y="145561"/>
                      <a:pt x="0" y="142836"/>
                      <a:pt x="0" y="139476"/>
                    </a:cubicBezTo>
                    <a:cubicBezTo>
                      <a:pt x="0" y="136115"/>
                      <a:pt x="2751" y="133390"/>
                      <a:pt x="6144" y="133390"/>
                    </a:cubicBezTo>
                    <a:lnTo>
                      <a:pt x="26050" y="133390"/>
                    </a:lnTo>
                    <a:lnTo>
                      <a:pt x="26050" y="6085"/>
                    </a:lnTo>
                    <a:cubicBezTo>
                      <a:pt x="26050" y="2725"/>
                      <a:pt x="28801" y="0"/>
                      <a:pt x="32194" y="0"/>
                    </a:cubicBezTo>
                    <a:cubicBezTo>
                      <a:pt x="35587" y="0"/>
                      <a:pt x="38338" y="2725"/>
                      <a:pt x="38338" y="6085"/>
                    </a:cubicBezTo>
                    <a:lnTo>
                      <a:pt x="38338" y="139313"/>
                    </a:lnTo>
                    <a:cubicBezTo>
                      <a:pt x="38428" y="142673"/>
                      <a:pt x="35751" y="145469"/>
                      <a:pt x="32360" y="145559"/>
                    </a:cubicBezTo>
                    <a:cubicBezTo>
                      <a:pt x="32304" y="145560"/>
                      <a:pt x="32249" y="145561"/>
                      <a:pt x="32194" y="145561"/>
                    </a:cubicBezTo>
                    <a:close/>
                  </a:path>
                </a:pathLst>
              </a:custGeom>
              <a:solidFill>
                <a:schemeClr val="dk1"/>
              </a:solidFill>
              <a:ln w="81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94" name="Freihandform 93">
                <a:extLst>
                  <a:ext uri="{FF2B5EF4-FFF2-40B4-BE49-F238E27FC236}">
                    <a16:creationId xmlns:a16="http://schemas.microsoft.com/office/drawing/2014/main" id="{CEFB6736-B962-9F06-04C7-8971DA7FE93C}"/>
                  </a:ext>
                </a:extLst>
              </p:cNvPr>
              <p:cNvSpPr/>
              <p:nvPr/>
            </p:nvSpPr>
            <p:spPr>
              <a:xfrm>
                <a:off x="6308606" y="3928231"/>
                <a:ext cx="174236" cy="90913"/>
              </a:xfrm>
              <a:custGeom>
                <a:avLst/>
                <a:gdLst>
                  <a:gd name="connsiteX0" fmla="*/ 148529 w 174236"/>
                  <a:gd name="connsiteY0" fmla="*/ 90914 h 90913"/>
                  <a:gd name="connsiteX1" fmla="*/ 131736 w 174236"/>
                  <a:gd name="connsiteY1" fmla="*/ 85072 h 90913"/>
                  <a:gd name="connsiteX2" fmla="*/ 2961 w 174236"/>
                  <a:gd name="connsiteY2" fmla="*/ 11074 h 90913"/>
                  <a:gd name="connsiteX3" fmla="*/ 749 w 174236"/>
                  <a:gd name="connsiteY3" fmla="*/ 2960 h 90913"/>
                  <a:gd name="connsiteX4" fmla="*/ 8941 w 174236"/>
                  <a:gd name="connsiteY4" fmla="*/ 770 h 90913"/>
                  <a:gd name="connsiteX5" fmla="*/ 138289 w 174236"/>
                  <a:gd name="connsiteY5" fmla="*/ 75497 h 90913"/>
                  <a:gd name="connsiteX6" fmla="*/ 156966 w 174236"/>
                  <a:gd name="connsiteY6" fmla="*/ 76390 h 90913"/>
                  <a:gd name="connsiteX7" fmla="*/ 165158 w 174236"/>
                  <a:gd name="connsiteY7" fmla="*/ 71116 h 90913"/>
                  <a:gd name="connsiteX8" fmla="*/ 173350 w 174236"/>
                  <a:gd name="connsiteY8" fmla="*/ 72901 h 90913"/>
                  <a:gd name="connsiteX9" fmla="*/ 171548 w 174236"/>
                  <a:gd name="connsiteY9" fmla="*/ 81015 h 90913"/>
                  <a:gd name="connsiteX10" fmla="*/ 163356 w 174236"/>
                  <a:gd name="connsiteY10" fmla="*/ 86370 h 90913"/>
                  <a:gd name="connsiteX11" fmla="*/ 148529 w 174236"/>
                  <a:gd name="connsiteY11" fmla="*/ 90914 h 90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4236" h="90913">
                    <a:moveTo>
                      <a:pt x="148529" y="90914"/>
                    </a:moveTo>
                    <a:cubicBezTo>
                      <a:pt x="142437" y="90832"/>
                      <a:pt x="136540" y="88780"/>
                      <a:pt x="131736" y="85072"/>
                    </a:cubicBezTo>
                    <a:lnTo>
                      <a:pt x="2961" y="11074"/>
                    </a:lnTo>
                    <a:cubicBezTo>
                      <a:pt x="153" y="9389"/>
                      <a:pt x="-821" y="5816"/>
                      <a:pt x="749" y="2960"/>
                    </a:cubicBezTo>
                    <a:cubicBezTo>
                      <a:pt x="2422" y="143"/>
                      <a:pt x="6063" y="-830"/>
                      <a:pt x="8941" y="770"/>
                    </a:cubicBezTo>
                    <a:lnTo>
                      <a:pt x="138289" y="75497"/>
                    </a:lnTo>
                    <a:cubicBezTo>
                      <a:pt x="143715" y="79631"/>
                      <a:pt x="151163" y="79986"/>
                      <a:pt x="156966" y="76390"/>
                    </a:cubicBezTo>
                    <a:lnTo>
                      <a:pt x="165158" y="71116"/>
                    </a:lnTo>
                    <a:cubicBezTo>
                      <a:pt x="167938" y="69485"/>
                      <a:pt x="171518" y="70265"/>
                      <a:pt x="173350" y="72901"/>
                    </a:cubicBezTo>
                    <a:cubicBezTo>
                      <a:pt x="175040" y="75648"/>
                      <a:pt x="174245" y="79225"/>
                      <a:pt x="171548" y="81015"/>
                    </a:cubicBezTo>
                    <a:lnTo>
                      <a:pt x="163356" y="86370"/>
                    </a:lnTo>
                    <a:cubicBezTo>
                      <a:pt x="158935" y="89218"/>
                      <a:pt x="153801" y="90790"/>
                      <a:pt x="148529" y="90914"/>
                    </a:cubicBezTo>
                    <a:close/>
                  </a:path>
                </a:pathLst>
              </a:custGeom>
              <a:solidFill>
                <a:schemeClr val="dk1"/>
              </a:solidFill>
              <a:ln w="81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31B72C29-8A99-D269-B7C0-7ACD1BDF85DC}"/>
                </a:ext>
              </a:extLst>
            </p:cNvPr>
            <p:cNvGrpSpPr/>
            <p:nvPr/>
          </p:nvGrpSpPr>
          <p:grpSpPr>
            <a:xfrm>
              <a:off x="6279848" y="4125565"/>
              <a:ext cx="358409" cy="357088"/>
              <a:chOff x="6279848" y="4131915"/>
              <a:chExt cx="358409" cy="357088"/>
            </a:xfrm>
          </p:grpSpPr>
          <p:sp>
            <p:nvSpPr>
              <p:cNvPr id="96" name="Freihandform 95">
                <a:extLst>
                  <a:ext uri="{FF2B5EF4-FFF2-40B4-BE49-F238E27FC236}">
                    <a16:creationId xmlns:a16="http://schemas.microsoft.com/office/drawing/2014/main" id="{271C2A37-07E3-04EF-90D9-B821272E9410}"/>
                  </a:ext>
                </a:extLst>
              </p:cNvPr>
              <p:cNvSpPr/>
              <p:nvPr/>
            </p:nvSpPr>
            <p:spPr>
              <a:xfrm>
                <a:off x="6355622" y="4396967"/>
                <a:ext cx="96106" cy="92036"/>
              </a:xfrm>
              <a:custGeom>
                <a:avLst/>
                <a:gdLst>
                  <a:gd name="connsiteX0" fmla="*/ 89271 w 96106"/>
                  <a:gd name="connsiteY0" fmla="*/ 91993 h 92036"/>
                  <a:gd name="connsiteX1" fmla="*/ 88782 w 96106"/>
                  <a:gd name="connsiteY1" fmla="*/ 91993 h 92036"/>
                  <a:gd name="connsiteX2" fmla="*/ 2680 w 96106"/>
                  <a:gd name="connsiteY2" fmla="*/ 61474 h 92036"/>
                  <a:gd name="connsiteX3" fmla="*/ 76 w 96106"/>
                  <a:gd name="connsiteY3" fmla="*/ 57405 h 92036"/>
                  <a:gd name="connsiteX4" fmla="*/ 1296 w 96106"/>
                  <a:gd name="connsiteY4" fmla="*/ 52685 h 92036"/>
                  <a:gd name="connsiteX5" fmla="*/ 41988 w 96106"/>
                  <a:gd name="connsiteY5" fmla="*/ 2391 h 92036"/>
                  <a:gd name="connsiteX6" fmla="*/ 50126 w 96106"/>
                  <a:gd name="connsiteY6" fmla="*/ 1007 h 92036"/>
                  <a:gd name="connsiteX7" fmla="*/ 90817 w 96106"/>
                  <a:gd name="connsiteY7" fmla="*/ 15412 h 92036"/>
                  <a:gd name="connsiteX8" fmla="*/ 96107 w 96106"/>
                  <a:gd name="connsiteY8" fmla="*/ 21516 h 92036"/>
                  <a:gd name="connsiteX9" fmla="*/ 96107 w 96106"/>
                  <a:gd name="connsiteY9" fmla="*/ 85889 h 92036"/>
                  <a:gd name="connsiteX10" fmla="*/ 94154 w 96106"/>
                  <a:gd name="connsiteY10" fmla="*/ 90365 h 92036"/>
                  <a:gd name="connsiteX11" fmla="*/ 89271 w 96106"/>
                  <a:gd name="connsiteY11" fmla="*/ 91993 h 92036"/>
                  <a:gd name="connsiteX12" fmla="*/ 15050 w 96106"/>
                  <a:gd name="connsiteY12" fmla="*/ 55045 h 92036"/>
                  <a:gd name="connsiteX13" fmla="*/ 83167 w 96106"/>
                  <a:gd name="connsiteY13" fmla="*/ 79460 h 92036"/>
                  <a:gd name="connsiteX14" fmla="*/ 83167 w 96106"/>
                  <a:gd name="connsiteY14" fmla="*/ 26724 h 92036"/>
                  <a:gd name="connsiteX15" fmla="*/ 47766 w 96106"/>
                  <a:gd name="connsiteY15" fmla="*/ 14110 h 92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6106" h="92036">
                    <a:moveTo>
                      <a:pt x="89271" y="91993"/>
                    </a:moveTo>
                    <a:lnTo>
                      <a:pt x="88782" y="91993"/>
                    </a:lnTo>
                    <a:cubicBezTo>
                      <a:pt x="57913" y="89495"/>
                      <a:pt x="28232" y="78975"/>
                      <a:pt x="2680" y="61474"/>
                    </a:cubicBezTo>
                    <a:cubicBezTo>
                      <a:pt x="1282" y="60541"/>
                      <a:pt x="338" y="59066"/>
                      <a:pt x="76" y="57405"/>
                    </a:cubicBezTo>
                    <a:cubicBezTo>
                      <a:pt x="-190" y="55731"/>
                      <a:pt x="252" y="54021"/>
                      <a:pt x="1296" y="52685"/>
                    </a:cubicBezTo>
                    <a:lnTo>
                      <a:pt x="41988" y="2391"/>
                    </a:lnTo>
                    <a:cubicBezTo>
                      <a:pt x="43908" y="-149"/>
                      <a:pt x="47474" y="-755"/>
                      <a:pt x="50126" y="1007"/>
                    </a:cubicBezTo>
                    <a:cubicBezTo>
                      <a:pt x="62487" y="8697"/>
                      <a:pt x="76371" y="13612"/>
                      <a:pt x="90817" y="15412"/>
                    </a:cubicBezTo>
                    <a:cubicBezTo>
                      <a:pt x="93849" y="15856"/>
                      <a:pt x="96099" y="18452"/>
                      <a:pt x="96107" y="21516"/>
                    </a:cubicBezTo>
                    <a:lnTo>
                      <a:pt x="96107" y="85889"/>
                    </a:lnTo>
                    <a:cubicBezTo>
                      <a:pt x="96070" y="87580"/>
                      <a:pt x="95368" y="89188"/>
                      <a:pt x="94154" y="90365"/>
                    </a:cubicBezTo>
                    <a:cubicBezTo>
                      <a:pt x="92852" y="91611"/>
                      <a:pt x="91060" y="92209"/>
                      <a:pt x="89271" y="91993"/>
                    </a:cubicBezTo>
                    <a:close/>
                    <a:moveTo>
                      <a:pt x="15050" y="55045"/>
                    </a:moveTo>
                    <a:cubicBezTo>
                      <a:pt x="35720" y="68022"/>
                      <a:pt x="58961" y="76352"/>
                      <a:pt x="83167" y="79460"/>
                    </a:cubicBezTo>
                    <a:lnTo>
                      <a:pt x="83167" y="26724"/>
                    </a:lnTo>
                    <a:cubicBezTo>
                      <a:pt x="70742" y="24537"/>
                      <a:pt x="58774" y="20273"/>
                      <a:pt x="47766" y="14110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97" name="Freihandform 96">
                <a:extLst>
                  <a:ext uri="{FF2B5EF4-FFF2-40B4-BE49-F238E27FC236}">
                    <a16:creationId xmlns:a16="http://schemas.microsoft.com/office/drawing/2014/main" id="{D73FA430-0937-623E-19C5-CC41DB852FF0}"/>
                  </a:ext>
                </a:extLst>
              </p:cNvPr>
              <p:cNvSpPr/>
              <p:nvPr/>
            </p:nvSpPr>
            <p:spPr>
              <a:xfrm>
                <a:off x="6467028" y="4131915"/>
                <a:ext cx="159213" cy="140252"/>
              </a:xfrm>
              <a:custGeom>
                <a:avLst/>
                <a:gdLst>
                  <a:gd name="connsiteX0" fmla="*/ 91475 w 159213"/>
                  <a:gd name="connsiteY0" fmla="*/ 140243 h 140252"/>
                  <a:gd name="connsiteX1" fmla="*/ 85859 w 159213"/>
                  <a:gd name="connsiteY1" fmla="*/ 136580 h 140252"/>
                  <a:gd name="connsiteX2" fmla="*/ 5291 w 159213"/>
                  <a:gd name="connsiteY2" fmla="*/ 76683 h 140252"/>
                  <a:gd name="connsiteX3" fmla="*/ 1 w 159213"/>
                  <a:gd name="connsiteY3" fmla="*/ 70661 h 140252"/>
                  <a:gd name="connsiteX4" fmla="*/ 1 w 159213"/>
                  <a:gd name="connsiteY4" fmla="*/ 6124 h 140252"/>
                  <a:gd name="connsiteX5" fmla="*/ 1954 w 159213"/>
                  <a:gd name="connsiteY5" fmla="*/ 1648 h 140252"/>
                  <a:gd name="connsiteX6" fmla="*/ 6593 w 159213"/>
                  <a:gd name="connsiteY6" fmla="*/ 21 h 140252"/>
                  <a:gd name="connsiteX7" fmla="*/ 158697 w 159213"/>
                  <a:gd name="connsiteY7" fmla="*/ 114119 h 140252"/>
                  <a:gd name="connsiteX8" fmla="*/ 158697 w 159213"/>
                  <a:gd name="connsiteY8" fmla="*/ 119002 h 140252"/>
                  <a:gd name="connsiteX9" fmla="*/ 154872 w 159213"/>
                  <a:gd name="connsiteY9" fmla="*/ 122176 h 140252"/>
                  <a:gd name="connsiteX10" fmla="*/ 93591 w 159213"/>
                  <a:gd name="connsiteY10" fmla="*/ 139998 h 140252"/>
                  <a:gd name="connsiteX11" fmla="*/ 91475 w 159213"/>
                  <a:gd name="connsiteY11" fmla="*/ 140243 h 140252"/>
                  <a:gd name="connsiteX12" fmla="*/ 12208 w 159213"/>
                  <a:gd name="connsiteY12" fmla="*/ 65208 h 140252"/>
                  <a:gd name="connsiteX13" fmla="*/ 94730 w 159213"/>
                  <a:gd name="connsiteY13" fmla="*/ 126814 h 140252"/>
                  <a:gd name="connsiteX14" fmla="*/ 145106 w 159213"/>
                  <a:gd name="connsiteY14" fmla="*/ 112328 h 140252"/>
                  <a:gd name="connsiteX15" fmla="*/ 12208 w 159213"/>
                  <a:gd name="connsiteY15" fmla="*/ 12879 h 140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9213" h="140252">
                    <a:moveTo>
                      <a:pt x="91475" y="140243"/>
                    </a:moveTo>
                    <a:cubicBezTo>
                      <a:pt x="89046" y="140230"/>
                      <a:pt x="86850" y="138798"/>
                      <a:pt x="85859" y="136580"/>
                    </a:cubicBezTo>
                    <a:cubicBezTo>
                      <a:pt x="71142" y="104046"/>
                      <a:pt x="40686" y="81404"/>
                      <a:pt x="5291" y="76683"/>
                    </a:cubicBezTo>
                    <a:cubicBezTo>
                      <a:pt x="2272" y="76277"/>
                      <a:pt x="15" y="73707"/>
                      <a:pt x="1" y="70661"/>
                    </a:cubicBezTo>
                    <a:lnTo>
                      <a:pt x="1" y="6124"/>
                    </a:lnTo>
                    <a:cubicBezTo>
                      <a:pt x="-31" y="4419"/>
                      <a:pt x="683" y="2785"/>
                      <a:pt x="1954" y="1648"/>
                    </a:cubicBezTo>
                    <a:cubicBezTo>
                      <a:pt x="3199" y="471"/>
                      <a:pt x="4886" y="-121"/>
                      <a:pt x="6593" y="21"/>
                    </a:cubicBezTo>
                    <a:cubicBezTo>
                      <a:pt x="74876" y="6010"/>
                      <a:pt x="133839" y="50240"/>
                      <a:pt x="158697" y="114119"/>
                    </a:cubicBezTo>
                    <a:cubicBezTo>
                      <a:pt x="159386" y="115673"/>
                      <a:pt x="159386" y="117447"/>
                      <a:pt x="158697" y="119002"/>
                    </a:cubicBezTo>
                    <a:cubicBezTo>
                      <a:pt x="157899" y="120530"/>
                      <a:pt x="156520" y="121674"/>
                      <a:pt x="154872" y="122176"/>
                    </a:cubicBezTo>
                    <a:lnTo>
                      <a:pt x="93591" y="139998"/>
                    </a:lnTo>
                    <a:cubicBezTo>
                      <a:pt x="92905" y="140202"/>
                      <a:pt x="92189" y="140284"/>
                      <a:pt x="91475" y="140243"/>
                    </a:cubicBezTo>
                    <a:close/>
                    <a:moveTo>
                      <a:pt x="12208" y="65208"/>
                    </a:moveTo>
                    <a:cubicBezTo>
                      <a:pt x="47815" y="71758"/>
                      <a:pt x="78329" y="94539"/>
                      <a:pt x="94730" y="126814"/>
                    </a:cubicBezTo>
                    <a:lnTo>
                      <a:pt x="145106" y="112328"/>
                    </a:lnTo>
                    <a:cubicBezTo>
                      <a:pt x="121464" y="58046"/>
                      <a:pt x="70955" y="20249"/>
                      <a:pt x="12208" y="12879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98" name="Freihandform 97">
                <a:extLst>
                  <a:ext uri="{FF2B5EF4-FFF2-40B4-BE49-F238E27FC236}">
                    <a16:creationId xmlns:a16="http://schemas.microsoft.com/office/drawing/2014/main" id="{D764816F-399D-B7A8-CAB1-FFD4F8A7439C}"/>
                  </a:ext>
                </a:extLst>
              </p:cNvPr>
              <p:cNvSpPr/>
              <p:nvPr/>
            </p:nvSpPr>
            <p:spPr>
              <a:xfrm>
                <a:off x="6378261" y="4131915"/>
                <a:ext cx="72491" cy="83680"/>
              </a:xfrm>
              <a:custGeom>
                <a:avLst/>
                <a:gdLst>
                  <a:gd name="connsiteX0" fmla="*/ 39531 w 72491"/>
                  <a:gd name="connsiteY0" fmla="*/ 83681 h 83680"/>
                  <a:gd name="connsiteX1" fmla="*/ 34323 w 72491"/>
                  <a:gd name="connsiteY1" fmla="*/ 80751 h 83680"/>
                  <a:gd name="connsiteX2" fmla="*/ 956 w 72491"/>
                  <a:gd name="connsiteY2" fmla="*/ 25574 h 83680"/>
                  <a:gd name="connsiteX3" fmla="*/ 2826 w 72491"/>
                  <a:gd name="connsiteY3" fmla="*/ 17147 h 83680"/>
                  <a:gd name="connsiteX4" fmla="*/ 3316 w 72491"/>
                  <a:gd name="connsiteY4" fmla="*/ 16866 h 83680"/>
                  <a:gd name="connsiteX5" fmla="*/ 65899 w 72491"/>
                  <a:gd name="connsiteY5" fmla="*/ 20 h 83680"/>
                  <a:gd name="connsiteX6" fmla="*/ 72472 w 72491"/>
                  <a:gd name="connsiteY6" fmla="*/ 5616 h 83680"/>
                  <a:gd name="connsiteX7" fmla="*/ 72491 w 72491"/>
                  <a:gd name="connsiteY7" fmla="*/ 6124 h 83680"/>
                  <a:gd name="connsiteX8" fmla="*/ 72491 w 72491"/>
                  <a:gd name="connsiteY8" fmla="*/ 70497 h 83680"/>
                  <a:gd name="connsiteX9" fmla="*/ 67201 w 72491"/>
                  <a:gd name="connsiteY9" fmla="*/ 76519 h 83680"/>
                  <a:gd name="connsiteX10" fmla="*/ 41647 w 72491"/>
                  <a:gd name="connsiteY10" fmla="*/ 83274 h 83680"/>
                  <a:gd name="connsiteX11" fmla="*/ 39531 w 72491"/>
                  <a:gd name="connsiteY11" fmla="*/ 83681 h 83680"/>
                  <a:gd name="connsiteX12" fmla="*/ 15117 w 72491"/>
                  <a:gd name="connsiteY12" fmla="*/ 25086 h 83680"/>
                  <a:gd name="connsiteX13" fmla="*/ 42298 w 72491"/>
                  <a:gd name="connsiteY13" fmla="*/ 70090 h 83680"/>
                  <a:gd name="connsiteX14" fmla="*/ 60691 w 72491"/>
                  <a:gd name="connsiteY14" fmla="*/ 65207 h 83680"/>
                  <a:gd name="connsiteX15" fmla="*/ 60691 w 72491"/>
                  <a:gd name="connsiteY15" fmla="*/ 12878 h 83680"/>
                  <a:gd name="connsiteX16" fmla="*/ 14954 w 72491"/>
                  <a:gd name="connsiteY16" fmla="*/ 25086 h 8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2491" h="83680">
                    <a:moveTo>
                      <a:pt x="39531" y="83681"/>
                    </a:moveTo>
                    <a:cubicBezTo>
                      <a:pt x="37403" y="83679"/>
                      <a:pt x="35430" y="82569"/>
                      <a:pt x="34323" y="80751"/>
                    </a:cubicBezTo>
                    <a:lnTo>
                      <a:pt x="956" y="25574"/>
                    </a:lnTo>
                    <a:cubicBezTo>
                      <a:pt x="-855" y="22731"/>
                      <a:pt x="-17" y="18958"/>
                      <a:pt x="2826" y="17147"/>
                    </a:cubicBezTo>
                    <a:cubicBezTo>
                      <a:pt x="2985" y="17046"/>
                      <a:pt x="3148" y="16952"/>
                      <a:pt x="3316" y="16866"/>
                    </a:cubicBezTo>
                    <a:cubicBezTo>
                      <a:pt x="22979" y="7490"/>
                      <a:pt x="44187" y="1781"/>
                      <a:pt x="65899" y="20"/>
                    </a:cubicBezTo>
                    <a:cubicBezTo>
                      <a:pt x="69259" y="-250"/>
                      <a:pt x="72202" y="2256"/>
                      <a:pt x="72472" y="5616"/>
                    </a:cubicBezTo>
                    <a:cubicBezTo>
                      <a:pt x="72485" y="5785"/>
                      <a:pt x="72492" y="5954"/>
                      <a:pt x="72491" y="6124"/>
                    </a:cubicBezTo>
                    <a:lnTo>
                      <a:pt x="72491" y="70497"/>
                    </a:lnTo>
                    <a:cubicBezTo>
                      <a:pt x="72478" y="73543"/>
                      <a:pt x="70221" y="76113"/>
                      <a:pt x="67201" y="76519"/>
                    </a:cubicBezTo>
                    <a:cubicBezTo>
                      <a:pt x="58418" y="77613"/>
                      <a:pt x="49824" y="79885"/>
                      <a:pt x="41647" y="83274"/>
                    </a:cubicBezTo>
                    <a:cubicBezTo>
                      <a:pt x="40963" y="83503"/>
                      <a:pt x="40251" y="83639"/>
                      <a:pt x="39531" y="83681"/>
                    </a:cubicBezTo>
                    <a:close/>
                    <a:moveTo>
                      <a:pt x="15117" y="25086"/>
                    </a:moveTo>
                    <a:lnTo>
                      <a:pt x="42298" y="70090"/>
                    </a:lnTo>
                    <a:cubicBezTo>
                      <a:pt x="48284" y="67959"/>
                      <a:pt x="54436" y="66325"/>
                      <a:pt x="60691" y="65207"/>
                    </a:cubicBezTo>
                    <a:lnTo>
                      <a:pt x="60691" y="12878"/>
                    </a:lnTo>
                    <a:cubicBezTo>
                      <a:pt x="44939" y="14736"/>
                      <a:pt x="29536" y="18847"/>
                      <a:pt x="14954" y="25086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99" name="Freihandform 98">
                <a:extLst>
                  <a:ext uri="{FF2B5EF4-FFF2-40B4-BE49-F238E27FC236}">
                    <a16:creationId xmlns:a16="http://schemas.microsoft.com/office/drawing/2014/main" id="{882ECDB8-1D89-5756-D7B1-A138C90CB8C3}"/>
                  </a:ext>
                </a:extLst>
              </p:cNvPr>
              <p:cNvSpPr/>
              <p:nvPr/>
            </p:nvSpPr>
            <p:spPr>
              <a:xfrm>
                <a:off x="6279848" y="4162787"/>
                <a:ext cx="119637" cy="279459"/>
              </a:xfrm>
              <a:custGeom>
                <a:avLst/>
                <a:gdLst>
                  <a:gd name="connsiteX0" fmla="*/ 59980 w 119637"/>
                  <a:gd name="connsiteY0" fmla="*/ 278971 h 279459"/>
                  <a:gd name="connsiteX1" fmla="*/ 55748 w 119637"/>
                  <a:gd name="connsiteY1" fmla="*/ 277262 h 279459"/>
                  <a:gd name="connsiteX2" fmla="*/ 1 w 119637"/>
                  <a:gd name="connsiteY2" fmla="*/ 147620 h 279459"/>
                  <a:gd name="connsiteX3" fmla="*/ 76745 w 119637"/>
                  <a:gd name="connsiteY3" fmla="*/ 1132 h 279459"/>
                  <a:gd name="connsiteX4" fmla="*/ 81546 w 119637"/>
                  <a:gd name="connsiteY4" fmla="*/ 155 h 279459"/>
                  <a:gd name="connsiteX5" fmla="*/ 85452 w 119637"/>
                  <a:gd name="connsiteY5" fmla="*/ 2922 h 279459"/>
                  <a:gd name="connsiteX6" fmla="*/ 118738 w 119637"/>
                  <a:gd name="connsiteY6" fmla="*/ 57937 h 279459"/>
                  <a:gd name="connsiteX7" fmla="*/ 117192 w 119637"/>
                  <a:gd name="connsiteY7" fmla="*/ 66075 h 279459"/>
                  <a:gd name="connsiteX8" fmla="*/ 96573 w 119637"/>
                  <a:gd name="connsiteY8" fmla="*/ 209385 h 279459"/>
                  <a:gd name="connsiteX9" fmla="*/ 104577 w 119637"/>
                  <a:gd name="connsiteY9" fmla="*/ 218830 h 279459"/>
                  <a:gd name="connsiteX10" fmla="*/ 104577 w 119637"/>
                  <a:gd name="connsiteY10" fmla="*/ 226968 h 279459"/>
                  <a:gd name="connsiteX11" fmla="*/ 64293 w 119637"/>
                  <a:gd name="connsiteY11" fmla="*/ 277181 h 279459"/>
                  <a:gd name="connsiteX12" fmla="*/ 59980 w 119637"/>
                  <a:gd name="connsiteY12" fmla="*/ 279460 h 279459"/>
                  <a:gd name="connsiteX13" fmla="*/ 78454 w 119637"/>
                  <a:gd name="connsiteY13" fmla="*/ 14641 h 279459"/>
                  <a:gd name="connsiteX14" fmla="*/ 12208 w 119637"/>
                  <a:gd name="connsiteY14" fmla="*/ 147620 h 279459"/>
                  <a:gd name="connsiteX15" fmla="*/ 59410 w 119637"/>
                  <a:gd name="connsiteY15" fmla="*/ 263753 h 279459"/>
                  <a:gd name="connsiteX16" fmla="*/ 91963 w 119637"/>
                  <a:gd name="connsiteY16" fmla="*/ 223062 h 279459"/>
                  <a:gd name="connsiteX17" fmla="*/ 103186 w 119637"/>
                  <a:gd name="connsiteY17" fmla="*/ 61286 h 279459"/>
                  <a:gd name="connsiteX18" fmla="*/ 105310 w 119637"/>
                  <a:gd name="connsiteY18" fmla="*/ 59483 h 279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9637" h="279459">
                    <a:moveTo>
                      <a:pt x="59980" y="278971"/>
                    </a:moveTo>
                    <a:cubicBezTo>
                      <a:pt x="58396" y="278997"/>
                      <a:pt x="56869" y="278380"/>
                      <a:pt x="55748" y="277262"/>
                    </a:cubicBezTo>
                    <a:cubicBezTo>
                      <a:pt x="20022" y="243627"/>
                      <a:pt x="-162" y="196687"/>
                      <a:pt x="1" y="147620"/>
                    </a:cubicBezTo>
                    <a:cubicBezTo>
                      <a:pt x="231" y="89214"/>
                      <a:pt x="28858" y="34571"/>
                      <a:pt x="76745" y="1132"/>
                    </a:cubicBezTo>
                    <a:cubicBezTo>
                      <a:pt x="78126" y="121"/>
                      <a:pt x="79879" y="-236"/>
                      <a:pt x="81546" y="155"/>
                    </a:cubicBezTo>
                    <a:cubicBezTo>
                      <a:pt x="83179" y="489"/>
                      <a:pt x="84596" y="1493"/>
                      <a:pt x="85452" y="2922"/>
                    </a:cubicBezTo>
                    <a:lnTo>
                      <a:pt x="118738" y="57937"/>
                    </a:lnTo>
                    <a:cubicBezTo>
                      <a:pt x="120383" y="60645"/>
                      <a:pt x="119716" y="64159"/>
                      <a:pt x="117192" y="66075"/>
                    </a:cubicBezTo>
                    <a:cubicBezTo>
                      <a:pt x="71924" y="99955"/>
                      <a:pt x="62693" y="164118"/>
                      <a:pt x="96573" y="209385"/>
                    </a:cubicBezTo>
                    <a:cubicBezTo>
                      <a:pt x="99049" y="212692"/>
                      <a:pt x="101722" y="215846"/>
                      <a:pt x="104577" y="218830"/>
                    </a:cubicBezTo>
                    <a:cubicBezTo>
                      <a:pt x="106613" y="221160"/>
                      <a:pt x="106613" y="224637"/>
                      <a:pt x="104577" y="226968"/>
                    </a:cubicBezTo>
                    <a:lnTo>
                      <a:pt x="64293" y="277181"/>
                    </a:lnTo>
                    <a:cubicBezTo>
                      <a:pt x="63241" y="278515"/>
                      <a:pt x="61675" y="279342"/>
                      <a:pt x="59980" y="279460"/>
                    </a:cubicBezTo>
                    <a:close/>
                    <a:moveTo>
                      <a:pt x="78454" y="14641"/>
                    </a:moveTo>
                    <a:cubicBezTo>
                      <a:pt x="36815" y="46188"/>
                      <a:pt x="12309" y="95380"/>
                      <a:pt x="12208" y="147620"/>
                    </a:cubicBezTo>
                    <a:cubicBezTo>
                      <a:pt x="12100" y="191024"/>
                      <a:pt x="29052" y="232732"/>
                      <a:pt x="59410" y="263753"/>
                    </a:cubicBezTo>
                    <a:lnTo>
                      <a:pt x="91963" y="223062"/>
                    </a:lnTo>
                    <a:cubicBezTo>
                      <a:pt x="50389" y="175289"/>
                      <a:pt x="55414" y="102860"/>
                      <a:pt x="103186" y="61286"/>
                    </a:cubicBezTo>
                    <a:cubicBezTo>
                      <a:pt x="103887" y="60676"/>
                      <a:pt x="104594" y="60075"/>
                      <a:pt x="105310" y="59483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ihandform 99">
                <a:extLst>
                  <a:ext uri="{FF2B5EF4-FFF2-40B4-BE49-F238E27FC236}">
                    <a16:creationId xmlns:a16="http://schemas.microsoft.com/office/drawing/2014/main" id="{0672007F-376D-9A6A-2C05-B281FA747A0E}"/>
                  </a:ext>
                </a:extLst>
              </p:cNvPr>
              <p:cNvSpPr/>
              <p:nvPr/>
            </p:nvSpPr>
            <p:spPr>
              <a:xfrm>
                <a:off x="6467029" y="4269148"/>
                <a:ext cx="171228" cy="219812"/>
              </a:xfrm>
              <a:custGeom>
                <a:avLst/>
                <a:gdLst>
                  <a:gd name="connsiteX0" fmla="*/ 6104 w 171228"/>
                  <a:gd name="connsiteY0" fmla="*/ 219812 h 219812"/>
                  <a:gd name="connsiteX1" fmla="*/ 0 w 171228"/>
                  <a:gd name="connsiteY1" fmla="*/ 213708 h 219812"/>
                  <a:gd name="connsiteX2" fmla="*/ 0 w 171228"/>
                  <a:gd name="connsiteY2" fmla="*/ 149335 h 219812"/>
                  <a:gd name="connsiteX3" fmla="*/ 5290 w 171228"/>
                  <a:gd name="connsiteY3" fmla="*/ 143231 h 219812"/>
                  <a:gd name="connsiteX4" fmla="*/ 94345 w 171228"/>
                  <a:gd name="connsiteY4" fmla="*/ 30096 h 219812"/>
                  <a:gd name="connsiteX5" fmla="*/ 93590 w 171228"/>
                  <a:gd name="connsiteY5" fmla="*/ 24901 h 219812"/>
                  <a:gd name="connsiteX6" fmla="*/ 97984 w 171228"/>
                  <a:gd name="connsiteY6" fmla="*/ 18065 h 219812"/>
                  <a:gd name="connsiteX7" fmla="*/ 159835 w 171228"/>
                  <a:gd name="connsiteY7" fmla="*/ 243 h 219812"/>
                  <a:gd name="connsiteX8" fmla="*/ 164718 w 171228"/>
                  <a:gd name="connsiteY8" fmla="*/ 894 h 219812"/>
                  <a:gd name="connsiteX9" fmla="*/ 167485 w 171228"/>
                  <a:gd name="connsiteY9" fmla="*/ 4881 h 219812"/>
                  <a:gd name="connsiteX10" fmla="*/ 171228 w 171228"/>
                  <a:gd name="connsiteY10" fmla="*/ 41259 h 219812"/>
                  <a:gd name="connsiteX11" fmla="*/ 6592 w 171228"/>
                  <a:gd name="connsiteY11" fmla="*/ 219731 h 219812"/>
                  <a:gd name="connsiteX12" fmla="*/ 12207 w 171228"/>
                  <a:gd name="connsiteY12" fmla="*/ 154706 h 219812"/>
                  <a:gd name="connsiteX13" fmla="*/ 12207 w 171228"/>
                  <a:gd name="connsiteY13" fmla="*/ 207116 h 219812"/>
                  <a:gd name="connsiteX14" fmla="*/ 158696 w 171228"/>
                  <a:gd name="connsiteY14" fmla="*/ 41259 h 219812"/>
                  <a:gd name="connsiteX15" fmla="*/ 156417 w 171228"/>
                  <a:gd name="connsiteY15" fmla="*/ 13833 h 219812"/>
                  <a:gd name="connsiteX16" fmla="*/ 106123 w 171228"/>
                  <a:gd name="connsiteY16" fmla="*/ 28319 h 219812"/>
                  <a:gd name="connsiteX17" fmla="*/ 106936 w 171228"/>
                  <a:gd name="connsiteY17" fmla="*/ 41259 h 219812"/>
                  <a:gd name="connsiteX18" fmla="*/ 12207 w 171228"/>
                  <a:gd name="connsiteY18" fmla="*/ 154543 h 219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71228" h="219812">
                    <a:moveTo>
                      <a:pt x="6104" y="219812"/>
                    </a:moveTo>
                    <a:cubicBezTo>
                      <a:pt x="2733" y="219812"/>
                      <a:pt x="0" y="217079"/>
                      <a:pt x="0" y="213708"/>
                    </a:cubicBezTo>
                    <a:lnTo>
                      <a:pt x="0" y="149335"/>
                    </a:lnTo>
                    <a:cubicBezTo>
                      <a:pt x="8" y="146271"/>
                      <a:pt x="2258" y="143675"/>
                      <a:pt x="5290" y="143231"/>
                    </a:cubicBezTo>
                    <a:cubicBezTo>
                      <a:pt x="61123" y="136582"/>
                      <a:pt x="100994" y="85929"/>
                      <a:pt x="94345" y="30096"/>
                    </a:cubicBezTo>
                    <a:cubicBezTo>
                      <a:pt x="94137" y="28359"/>
                      <a:pt x="93886" y="26627"/>
                      <a:pt x="93590" y="24901"/>
                    </a:cubicBezTo>
                    <a:cubicBezTo>
                      <a:pt x="93065" y="21828"/>
                      <a:pt x="94971" y="18864"/>
                      <a:pt x="97984" y="18065"/>
                    </a:cubicBezTo>
                    <a:lnTo>
                      <a:pt x="159835" y="243"/>
                    </a:lnTo>
                    <a:cubicBezTo>
                      <a:pt x="161482" y="-236"/>
                      <a:pt x="163254" y="0"/>
                      <a:pt x="164718" y="894"/>
                    </a:cubicBezTo>
                    <a:cubicBezTo>
                      <a:pt x="166173" y="1760"/>
                      <a:pt x="167182" y="3215"/>
                      <a:pt x="167485" y="4881"/>
                    </a:cubicBezTo>
                    <a:cubicBezTo>
                      <a:pt x="169990" y="16845"/>
                      <a:pt x="171245" y="29036"/>
                      <a:pt x="171228" y="41259"/>
                    </a:cubicBezTo>
                    <a:cubicBezTo>
                      <a:pt x="170769" y="134377"/>
                      <a:pt x="99370" y="211776"/>
                      <a:pt x="6592" y="219731"/>
                    </a:cubicBezTo>
                    <a:close/>
                    <a:moveTo>
                      <a:pt x="12207" y="154706"/>
                    </a:moveTo>
                    <a:lnTo>
                      <a:pt x="12207" y="207116"/>
                    </a:lnTo>
                    <a:cubicBezTo>
                      <a:pt x="95735" y="196417"/>
                      <a:pt x="158398" y="125469"/>
                      <a:pt x="158696" y="41259"/>
                    </a:cubicBezTo>
                    <a:cubicBezTo>
                      <a:pt x="158712" y="32070"/>
                      <a:pt x="157949" y="22895"/>
                      <a:pt x="156417" y="13833"/>
                    </a:cubicBezTo>
                    <a:lnTo>
                      <a:pt x="106123" y="28319"/>
                    </a:lnTo>
                    <a:cubicBezTo>
                      <a:pt x="106662" y="32612"/>
                      <a:pt x="106934" y="36933"/>
                      <a:pt x="106936" y="41259"/>
                    </a:cubicBezTo>
                    <a:cubicBezTo>
                      <a:pt x="106816" y="96926"/>
                      <a:pt x="66974" y="144573"/>
                      <a:pt x="12207" y="154543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ihandform 100">
                <a:extLst>
                  <a:ext uri="{FF2B5EF4-FFF2-40B4-BE49-F238E27FC236}">
                    <a16:creationId xmlns:a16="http://schemas.microsoft.com/office/drawing/2014/main" id="{4754361A-1C09-4659-7DCC-03A063B2084C}"/>
                  </a:ext>
                </a:extLst>
              </p:cNvPr>
              <p:cNvSpPr/>
              <p:nvPr/>
            </p:nvSpPr>
            <p:spPr>
              <a:xfrm>
                <a:off x="6403794" y="4238383"/>
                <a:ext cx="112959" cy="141145"/>
              </a:xfrm>
              <a:custGeom>
                <a:avLst/>
                <a:gdLst>
                  <a:gd name="connsiteX0" fmla="*/ 52899 w 112959"/>
                  <a:gd name="connsiteY0" fmla="*/ 141117 h 141145"/>
                  <a:gd name="connsiteX1" fmla="*/ 48830 w 112959"/>
                  <a:gd name="connsiteY1" fmla="*/ 140466 h 141145"/>
                  <a:gd name="connsiteX2" fmla="*/ 0 w 112959"/>
                  <a:gd name="connsiteY2" fmla="*/ 81382 h 141145"/>
                  <a:gd name="connsiteX3" fmla="*/ 0 w 112959"/>
                  <a:gd name="connsiteY3" fmla="*/ 34669 h 141145"/>
                  <a:gd name="connsiteX4" fmla="*/ 8139 w 112959"/>
                  <a:gd name="connsiteY4" fmla="*/ 22624 h 141145"/>
                  <a:gd name="connsiteX5" fmla="*/ 55991 w 112959"/>
                  <a:gd name="connsiteY5" fmla="*/ 0 h 141145"/>
                  <a:gd name="connsiteX6" fmla="*/ 104821 w 112959"/>
                  <a:gd name="connsiteY6" fmla="*/ 22787 h 141145"/>
                  <a:gd name="connsiteX7" fmla="*/ 112959 w 112959"/>
                  <a:gd name="connsiteY7" fmla="*/ 34669 h 141145"/>
                  <a:gd name="connsiteX8" fmla="*/ 112959 w 112959"/>
                  <a:gd name="connsiteY8" fmla="*/ 81627 h 141145"/>
                  <a:gd name="connsiteX9" fmla="*/ 57212 w 112959"/>
                  <a:gd name="connsiteY9" fmla="*/ 140710 h 141145"/>
                  <a:gd name="connsiteX10" fmla="*/ 52899 w 112959"/>
                  <a:gd name="connsiteY10" fmla="*/ 141117 h 141145"/>
                  <a:gd name="connsiteX11" fmla="*/ 56073 w 112959"/>
                  <a:gd name="connsiteY11" fmla="*/ 13265 h 141145"/>
                  <a:gd name="connsiteX12" fmla="*/ 12452 w 112959"/>
                  <a:gd name="connsiteY12" fmla="*/ 33855 h 141145"/>
                  <a:gd name="connsiteX13" fmla="*/ 12045 w 112959"/>
                  <a:gd name="connsiteY13" fmla="*/ 34425 h 141145"/>
                  <a:gd name="connsiteX14" fmla="*/ 12045 w 112959"/>
                  <a:gd name="connsiteY14" fmla="*/ 81301 h 141145"/>
                  <a:gd name="connsiteX15" fmla="*/ 52736 w 112959"/>
                  <a:gd name="connsiteY15" fmla="*/ 128910 h 141145"/>
                  <a:gd name="connsiteX16" fmla="*/ 100345 w 112959"/>
                  <a:gd name="connsiteY16" fmla="*/ 81382 h 141145"/>
                  <a:gd name="connsiteX17" fmla="*/ 100345 w 112959"/>
                  <a:gd name="connsiteY17" fmla="*/ 34262 h 141145"/>
                  <a:gd name="connsiteX18" fmla="*/ 99612 w 112959"/>
                  <a:gd name="connsiteY18" fmla="*/ 33530 h 141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2959" h="141145">
                    <a:moveTo>
                      <a:pt x="52899" y="141117"/>
                    </a:moveTo>
                    <a:cubicBezTo>
                      <a:pt x="51518" y="141100"/>
                      <a:pt x="50147" y="140880"/>
                      <a:pt x="48830" y="140466"/>
                    </a:cubicBezTo>
                    <a:cubicBezTo>
                      <a:pt x="43377" y="138594"/>
                      <a:pt x="0" y="109866"/>
                      <a:pt x="0" y="81382"/>
                    </a:cubicBezTo>
                    <a:lnTo>
                      <a:pt x="0" y="34669"/>
                    </a:lnTo>
                    <a:cubicBezTo>
                      <a:pt x="-35" y="29359"/>
                      <a:pt x="3199" y="24573"/>
                      <a:pt x="8139" y="22624"/>
                    </a:cubicBezTo>
                    <a:lnTo>
                      <a:pt x="55991" y="0"/>
                    </a:lnTo>
                    <a:lnTo>
                      <a:pt x="104821" y="22787"/>
                    </a:lnTo>
                    <a:cubicBezTo>
                      <a:pt x="109766" y="24638"/>
                      <a:pt x="113020" y="29390"/>
                      <a:pt x="112959" y="34669"/>
                    </a:cubicBezTo>
                    <a:lnTo>
                      <a:pt x="112959" y="81627"/>
                    </a:lnTo>
                    <a:cubicBezTo>
                      <a:pt x="112959" y="110924"/>
                      <a:pt x="61037" y="139408"/>
                      <a:pt x="57212" y="140710"/>
                    </a:cubicBezTo>
                    <a:cubicBezTo>
                      <a:pt x="55805" y="141073"/>
                      <a:pt x="54349" y="141210"/>
                      <a:pt x="52899" y="141117"/>
                    </a:cubicBezTo>
                    <a:close/>
                    <a:moveTo>
                      <a:pt x="56073" y="13265"/>
                    </a:moveTo>
                    <a:lnTo>
                      <a:pt x="12452" y="33855"/>
                    </a:lnTo>
                    <a:cubicBezTo>
                      <a:pt x="12202" y="33929"/>
                      <a:pt x="12034" y="34164"/>
                      <a:pt x="12045" y="34425"/>
                    </a:cubicBezTo>
                    <a:lnTo>
                      <a:pt x="12045" y="81301"/>
                    </a:lnTo>
                    <a:cubicBezTo>
                      <a:pt x="12045" y="100751"/>
                      <a:pt x="46470" y="126224"/>
                      <a:pt x="52736" y="128910"/>
                    </a:cubicBezTo>
                    <a:cubicBezTo>
                      <a:pt x="60305" y="125980"/>
                      <a:pt x="100345" y="100019"/>
                      <a:pt x="100345" y="81382"/>
                    </a:cubicBezTo>
                    <a:lnTo>
                      <a:pt x="100345" y="34262"/>
                    </a:lnTo>
                    <a:lnTo>
                      <a:pt x="99612" y="33530"/>
                    </a:ln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02" name="Freihandform 101">
                <a:extLst>
                  <a:ext uri="{FF2B5EF4-FFF2-40B4-BE49-F238E27FC236}">
                    <a16:creationId xmlns:a16="http://schemas.microsoft.com/office/drawing/2014/main" id="{71EA04EB-F3EB-3630-8F30-11DCC34D0B8A}"/>
                  </a:ext>
                </a:extLst>
              </p:cNvPr>
              <p:cNvSpPr/>
              <p:nvPr/>
            </p:nvSpPr>
            <p:spPr>
              <a:xfrm>
                <a:off x="6460342" y="4271736"/>
                <a:ext cx="33787" cy="47866"/>
              </a:xfrm>
              <a:custGeom>
                <a:avLst/>
                <a:gdLst>
                  <a:gd name="connsiteX0" fmla="*/ 27684 w 33787"/>
                  <a:gd name="connsiteY0" fmla="*/ 47867 h 47866"/>
                  <a:gd name="connsiteX1" fmla="*/ 21580 w 33787"/>
                  <a:gd name="connsiteY1" fmla="*/ 41763 h 47866"/>
                  <a:gd name="connsiteX2" fmla="*/ 21580 w 33787"/>
                  <a:gd name="connsiteY2" fmla="*/ 19790 h 47866"/>
                  <a:gd name="connsiteX3" fmla="*/ 3513 w 33787"/>
                  <a:gd name="connsiteY3" fmla="*/ 11652 h 47866"/>
                  <a:gd name="connsiteX4" fmla="*/ 584 w 33787"/>
                  <a:gd name="connsiteY4" fmla="*/ 3513 h 47866"/>
                  <a:gd name="connsiteX5" fmla="*/ 8722 w 33787"/>
                  <a:gd name="connsiteY5" fmla="*/ 584 h 47866"/>
                  <a:gd name="connsiteX6" fmla="*/ 33788 w 33787"/>
                  <a:gd name="connsiteY6" fmla="*/ 12384 h 47866"/>
                  <a:gd name="connsiteX7" fmla="*/ 33788 w 33787"/>
                  <a:gd name="connsiteY7" fmla="*/ 42089 h 47866"/>
                  <a:gd name="connsiteX8" fmla="*/ 27684 w 33787"/>
                  <a:gd name="connsiteY8" fmla="*/ 47867 h 47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787" h="47866">
                    <a:moveTo>
                      <a:pt x="27684" y="47867"/>
                    </a:moveTo>
                    <a:cubicBezTo>
                      <a:pt x="24313" y="47867"/>
                      <a:pt x="21580" y="45134"/>
                      <a:pt x="21580" y="41763"/>
                    </a:cubicBezTo>
                    <a:lnTo>
                      <a:pt x="21580" y="19790"/>
                    </a:lnTo>
                    <a:lnTo>
                      <a:pt x="3513" y="11652"/>
                    </a:lnTo>
                    <a:cubicBezTo>
                      <a:pt x="457" y="10214"/>
                      <a:pt x="-854" y="6570"/>
                      <a:pt x="584" y="3513"/>
                    </a:cubicBezTo>
                    <a:cubicBezTo>
                      <a:pt x="2022" y="457"/>
                      <a:pt x="5665" y="-854"/>
                      <a:pt x="8722" y="584"/>
                    </a:cubicBezTo>
                    <a:lnTo>
                      <a:pt x="33788" y="12384"/>
                    </a:lnTo>
                    <a:lnTo>
                      <a:pt x="33788" y="42089"/>
                    </a:lnTo>
                    <a:cubicBezTo>
                      <a:pt x="33575" y="45314"/>
                      <a:pt x="30916" y="47831"/>
                      <a:pt x="27684" y="4786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9A101959-5D05-710E-FD0A-A853F0C815A0}"/>
                </a:ext>
              </a:extLst>
            </p:cNvPr>
            <p:cNvGrpSpPr/>
            <p:nvPr/>
          </p:nvGrpSpPr>
          <p:grpSpPr>
            <a:xfrm>
              <a:off x="6313235" y="4598808"/>
              <a:ext cx="269701" cy="404633"/>
              <a:chOff x="6313235" y="4598808"/>
              <a:chExt cx="269701" cy="404633"/>
            </a:xfrm>
          </p:grpSpPr>
          <p:sp>
            <p:nvSpPr>
              <p:cNvPr id="104" name="Freihandform 103">
                <a:extLst>
                  <a:ext uri="{FF2B5EF4-FFF2-40B4-BE49-F238E27FC236}">
                    <a16:creationId xmlns:a16="http://schemas.microsoft.com/office/drawing/2014/main" id="{BE081111-15DB-9D00-677C-11744BA9B91B}"/>
                  </a:ext>
                </a:extLst>
              </p:cNvPr>
              <p:cNvSpPr/>
              <p:nvPr/>
            </p:nvSpPr>
            <p:spPr>
              <a:xfrm>
                <a:off x="6313235" y="4598808"/>
                <a:ext cx="269701" cy="343027"/>
              </a:xfrm>
              <a:custGeom>
                <a:avLst/>
                <a:gdLst>
                  <a:gd name="connsiteX0" fmla="*/ 135339 w 269701"/>
                  <a:gd name="connsiteY0" fmla="*/ 343027 h 343027"/>
                  <a:gd name="connsiteX1" fmla="*/ 127201 w 269701"/>
                  <a:gd name="connsiteY1" fmla="*/ 340342 h 343027"/>
                  <a:gd name="connsiteX2" fmla="*/ 64048 w 269701"/>
                  <a:gd name="connsiteY2" fmla="*/ 278735 h 343027"/>
                  <a:gd name="connsiteX3" fmla="*/ 0 w 269701"/>
                  <a:gd name="connsiteY3" fmla="*/ 134200 h 343027"/>
                  <a:gd name="connsiteX4" fmla="*/ 135339 w 269701"/>
                  <a:gd name="connsiteY4" fmla="*/ 1 h 343027"/>
                  <a:gd name="connsiteX5" fmla="*/ 135339 w 269701"/>
                  <a:gd name="connsiteY5" fmla="*/ 1 h 343027"/>
                  <a:gd name="connsiteX6" fmla="*/ 269701 w 269701"/>
                  <a:gd name="connsiteY6" fmla="*/ 134200 h 343027"/>
                  <a:gd name="connsiteX7" fmla="*/ 206060 w 269701"/>
                  <a:gd name="connsiteY7" fmla="*/ 278654 h 343027"/>
                  <a:gd name="connsiteX8" fmla="*/ 143477 w 269701"/>
                  <a:gd name="connsiteY8" fmla="*/ 340260 h 343027"/>
                  <a:gd name="connsiteX9" fmla="*/ 135339 w 269701"/>
                  <a:gd name="connsiteY9" fmla="*/ 343027 h 343027"/>
                  <a:gd name="connsiteX10" fmla="*/ 135339 w 269701"/>
                  <a:gd name="connsiteY10" fmla="*/ 12208 h 343027"/>
                  <a:gd name="connsiteX11" fmla="*/ 12207 w 269701"/>
                  <a:gd name="connsiteY11" fmla="*/ 134282 h 343027"/>
                  <a:gd name="connsiteX12" fmla="*/ 73732 w 269701"/>
                  <a:gd name="connsiteY12" fmla="*/ 270841 h 343027"/>
                  <a:gd name="connsiteX13" fmla="*/ 134932 w 269701"/>
                  <a:gd name="connsiteY13" fmla="*/ 330657 h 343027"/>
                  <a:gd name="connsiteX14" fmla="*/ 136153 w 269701"/>
                  <a:gd name="connsiteY14" fmla="*/ 330657 h 343027"/>
                  <a:gd name="connsiteX15" fmla="*/ 196864 w 269701"/>
                  <a:gd name="connsiteY15" fmla="*/ 270841 h 343027"/>
                  <a:gd name="connsiteX16" fmla="*/ 257657 w 269701"/>
                  <a:gd name="connsiteY16" fmla="*/ 134200 h 343027"/>
                  <a:gd name="connsiteX17" fmla="*/ 135583 w 269701"/>
                  <a:gd name="connsiteY17" fmla="*/ 12127 h 343027"/>
                  <a:gd name="connsiteX18" fmla="*/ 135339 w 269701"/>
                  <a:gd name="connsiteY18" fmla="*/ 190761 h 343027"/>
                  <a:gd name="connsiteX19" fmla="*/ 74139 w 269701"/>
                  <a:gd name="connsiteY19" fmla="*/ 130131 h 343027"/>
                  <a:gd name="connsiteX20" fmla="*/ 139637 w 269701"/>
                  <a:gd name="connsiteY20" fmla="*/ 73555 h 343027"/>
                  <a:gd name="connsiteX21" fmla="*/ 196213 w 269701"/>
                  <a:gd name="connsiteY21" fmla="*/ 130131 h 343027"/>
                  <a:gd name="connsiteX22" fmla="*/ 135420 w 269701"/>
                  <a:gd name="connsiteY22" fmla="*/ 190761 h 343027"/>
                  <a:gd name="connsiteX23" fmla="*/ 135339 w 269701"/>
                  <a:gd name="connsiteY23" fmla="*/ 81709 h 343027"/>
                  <a:gd name="connsiteX24" fmla="*/ 86509 w 269701"/>
                  <a:gd name="connsiteY24" fmla="*/ 129227 h 343027"/>
                  <a:gd name="connsiteX25" fmla="*/ 86509 w 269701"/>
                  <a:gd name="connsiteY25" fmla="*/ 130538 h 343027"/>
                  <a:gd name="connsiteX26" fmla="*/ 135339 w 269701"/>
                  <a:gd name="connsiteY26" fmla="*/ 179367 h 343027"/>
                  <a:gd name="connsiteX27" fmla="*/ 184168 w 269701"/>
                  <a:gd name="connsiteY27" fmla="*/ 130538 h 343027"/>
                  <a:gd name="connsiteX28" fmla="*/ 136649 w 269701"/>
                  <a:gd name="connsiteY28" fmla="*/ 81709 h 343027"/>
                  <a:gd name="connsiteX29" fmla="*/ 135420 w 269701"/>
                  <a:gd name="connsiteY29" fmla="*/ 81709 h 343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69701" h="343027">
                    <a:moveTo>
                      <a:pt x="135339" y="343027"/>
                    </a:moveTo>
                    <a:cubicBezTo>
                      <a:pt x="132403" y="343057"/>
                      <a:pt x="129541" y="342113"/>
                      <a:pt x="127201" y="340342"/>
                    </a:cubicBezTo>
                    <a:cubicBezTo>
                      <a:pt x="104201" y="321904"/>
                      <a:pt x="83050" y="301271"/>
                      <a:pt x="64048" y="278735"/>
                    </a:cubicBezTo>
                    <a:cubicBezTo>
                      <a:pt x="21648" y="228278"/>
                      <a:pt x="0" y="179611"/>
                      <a:pt x="0" y="134200"/>
                    </a:cubicBezTo>
                    <a:cubicBezTo>
                      <a:pt x="403" y="59806"/>
                      <a:pt x="60945" y="-225"/>
                      <a:pt x="135339" y="1"/>
                    </a:cubicBezTo>
                    <a:lnTo>
                      <a:pt x="135339" y="1"/>
                    </a:lnTo>
                    <a:cubicBezTo>
                      <a:pt x="209463" y="45"/>
                      <a:pt x="269567" y="60076"/>
                      <a:pt x="269701" y="134200"/>
                    </a:cubicBezTo>
                    <a:cubicBezTo>
                      <a:pt x="269701" y="179611"/>
                      <a:pt x="248298" y="228197"/>
                      <a:pt x="206060" y="278654"/>
                    </a:cubicBezTo>
                    <a:cubicBezTo>
                      <a:pt x="187269" y="301191"/>
                      <a:pt x="166307" y="321826"/>
                      <a:pt x="143477" y="340260"/>
                    </a:cubicBezTo>
                    <a:cubicBezTo>
                      <a:pt x="141153" y="342072"/>
                      <a:pt x="138286" y="343046"/>
                      <a:pt x="135339" y="343027"/>
                    </a:cubicBezTo>
                    <a:close/>
                    <a:moveTo>
                      <a:pt x="135339" y="12208"/>
                    </a:moveTo>
                    <a:cubicBezTo>
                      <a:pt x="67655" y="11983"/>
                      <a:pt x="12566" y="66598"/>
                      <a:pt x="12207" y="134282"/>
                    </a:cubicBezTo>
                    <a:cubicBezTo>
                      <a:pt x="12207" y="176682"/>
                      <a:pt x="33041" y="222581"/>
                      <a:pt x="73732" y="270841"/>
                    </a:cubicBezTo>
                    <a:cubicBezTo>
                      <a:pt x="92181" y="292683"/>
                      <a:pt x="112674" y="312712"/>
                      <a:pt x="134932" y="330657"/>
                    </a:cubicBezTo>
                    <a:cubicBezTo>
                      <a:pt x="135305" y="330893"/>
                      <a:pt x="135780" y="330893"/>
                      <a:pt x="136153" y="330657"/>
                    </a:cubicBezTo>
                    <a:cubicBezTo>
                      <a:pt x="158250" y="312699"/>
                      <a:pt x="178581" y="292670"/>
                      <a:pt x="196864" y="270841"/>
                    </a:cubicBezTo>
                    <a:cubicBezTo>
                      <a:pt x="237555" y="222663"/>
                      <a:pt x="257657" y="176682"/>
                      <a:pt x="257657" y="134200"/>
                    </a:cubicBezTo>
                    <a:cubicBezTo>
                      <a:pt x="257657" y="66781"/>
                      <a:pt x="203003" y="12127"/>
                      <a:pt x="135583" y="12127"/>
                    </a:cubicBezTo>
                    <a:close/>
                    <a:moveTo>
                      <a:pt x="135339" y="190761"/>
                    </a:moveTo>
                    <a:cubicBezTo>
                      <a:pt x="101706" y="190896"/>
                      <a:pt x="74318" y="163764"/>
                      <a:pt x="74139" y="130131"/>
                    </a:cubicBezTo>
                    <a:cubicBezTo>
                      <a:pt x="76603" y="96422"/>
                      <a:pt x="105927" y="71091"/>
                      <a:pt x="139637" y="73555"/>
                    </a:cubicBezTo>
                    <a:cubicBezTo>
                      <a:pt x="169919" y="75768"/>
                      <a:pt x="194000" y="99849"/>
                      <a:pt x="196213" y="130131"/>
                    </a:cubicBezTo>
                    <a:cubicBezTo>
                      <a:pt x="196034" y="163605"/>
                      <a:pt x="168894" y="190672"/>
                      <a:pt x="135420" y="190761"/>
                    </a:cubicBezTo>
                    <a:close/>
                    <a:moveTo>
                      <a:pt x="135339" y="81709"/>
                    </a:moveTo>
                    <a:cubicBezTo>
                      <a:pt x="108733" y="81346"/>
                      <a:pt x="86872" y="102621"/>
                      <a:pt x="86509" y="129227"/>
                    </a:cubicBezTo>
                    <a:cubicBezTo>
                      <a:pt x="86504" y="129664"/>
                      <a:pt x="86504" y="130101"/>
                      <a:pt x="86509" y="130538"/>
                    </a:cubicBezTo>
                    <a:cubicBezTo>
                      <a:pt x="86509" y="157506"/>
                      <a:pt x="108371" y="179367"/>
                      <a:pt x="135339" y="179367"/>
                    </a:cubicBezTo>
                    <a:cubicBezTo>
                      <a:pt x="162307" y="179367"/>
                      <a:pt x="184168" y="157506"/>
                      <a:pt x="184168" y="130538"/>
                    </a:cubicBezTo>
                    <a:cubicBezTo>
                      <a:pt x="184530" y="103932"/>
                      <a:pt x="163255" y="82071"/>
                      <a:pt x="136649" y="81709"/>
                    </a:cubicBezTo>
                    <a:cubicBezTo>
                      <a:pt x="136239" y="81704"/>
                      <a:pt x="135830" y="81704"/>
                      <a:pt x="135420" y="81709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05" name="Freihandform 104">
                <a:extLst>
                  <a:ext uri="{FF2B5EF4-FFF2-40B4-BE49-F238E27FC236}">
                    <a16:creationId xmlns:a16="http://schemas.microsoft.com/office/drawing/2014/main" id="{2DD0EED9-4FB5-2BFF-A941-E9117901078E}"/>
                  </a:ext>
                </a:extLst>
              </p:cNvPr>
              <p:cNvSpPr/>
              <p:nvPr/>
            </p:nvSpPr>
            <p:spPr>
              <a:xfrm>
                <a:off x="6313235" y="4598808"/>
                <a:ext cx="269701" cy="343027"/>
              </a:xfrm>
              <a:custGeom>
                <a:avLst/>
                <a:gdLst>
                  <a:gd name="connsiteX0" fmla="*/ 135339 w 269701"/>
                  <a:gd name="connsiteY0" fmla="*/ 343027 h 343027"/>
                  <a:gd name="connsiteX1" fmla="*/ 127201 w 269701"/>
                  <a:gd name="connsiteY1" fmla="*/ 340342 h 343027"/>
                  <a:gd name="connsiteX2" fmla="*/ 64048 w 269701"/>
                  <a:gd name="connsiteY2" fmla="*/ 278735 h 343027"/>
                  <a:gd name="connsiteX3" fmla="*/ 0 w 269701"/>
                  <a:gd name="connsiteY3" fmla="*/ 134200 h 343027"/>
                  <a:gd name="connsiteX4" fmla="*/ 135339 w 269701"/>
                  <a:gd name="connsiteY4" fmla="*/ 1 h 343027"/>
                  <a:gd name="connsiteX5" fmla="*/ 135339 w 269701"/>
                  <a:gd name="connsiteY5" fmla="*/ 1 h 343027"/>
                  <a:gd name="connsiteX6" fmla="*/ 269701 w 269701"/>
                  <a:gd name="connsiteY6" fmla="*/ 134200 h 343027"/>
                  <a:gd name="connsiteX7" fmla="*/ 206060 w 269701"/>
                  <a:gd name="connsiteY7" fmla="*/ 278654 h 343027"/>
                  <a:gd name="connsiteX8" fmla="*/ 143477 w 269701"/>
                  <a:gd name="connsiteY8" fmla="*/ 340260 h 343027"/>
                  <a:gd name="connsiteX9" fmla="*/ 135339 w 269701"/>
                  <a:gd name="connsiteY9" fmla="*/ 343027 h 343027"/>
                  <a:gd name="connsiteX10" fmla="*/ 135339 w 269701"/>
                  <a:gd name="connsiteY10" fmla="*/ 12208 h 343027"/>
                  <a:gd name="connsiteX11" fmla="*/ 12207 w 269701"/>
                  <a:gd name="connsiteY11" fmla="*/ 134282 h 343027"/>
                  <a:gd name="connsiteX12" fmla="*/ 73732 w 269701"/>
                  <a:gd name="connsiteY12" fmla="*/ 270841 h 343027"/>
                  <a:gd name="connsiteX13" fmla="*/ 134932 w 269701"/>
                  <a:gd name="connsiteY13" fmla="*/ 330657 h 343027"/>
                  <a:gd name="connsiteX14" fmla="*/ 136153 w 269701"/>
                  <a:gd name="connsiteY14" fmla="*/ 330657 h 343027"/>
                  <a:gd name="connsiteX15" fmla="*/ 196864 w 269701"/>
                  <a:gd name="connsiteY15" fmla="*/ 270841 h 343027"/>
                  <a:gd name="connsiteX16" fmla="*/ 257657 w 269701"/>
                  <a:gd name="connsiteY16" fmla="*/ 134200 h 343027"/>
                  <a:gd name="connsiteX17" fmla="*/ 135583 w 269701"/>
                  <a:gd name="connsiteY17" fmla="*/ 12127 h 343027"/>
                  <a:gd name="connsiteX18" fmla="*/ 135339 w 269701"/>
                  <a:gd name="connsiteY18" fmla="*/ 190761 h 343027"/>
                  <a:gd name="connsiteX19" fmla="*/ 74139 w 269701"/>
                  <a:gd name="connsiteY19" fmla="*/ 130131 h 343027"/>
                  <a:gd name="connsiteX20" fmla="*/ 139637 w 269701"/>
                  <a:gd name="connsiteY20" fmla="*/ 73555 h 343027"/>
                  <a:gd name="connsiteX21" fmla="*/ 196213 w 269701"/>
                  <a:gd name="connsiteY21" fmla="*/ 130131 h 343027"/>
                  <a:gd name="connsiteX22" fmla="*/ 135420 w 269701"/>
                  <a:gd name="connsiteY22" fmla="*/ 190761 h 343027"/>
                  <a:gd name="connsiteX23" fmla="*/ 135339 w 269701"/>
                  <a:gd name="connsiteY23" fmla="*/ 81709 h 343027"/>
                  <a:gd name="connsiteX24" fmla="*/ 86509 w 269701"/>
                  <a:gd name="connsiteY24" fmla="*/ 129227 h 343027"/>
                  <a:gd name="connsiteX25" fmla="*/ 86509 w 269701"/>
                  <a:gd name="connsiteY25" fmla="*/ 130538 h 343027"/>
                  <a:gd name="connsiteX26" fmla="*/ 135339 w 269701"/>
                  <a:gd name="connsiteY26" fmla="*/ 179367 h 343027"/>
                  <a:gd name="connsiteX27" fmla="*/ 184168 w 269701"/>
                  <a:gd name="connsiteY27" fmla="*/ 130538 h 343027"/>
                  <a:gd name="connsiteX28" fmla="*/ 136649 w 269701"/>
                  <a:gd name="connsiteY28" fmla="*/ 81709 h 343027"/>
                  <a:gd name="connsiteX29" fmla="*/ 135420 w 269701"/>
                  <a:gd name="connsiteY29" fmla="*/ 81709 h 343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69701" h="343027">
                    <a:moveTo>
                      <a:pt x="135339" y="343027"/>
                    </a:moveTo>
                    <a:cubicBezTo>
                      <a:pt x="132403" y="343057"/>
                      <a:pt x="129541" y="342113"/>
                      <a:pt x="127201" y="340342"/>
                    </a:cubicBezTo>
                    <a:cubicBezTo>
                      <a:pt x="104201" y="321904"/>
                      <a:pt x="83050" y="301271"/>
                      <a:pt x="64048" y="278735"/>
                    </a:cubicBezTo>
                    <a:cubicBezTo>
                      <a:pt x="21648" y="228278"/>
                      <a:pt x="0" y="179611"/>
                      <a:pt x="0" y="134200"/>
                    </a:cubicBezTo>
                    <a:cubicBezTo>
                      <a:pt x="403" y="59806"/>
                      <a:pt x="60945" y="-225"/>
                      <a:pt x="135339" y="1"/>
                    </a:cubicBezTo>
                    <a:lnTo>
                      <a:pt x="135339" y="1"/>
                    </a:lnTo>
                    <a:cubicBezTo>
                      <a:pt x="209463" y="45"/>
                      <a:pt x="269567" y="60076"/>
                      <a:pt x="269701" y="134200"/>
                    </a:cubicBezTo>
                    <a:cubicBezTo>
                      <a:pt x="269701" y="179611"/>
                      <a:pt x="248298" y="228197"/>
                      <a:pt x="206060" y="278654"/>
                    </a:cubicBezTo>
                    <a:cubicBezTo>
                      <a:pt x="187269" y="301191"/>
                      <a:pt x="166307" y="321826"/>
                      <a:pt x="143477" y="340260"/>
                    </a:cubicBezTo>
                    <a:cubicBezTo>
                      <a:pt x="141153" y="342072"/>
                      <a:pt x="138286" y="343046"/>
                      <a:pt x="135339" y="343027"/>
                    </a:cubicBezTo>
                    <a:close/>
                    <a:moveTo>
                      <a:pt x="135339" y="12208"/>
                    </a:moveTo>
                    <a:cubicBezTo>
                      <a:pt x="67655" y="11983"/>
                      <a:pt x="12566" y="66598"/>
                      <a:pt x="12207" y="134282"/>
                    </a:cubicBezTo>
                    <a:cubicBezTo>
                      <a:pt x="12207" y="176682"/>
                      <a:pt x="33041" y="222581"/>
                      <a:pt x="73732" y="270841"/>
                    </a:cubicBezTo>
                    <a:cubicBezTo>
                      <a:pt x="92181" y="292683"/>
                      <a:pt x="112674" y="312712"/>
                      <a:pt x="134932" y="330657"/>
                    </a:cubicBezTo>
                    <a:cubicBezTo>
                      <a:pt x="135305" y="330893"/>
                      <a:pt x="135780" y="330893"/>
                      <a:pt x="136153" y="330657"/>
                    </a:cubicBezTo>
                    <a:cubicBezTo>
                      <a:pt x="158250" y="312699"/>
                      <a:pt x="178581" y="292670"/>
                      <a:pt x="196864" y="270841"/>
                    </a:cubicBezTo>
                    <a:cubicBezTo>
                      <a:pt x="237555" y="222663"/>
                      <a:pt x="257657" y="176682"/>
                      <a:pt x="257657" y="134200"/>
                    </a:cubicBezTo>
                    <a:cubicBezTo>
                      <a:pt x="257657" y="66781"/>
                      <a:pt x="203003" y="12127"/>
                      <a:pt x="135583" y="12127"/>
                    </a:cubicBezTo>
                    <a:close/>
                    <a:moveTo>
                      <a:pt x="135339" y="190761"/>
                    </a:moveTo>
                    <a:cubicBezTo>
                      <a:pt x="101706" y="190896"/>
                      <a:pt x="74318" y="163764"/>
                      <a:pt x="74139" y="130131"/>
                    </a:cubicBezTo>
                    <a:cubicBezTo>
                      <a:pt x="76603" y="96422"/>
                      <a:pt x="105927" y="71091"/>
                      <a:pt x="139637" y="73555"/>
                    </a:cubicBezTo>
                    <a:cubicBezTo>
                      <a:pt x="169919" y="75768"/>
                      <a:pt x="194000" y="99849"/>
                      <a:pt x="196213" y="130131"/>
                    </a:cubicBezTo>
                    <a:cubicBezTo>
                      <a:pt x="196034" y="163605"/>
                      <a:pt x="168894" y="190672"/>
                      <a:pt x="135420" y="190761"/>
                    </a:cubicBezTo>
                    <a:close/>
                    <a:moveTo>
                      <a:pt x="135339" y="81709"/>
                    </a:moveTo>
                    <a:cubicBezTo>
                      <a:pt x="108733" y="81346"/>
                      <a:pt x="86872" y="102621"/>
                      <a:pt x="86509" y="129227"/>
                    </a:cubicBezTo>
                    <a:cubicBezTo>
                      <a:pt x="86504" y="129664"/>
                      <a:pt x="86504" y="130101"/>
                      <a:pt x="86509" y="130538"/>
                    </a:cubicBezTo>
                    <a:cubicBezTo>
                      <a:pt x="86509" y="157506"/>
                      <a:pt x="108371" y="179367"/>
                      <a:pt x="135339" y="179367"/>
                    </a:cubicBezTo>
                    <a:cubicBezTo>
                      <a:pt x="162307" y="179367"/>
                      <a:pt x="184168" y="157506"/>
                      <a:pt x="184168" y="130538"/>
                    </a:cubicBezTo>
                    <a:cubicBezTo>
                      <a:pt x="184530" y="103932"/>
                      <a:pt x="163255" y="82071"/>
                      <a:pt x="136649" y="81709"/>
                    </a:cubicBezTo>
                    <a:cubicBezTo>
                      <a:pt x="136239" y="81704"/>
                      <a:pt x="135830" y="81704"/>
                      <a:pt x="135420" y="81709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06" name="Freihandform 105">
                <a:extLst>
                  <a:ext uri="{FF2B5EF4-FFF2-40B4-BE49-F238E27FC236}">
                    <a16:creationId xmlns:a16="http://schemas.microsoft.com/office/drawing/2014/main" id="{05C560E5-438A-4B5C-7530-29184306EB7F}"/>
                  </a:ext>
                </a:extLst>
              </p:cNvPr>
              <p:cNvSpPr/>
              <p:nvPr/>
            </p:nvSpPr>
            <p:spPr>
              <a:xfrm>
                <a:off x="6338220" y="4896249"/>
                <a:ext cx="219976" cy="107192"/>
              </a:xfrm>
              <a:custGeom>
                <a:avLst/>
                <a:gdLst>
                  <a:gd name="connsiteX0" fmla="*/ 109459 w 219976"/>
                  <a:gd name="connsiteY0" fmla="*/ 107193 h 107192"/>
                  <a:gd name="connsiteX1" fmla="*/ 0 w 219976"/>
                  <a:gd name="connsiteY1" fmla="*/ 46156 h 107192"/>
                  <a:gd name="connsiteX2" fmla="*/ 32553 w 219976"/>
                  <a:gd name="connsiteY2" fmla="*/ 2535 h 107192"/>
                  <a:gd name="connsiteX3" fmla="*/ 40854 w 219976"/>
                  <a:gd name="connsiteY3" fmla="*/ 4977 h 107192"/>
                  <a:gd name="connsiteX4" fmla="*/ 38412 w 219976"/>
                  <a:gd name="connsiteY4" fmla="*/ 13278 h 107192"/>
                  <a:gd name="connsiteX5" fmla="*/ 12451 w 219976"/>
                  <a:gd name="connsiteY5" fmla="*/ 45830 h 107192"/>
                  <a:gd name="connsiteX6" fmla="*/ 110110 w 219976"/>
                  <a:gd name="connsiteY6" fmla="*/ 94660 h 107192"/>
                  <a:gd name="connsiteX7" fmla="*/ 207769 w 219976"/>
                  <a:gd name="connsiteY7" fmla="*/ 45830 h 107192"/>
                  <a:gd name="connsiteX8" fmla="*/ 179123 w 219976"/>
                  <a:gd name="connsiteY8" fmla="*/ 11568 h 107192"/>
                  <a:gd name="connsiteX9" fmla="*/ 176437 w 219976"/>
                  <a:gd name="connsiteY9" fmla="*/ 3349 h 107192"/>
                  <a:gd name="connsiteX10" fmla="*/ 184657 w 219976"/>
                  <a:gd name="connsiteY10" fmla="*/ 663 h 107192"/>
                  <a:gd name="connsiteX11" fmla="*/ 219977 w 219976"/>
                  <a:gd name="connsiteY11" fmla="*/ 45830 h 107192"/>
                  <a:gd name="connsiteX12" fmla="*/ 109459 w 219976"/>
                  <a:gd name="connsiteY12" fmla="*/ 107193 h 10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9976" h="107192">
                    <a:moveTo>
                      <a:pt x="109459" y="107193"/>
                    </a:moveTo>
                    <a:cubicBezTo>
                      <a:pt x="48097" y="107193"/>
                      <a:pt x="0" y="80418"/>
                      <a:pt x="0" y="46156"/>
                    </a:cubicBezTo>
                    <a:cubicBezTo>
                      <a:pt x="0" y="29880"/>
                      <a:pt x="11475" y="14010"/>
                      <a:pt x="32553" y="2535"/>
                    </a:cubicBezTo>
                    <a:cubicBezTo>
                      <a:pt x="35519" y="917"/>
                      <a:pt x="39236" y="2010"/>
                      <a:pt x="40854" y="4977"/>
                    </a:cubicBezTo>
                    <a:cubicBezTo>
                      <a:pt x="42472" y="7943"/>
                      <a:pt x="41379" y="11660"/>
                      <a:pt x="38412" y="13278"/>
                    </a:cubicBezTo>
                    <a:cubicBezTo>
                      <a:pt x="21648" y="22474"/>
                      <a:pt x="12451" y="34111"/>
                      <a:pt x="12451" y="45830"/>
                    </a:cubicBezTo>
                    <a:cubicBezTo>
                      <a:pt x="12451" y="72280"/>
                      <a:pt x="56968" y="94660"/>
                      <a:pt x="110110" y="94660"/>
                    </a:cubicBezTo>
                    <a:cubicBezTo>
                      <a:pt x="163253" y="94660"/>
                      <a:pt x="207769" y="72280"/>
                      <a:pt x="207769" y="45830"/>
                    </a:cubicBezTo>
                    <a:cubicBezTo>
                      <a:pt x="207769" y="33298"/>
                      <a:pt x="197352" y="20765"/>
                      <a:pt x="179123" y="11568"/>
                    </a:cubicBezTo>
                    <a:cubicBezTo>
                      <a:pt x="176111" y="10040"/>
                      <a:pt x="174909" y="6360"/>
                      <a:pt x="176437" y="3349"/>
                    </a:cubicBezTo>
                    <a:cubicBezTo>
                      <a:pt x="177965" y="338"/>
                      <a:pt x="181645" y="-865"/>
                      <a:pt x="184657" y="663"/>
                    </a:cubicBezTo>
                    <a:cubicBezTo>
                      <a:pt x="207444" y="12220"/>
                      <a:pt x="219977" y="28252"/>
                      <a:pt x="219977" y="45830"/>
                    </a:cubicBezTo>
                    <a:cubicBezTo>
                      <a:pt x="219000" y="80418"/>
                      <a:pt x="170822" y="107193"/>
                      <a:pt x="109459" y="107193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668670F1-1E13-B935-37B5-FD774AD1F80E}"/>
                </a:ext>
              </a:extLst>
            </p:cNvPr>
            <p:cNvGrpSpPr/>
            <p:nvPr/>
          </p:nvGrpSpPr>
          <p:grpSpPr>
            <a:xfrm>
              <a:off x="6293797" y="5120312"/>
              <a:ext cx="383962" cy="379778"/>
              <a:chOff x="6293797" y="5056812"/>
              <a:chExt cx="383962" cy="379778"/>
            </a:xfrm>
          </p:grpSpPr>
          <p:sp>
            <p:nvSpPr>
              <p:cNvPr id="108" name="Freihandform 107">
                <a:extLst>
                  <a:ext uri="{FF2B5EF4-FFF2-40B4-BE49-F238E27FC236}">
                    <a16:creationId xmlns:a16="http://schemas.microsoft.com/office/drawing/2014/main" id="{EBA4A187-9EB9-6A56-EA41-6F5B6B2AAE63}"/>
                  </a:ext>
                </a:extLst>
              </p:cNvPr>
              <p:cNvSpPr/>
              <p:nvPr/>
            </p:nvSpPr>
            <p:spPr>
              <a:xfrm>
                <a:off x="6385514" y="5171203"/>
                <a:ext cx="160893" cy="160730"/>
              </a:xfrm>
              <a:custGeom>
                <a:avLst/>
                <a:gdLst>
                  <a:gd name="connsiteX0" fmla="*/ 90253 w 160893"/>
                  <a:gd name="connsiteY0" fmla="*/ 160730 h 160730"/>
                  <a:gd name="connsiteX1" fmla="*/ 70803 w 160893"/>
                  <a:gd name="connsiteY1" fmla="*/ 160730 h 160730"/>
                  <a:gd name="connsiteX2" fmla="*/ 61525 w 160893"/>
                  <a:gd name="connsiteY2" fmla="*/ 152592 h 160730"/>
                  <a:gd name="connsiteX3" fmla="*/ 59409 w 160893"/>
                  <a:gd name="connsiteY3" fmla="*/ 140385 h 160730"/>
                  <a:gd name="connsiteX4" fmla="*/ 52817 w 160893"/>
                  <a:gd name="connsiteY4" fmla="*/ 137618 h 160730"/>
                  <a:gd name="connsiteX5" fmla="*/ 42807 w 160893"/>
                  <a:gd name="connsiteY5" fmla="*/ 144779 h 160730"/>
                  <a:gd name="connsiteX6" fmla="*/ 31088 w 160893"/>
                  <a:gd name="connsiteY6" fmla="*/ 144454 h 160730"/>
                  <a:gd name="connsiteX7" fmla="*/ 17334 w 160893"/>
                  <a:gd name="connsiteY7" fmla="*/ 130700 h 160730"/>
                  <a:gd name="connsiteX8" fmla="*/ 16358 w 160893"/>
                  <a:gd name="connsiteY8" fmla="*/ 118574 h 160730"/>
                  <a:gd name="connsiteX9" fmla="*/ 22950 w 160893"/>
                  <a:gd name="connsiteY9" fmla="*/ 108320 h 160730"/>
                  <a:gd name="connsiteX10" fmla="*/ 20183 w 160893"/>
                  <a:gd name="connsiteY10" fmla="*/ 101647 h 160730"/>
                  <a:gd name="connsiteX11" fmla="*/ 8138 w 160893"/>
                  <a:gd name="connsiteY11" fmla="*/ 99612 h 160730"/>
                  <a:gd name="connsiteX12" fmla="*/ 0 w 160893"/>
                  <a:gd name="connsiteY12" fmla="*/ 90334 h 160730"/>
                  <a:gd name="connsiteX13" fmla="*/ 0 w 160893"/>
                  <a:gd name="connsiteY13" fmla="*/ 71210 h 160730"/>
                  <a:gd name="connsiteX14" fmla="*/ 8138 w 160893"/>
                  <a:gd name="connsiteY14" fmla="*/ 61932 h 160730"/>
                  <a:gd name="connsiteX15" fmla="*/ 20264 w 160893"/>
                  <a:gd name="connsiteY15" fmla="*/ 59897 h 160730"/>
                  <a:gd name="connsiteX16" fmla="*/ 23031 w 160893"/>
                  <a:gd name="connsiteY16" fmla="*/ 53143 h 160730"/>
                  <a:gd name="connsiteX17" fmla="*/ 15870 w 160893"/>
                  <a:gd name="connsiteY17" fmla="*/ 43133 h 160730"/>
                  <a:gd name="connsiteX18" fmla="*/ 16928 w 160893"/>
                  <a:gd name="connsiteY18" fmla="*/ 30518 h 160730"/>
                  <a:gd name="connsiteX19" fmla="*/ 31088 w 160893"/>
                  <a:gd name="connsiteY19" fmla="*/ 17009 h 160730"/>
                  <a:gd name="connsiteX20" fmla="*/ 43214 w 160893"/>
                  <a:gd name="connsiteY20" fmla="*/ 16032 h 160730"/>
                  <a:gd name="connsiteX21" fmla="*/ 53143 w 160893"/>
                  <a:gd name="connsiteY21" fmla="*/ 23113 h 160730"/>
                  <a:gd name="connsiteX22" fmla="*/ 59816 w 160893"/>
                  <a:gd name="connsiteY22" fmla="*/ 20346 h 160730"/>
                  <a:gd name="connsiteX23" fmla="*/ 61932 w 160893"/>
                  <a:gd name="connsiteY23" fmla="*/ 8138 h 160730"/>
                  <a:gd name="connsiteX24" fmla="*/ 71210 w 160893"/>
                  <a:gd name="connsiteY24" fmla="*/ 0 h 160730"/>
                  <a:gd name="connsiteX25" fmla="*/ 90660 w 160893"/>
                  <a:gd name="connsiteY25" fmla="*/ 0 h 160730"/>
                  <a:gd name="connsiteX26" fmla="*/ 99938 w 160893"/>
                  <a:gd name="connsiteY26" fmla="*/ 8138 h 160730"/>
                  <a:gd name="connsiteX27" fmla="*/ 102053 w 160893"/>
                  <a:gd name="connsiteY27" fmla="*/ 20346 h 160730"/>
                  <a:gd name="connsiteX28" fmla="*/ 108645 w 160893"/>
                  <a:gd name="connsiteY28" fmla="*/ 23113 h 160730"/>
                  <a:gd name="connsiteX29" fmla="*/ 118574 w 160893"/>
                  <a:gd name="connsiteY29" fmla="*/ 16032 h 160730"/>
                  <a:gd name="connsiteX30" fmla="*/ 130700 w 160893"/>
                  <a:gd name="connsiteY30" fmla="*/ 17009 h 160730"/>
                  <a:gd name="connsiteX31" fmla="*/ 144047 w 160893"/>
                  <a:gd name="connsiteY31" fmla="*/ 30518 h 160730"/>
                  <a:gd name="connsiteX32" fmla="*/ 145023 w 160893"/>
                  <a:gd name="connsiteY32" fmla="*/ 42807 h 160730"/>
                  <a:gd name="connsiteX33" fmla="*/ 137862 w 160893"/>
                  <a:gd name="connsiteY33" fmla="*/ 52817 h 160730"/>
                  <a:gd name="connsiteX34" fmla="*/ 140629 w 160893"/>
                  <a:gd name="connsiteY34" fmla="*/ 59572 h 160730"/>
                  <a:gd name="connsiteX35" fmla="*/ 152755 w 160893"/>
                  <a:gd name="connsiteY35" fmla="*/ 61606 h 160730"/>
                  <a:gd name="connsiteX36" fmla="*/ 160893 w 160893"/>
                  <a:gd name="connsiteY36" fmla="*/ 70884 h 160730"/>
                  <a:gd name="connsiteX37" fmla="*/ 160893 w 160893"/>
                  <a:gd name="connsiteY37" fmla="*/ 90334 h 160730"/>
                  <a:gd name="connsiteX38" fmla="*/ 152755 w 160893"/>
                  <a:gd name="connsiteY38" fmla="*/ 99612 h 160730"/>
                  <a:gd name="connsiteX39" fmla="*/ 140629 w 160893"/>
                  <a:gd name="connsiteY39" fmla="*/ 101647 h 160730"/>
                  <a:gd name="connsiteX40" fmla="*/ 137862 w 160893"/>
                  <a:gd name="connsiteY40" fmla="*/ 108239 h 160730"/>
                  <a:gd name="connsiteX41" fmla="*/ 145023 w 160893"/>
                  <a:gd name="connsiteY41" fmla="*/ 118330 h 160730"/>
                  <a:gd name="connsiteX42" fmla="*/ 144047 w 160893"/>
                  <a:gd name="connsiteY42" fmla="*/ 130456 h 160730"/>
                  <a:gd name="connsiteX43" fmla="*/ 130293 w 160893"/>
                  <a:gd name="connsiteY43" fmla="*/ 144454 h 160730"/>
                  <a:gd name="connsiteX44" fmla="*/ 118167 w 160893"/>
                  <a:gd name="connsiteY44" fmla="*/ 145430 h 160730"/>
                  <a:gd name="connsiteX45" fmla="*/ 108157 w 160893"/>
                  <a:gd name="connsiteY45" fmla="*/ 138269 h 160730"/>
                  <a:gd name="connsiteX46" fmla="*/ 101647 w 160893"/>
                  <a:gd name="connsiteY46" fmla="*/ 140954 h 160730"/>
                  <a:gd name="connsiteX47" fmla="*/ 99531 w 160893"/>
                  <a:gd name="connsiteY47" fmla="*/ 153243 h 160730"/>
                  <a:gd name="connsiteX48" fmla="*/ 90253 w 160893"/>
                  <a:gd name="connsiteY48" fmla="*/ 160730 h 160730"/>
                  <a:gd name="connsiteX49" fmla="*/ 73163 w 160893"/>
                  <a:gd name="connsiteY49" fmla="*/ 148523 h 160730"/>
                  <a:gd name="connsiteX50" fmla="*/ 88056 w 160893"/>
                  <a:gd name="connsiteY50" fmla="*/ 148523 h 160730"/>
                  <a:gd name="connsiteX51" fmla="*/ 90985 w 160893"/>
                  <a:gd name="connsiteY51" fmla="*/ 131107 h 160730"/>
                  <a:gd name="connsiteX52" fmla="*/ 94729 w 160893"/>
                  <a:gd name="connsiteY52" fmla="*/ 130130 h 160730"/>
                  <a:gd name="connsiteX53" fmla="*/ 105878 w 160893"/>
                  <a:gd name="connsiteY53" fmla="*/ 125492 h 160730"/>
                  <a:gd name="connsiteX54" fmla="*/ 109297 w 160893"/>
                  <a:gd name="connsiteY54" fmla="*/ 123538 h 160730"/>
                  <a:gd name="connsiteX55" fmla="*/ 123538 w 160893"/>
                  <a:gd name="connsiteY55" fmla="*/ 133793 h 160730"/>
                  <a:gd name="connsiteX56" fmla="*/ 133955 w 160893"/>
                  <a:gd name="connsiteY56" fmla="*/ 123376 h 160730"/>
                  <a:gd name="connsiteX57" fmla="*/ 123701 w 160893"/>
                  <a:gd name="connsiteY57" fmla="*/ 108971 h 160730"/>
                  <a:gd name="connsiteX58" fmla="*/ 125654 w 160893"/>
                  <a:gd name="connsiteY58" fmla="*/ 105634 h 160730"/>
                  <a:gd name="connsiteX59" fmla="*/ 130293 w 160893"/>
                  <a:gd name="connsiteY59" fmla="*/ 94566 h 160730"/>
                  <a:gd name="connsiteX60" fmla="*/ 131270 w 160893"/>
                  <a:gd name="connsiteY60" fmla="*/ 90741 h 160730"/>
                  <a:gd name="connsiteX61" fmla="*/ 148604 w 160893"/>
                  <a:gd name="connsiteY61" fmla="*/ 87893 h 160730"/>
                  <a:gd name="connsiteX62" fmla="*/ 148604 w 160893"/>
                  <a:gd name="connsiteY62" fmla="*/ 73244 h 160730"/>
                  <a:gd name="connsiteX63" fmla="*/ 131270 w 160893"/>
                  <a:gd name="connsiteY63" fmla="*/ 70314 h 160730"/>
                  <a:gd name="connsiteX64" fmla="*/ 130293 w 160893"/>
                  <a:gd name="connsiteY64" fmla="*/ 66489 h 160730"/>
                  <a:gd name="connsiteX65" fmla="*/ 125654 w 160893"/>
                  <a:gd name="connsiteY65" fmla="*/ 55421 h 160730"/>
                  <a:gd name="connsiteX66" fmla="*/ 123701 w 160893"/>
                  <a:gd name="connsiteY66" fmla="*/ 52003 h 160730"/>
                  <a:gd name="connsiteX67" fmla="*/ 133955 w 160893"/>
                  <a:gd name="connsiteY67" fmla="*/ 37680 h 160730"/>
                  <a:gd name="connsiteX68" fmla="*/ 123538 w 160893"/>
                  <a:gd name="connsiteY68" fmla="*/ 27344 h 160730"/>
                  <a:gd name="connsiteX69" fmla="*/ 109215 w 160893"/>
                  <a:gd name="connsiteY69" fmla="*/ 37517 h 160730"/>
                  <a:gd name="connsiteX70" fmla="*/ 105878 w 160893"/>
                  <a:gd name="connsiteY70" fmla="*/ 35564 h 160730"/>
                  <a:gd name="connsiteX71" fmla="*/ 94729 w 160893"/>
                  <a:gd name="connsiteY71" fmla="*/ 30925 h 160730"/>
                  <a:gd name="connsiteX72" fmla="*/ 90985 w 160893"/>
                  <a:gd name="connsiteY72" fmla="*/ 29867 h 160730"/>
                  <a:gd name="connsiteX73" fmla="*/ 88056 w 160893"/>
                  <a:gd name="connsiteY73" fmla="*/ 12533 h 160730"/>
                  <a:gd name="connsiteX74" fmla="*/ 73163 w 160893"/>
                  <a:gd name="connsiteY74" fmla="*/ 12533 h 160730"/>
                  <a:gd name="connsiteX75" fmla="*/ 70152 w 160893"/>
                  <a:gd name="connsiteY75" fmla="*/ 29867 h 160730"/>
                  <a:gd name="connsiteX76" fmla="*/ 66489 w 160893"/>
                  <a:gd name="connsiteY76" fmla="*/ 30925 h 160730"/>
                  <a:gd name="connsiteX77" fmla="*/ 55340 w 160893"/>
                  <a:gd name="connsiteY77" fmla="*/ 35564 h 160730"/>
                  <a:gd name="connsiteX78" fmla="*/ 51922 w 160893"/>
                  <a:gd name="connsiteY78" fmla="*/ 37517 h 160730"/>
                  <a:gd name="connsiteX79" fmla="*/ 37599 w 160893"/>
                  <a:gd name="connsiteY79" fmla="*/ 27344 h 160730"/>
                  <a:gd name="connsiteX80" fmla="*/ 27263 w 160893"/>
                  <a:gd name="connsiteY80" fmla="*/ 37680 h 160730"/>
                  <a:gd name="connsiteX81" fmla="*/ 37436 w 160893"/>
                  <a:gd name="connsiteY81" fmla="*/ 52003 h 160730"/>
                  <a:gd name="connsiteX82" fmla="*/ 35483 w 160893"/>
                  <a:gd name="connsiteY82" fmla="*/ 55421 h 160730"/>
                  <a:gd name="connsiteX83" fmla="*/ 31088 w 160893"/>
                  <a:gd name="connsiteY83" fmla="*/ 66571 h 160730"/>
                  <a:gd name="connsiteX84" fmla="*/ 30030 w 160893"/>
                  <a:gd name="connsiteY84" fmla="*/ 70314 h 160730"/>
                  <a:gd name="connsiteX85" fmla="*/ 12777 w 160893"/>
                  <a:gd name="connsiteY85" fmla="*/ 73244 h 160730"/>
                  <a:gd name="connsiteX86" fmla="*/ 12777 w 160893"/>
                  <a:gd name="connsiteY86" fmla="*/ 87974 h 160730"/>
                  <a:gd name="connsiteX87" fmla="*/ 30030 w 160893"/>
                  <a:gd name="connsiteY87" fmla="*/ 90823 h 160730"/>
                  <a:gd name="connsiteX88" fmla="*/ 31088 w 160893"/>
                  <a:gd name="connsiteY88" fmla="*/ 94566 h 160730"/>
                  <a:gd name="connsiteX89" fmla="*/ 35727 w 160893"/>
                  <a:gd name="connsiteY89" fmla="*/ 105797 h 160730"/>
                  <a:gd name="connsiteX90" fmla="*/ 37680 w 160893"/>
                  <a:gd name="connsiteY90" fmla="*/ 109215 h 160730"/>
                  <a:gd name="connsiteX91" fmla="*/ 27507 w 160893"/>
                  <a:gd name="connsiteY91" fmla="*/ 123538 h 160730"/>
                  <a:gd name="connsiteX92" fmla="*/ 37924 w 160893"/>
                  <a:gd name="connsiteY92" fmla="*/ 133874 h 160730"/>
                  <a:gd name="connsiteX93" fmla="*/ 52166 w 160893"/>
                  <a:gd name="connsiteY93" fmla="*/ 123701 h 160730"/>
                  <a:gd name="connsiteX94" fmla="*/ 55584 w 160893"/>
                  <a:gd name="connsiteY94" fmla="*/ 125573 h 160730"/>
                  <a:gd name="connsiteX95" fmla="*/ 66734 w 160893"/>
                  <a:gd name="connsiteY95" fmla="*/ 130212 h 160730"/>
                  <a:gd name="connsiteX96" fmla="*/ 70396 w 160893"/>
                  <a:gd name="connsiteY96" fmla="*/ 131188 h 160730"/>
                  <a:gd name="connsiteX97" fmla="*/ 10173 w 160893"/>
                  <a:gd name="connsiteY97" fmla="*/ 87486 h 160730"/>
                  <a:gd name="connsiteX98" fmla="*/ 10173 w 160893"/>
                  <a:gd name="connsiteY98" fmla="*/ 87486 h 160730"/>
                  <a:gd name="connsiteX99" fmla="*/ 73488 w 160893"/>
                  <a:gd name="connsiteY99" fmla="*/ 10254 h 160730"/>
                  <a:gd name="connsiteX100" fmla="*/ 73488 w 160893"/>
                  <a:gd name="connsiteY100" fmla="*/ 10254 h 160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</a:cxnLst>
                <a:rect l="l" t="t" r="r" b="b"/>
                <a:pathLst>
                  <a:path w="160893" h="160730">
                    <a:moveTo>
                      <a:pt x="90253" y="160730"/>
                    </a:moveTo>
                    <a:lnTo>
                      <a:pt x="70803" y="160730"/>
                    </a:lnTo>
                    <a:cubicBezTo>
                      <a:pt x="66092" y="160766"/>
                      <a:pt x="62104" y="157267"/>
                      <a:pt x="61525" y="152592"/>
                    </a:cubicBezTo>
                    <a:lnTo>
                      <a:pt x="59409" y="140385"/>
                    </a:lnTo>
                    <a:cubicBezTo>
                      <a:pt x="57158" y="139596"/>
                      <a:pt x="54957" y="138672"/>
                      <a:pt x="52817" y="137618"/>
                    </a:cubicBezTo>
                    <a:lnTo>
                      <a:pt x="42807" y="144779"/>
                    </a:lnTo>
                    <a:cubicBezTo>
                      <a:pt x="39299" y="147403"/>
                      <a:pt x="34446" y="147269"/>
                      <a:pt x="31088" y="144454"/>
                    </a:cubicBezTo>
                    <a:lnTo>
                      <a:pt x="17334" y="130700"/>
                    </a:lnTo>
                    <a:cubicBezTo>
                      <a:pt x="14034" y="127465"/>
                      <a:pt x="13619" y="122295"/>
                      <a:pt x="16358" y="118574"/>
                    </a:cubicBezTo>
                    <a:lnTo>
                      <a:pt x="22950" y="108320"/>
                    </a:lnTo>
                    <a:cubicBezTo>
                      <a:pt x="21895" y="106153"/>
                      <a:pt x="20971" y="103924"/>
                      <a:pt x="20183" y="101647"/>
                    </a:cubicBezTo>
                    <a:lnTo>
                      <a:pt x="8138" y="99612"/>
                    </a:lnTo>
                    <a:cubicBezTo>
                      <a:pt x="3482" y="98999"/>
                      <a:pt x="1" y="95031"/>
                      <a:pt x="0" y="90334"/>
                    </a:cubicBezTo>
                    <a:lnTo>
                      <a:pt x="0" y="71210"/>
                    </a:lnTo>
                    <a:cubicBezTo>
                      <a:pt x="1" y="66513"/>
                      <a:pt x="3482" y="62545"/>
                      <a:pt x="8138" y="61932"/>
                    </a:cubicBezTo>
                    <a:lnTo>
                      <a:pt x="20264" y="59897"/>
                    </a:lnTo>
                    <a:cubicBezTo>
                      <a:pt x="21053" y="57593"/>
                      <a:pt x="21976" y="55338"/>
                      <a:pt x="23031" y="53143"/>
                    </a:cubicBezTo>
                    <a:lnTo>
                      <a:pt x="15870" y="43133"/>
                    </a:lnTo>
                    <a:cubicBezTo>
                      <a:pt x="12933" y="39279"/>
                      <a:pt x="13391" y="33829"/>
                      <a:pt x="16928" y="30518"/>
                    </a:cubicBezTo>
                    <a:lnTo>
                      <a:pt x="31088" y="17009"/>
                    </a:lnTo>
                    <a:cubicBezTo>
                      <a:pt x="34338" y="13742"/>
                      <a:pt x="39483" y="13328"/>
                      <a:pt x="43214" y="16032"/>
                    </a:cubicBezTo>
                    <a:lnTo>
                      <a:pt x="53143" y="23113"/>
                    </a:lnTo>
                    <a:cubicBezTo>
                      <a:pt x="55316" y="22073"/>
                      <a:pt x="57544" y="21149"/>
                      <a:pt x="59816" y="20346"/>
                    </a:cubicBezTo>
                    <a:lnTo>
                      <a:pt x="61932" y="8138"/>
                    </a:lnTo>
                    <a:cubicBezTo>
                      <a:pt x="62545" y="3482"/>
                      <a:pt x="66513" y="1"/>
                      <a:pt x="71210" y="0"/>
                    </a:cubicBezTo>
                    <a:lnTo>
                      <a:pt x="90660" y="0"/>
                    </a:lnTo>
                    <a:cubicBezTo>
                      <a:pt x="95330" y="70"/>
                      <a:pt x="99260" y="3517"/>
                      <a:pt x="99938" y="8138"/>
                    </a:cubicBezTo>
                    <a:lnTo>
                      <a:pt x="102053" y="20346"/>
                    </a:lnTo>
                    <a:cubicBezTo>
                      <a:pt x="104299" y="21149"/>
                      <a:pt x="106499" y="22073"/>
                      <a:pt x="108645" y="23113"/>
                    </a:cubicBezTo>
                    <a:lnTo>
                      <a:pt x="118574" y="16032"/>
                    </a:lnTo>
                    <a:cubicBezTo>
                      <a:pt x="122305" y="13328"/>
                      <a:pt x="127450" y="13742"/>
                      <a:pt x="130700" y="17009"/>
                    </a:cubicBezTo>
                    <a:lnTo>
                      <a:pt x="144047" y="30518"/>
                    </a:lnTo>
                    <a:cubicBezTo>
                      <a:pt x="147440" y="33775"/>
                      <a:pt x="147860" y="39055"/>
                      <a:pt x="145023" y="42807"/>
                    </a:cubicBezTo>
                    <a:lnTo>
                      <a:pt x="137862" y="52817"/>
                    </a:lnTo>
                    <a:cubicBezTo>
                      <a:pt x="138937" y="55003"/>
                      <a:pt x="139861" y="57260"/>
                      <a:pt x="140629" y="59572"/>
                    </a:cubicBezTo>
                    <a:lnTo>
                      <a:pt x="152755" y="61606"/>
                    </a:lnTo>
                    <a:cubicBezTo>
                      <a:pt x="157429" y="62185"/>
                      <a:pt x="160929" y="66174"/>
                      <a:pt x="160893" y="70884"/>
                    </a:cubicBezTo>
                    <a:lnTo>
                      <a:pt x="160893" y="90334"/>
                    </a:lnTo>
                    <a:cubicBezTo>
                      <a:pt x="160929" y="95045"/>
                      <a:pt x="157429" y="99033"/>
                      <a:pt x="152755" y="99612"/>
                    </a:cubicBezTo>
                    <a:lnTo>
                      <a:pt x="140629" y="101647"/>
                    </a:lnTo>
                    <a:cubicBezTo>
                      <a:pt x="139840" y="103898"/>
                      <a:pt x="138916" y="106099"/>
                      <a:pt x="137862" y="108239"/>
                    </a:cubicBezTo>
                    <a:lnTo>
                      <a:pt x="145023" y="118330"/>
                    </a:lnTo>
                    <a:cubicBezTo>
                      <a:pt x="147728" y="122061"/>
                      <a:pt x="147313" y="127206"/>
                      <a:pt x="144047" y="130456"/>
                    </a:cubicBezTo>
                    <a:lnTo>
                      <a:pt x="130293" y="144454"/>
                    </a:lnTo>
                    <a:cubicBezTo>
                      <a:pt x="127043" y="147720"/>
                      <a:pt x="121899" y="148135"/>
                      <a:pt x="118167" y="145430"/>
                    </a:cubicBezTo>
                    <a:lnTo>
                      <a:pt x="108157" y="138269"/>
                    </a:lnTo>
                    <a:cubicBezTo>
                      <a:pt x="106053" y="139316"/>
                      <a:pt x="103877" y="140214"/>
                      <a:pt x="101647" y="140954"/>
                    </a:cubicBezTo>
                    <a:lnTo>
                      <a:pt x="99531" y="153243"/>
                    </a:lnTo>
                    <a:cubicBezTo>
                      <a:pt x="98604" y="157623"/>
                      <a:pt x="94730" y="160750"/>
                      <a:pt x="90253" y="160730"/>
                    </a:cubicBezTo>
                    <a:close/>
                    <a:moveTo>
                      <a:pt x="73163" y="148523"/>
                    </a:moveTo>
                    <a:lnTo>
                      <a:pt x="88056" y="148523"/>
                    </a:lnTo>
                    <a:lnTo>
                      <a:pt x="90985" y="131107"/>
                    </a:lnTo>
                    <a:lnTo>
                      <a:pt x="94729" y="130130"/>
                    </a:lnTo>
                    <a:cubicBezTo>
                      <a:pt x="98608" y="129008"/>
                      <a:pt x="102348" y="127452"/>
                      <a:pt x="105878" y="125492"/>
                    </a:cubicBezTo>
                    <a:lnTo>
                      <a:pt x="109297" y="123538"/>
                    </a:lnTo>
                    <a:lnTo>
                      <a:pt x="123538" y="133793"/>
                    </a:lnTo>
                    <a:lnTo>
                      <a:pt x="133955" y="123376"/>
                    </a:lnTo>
                    <a:lnTo>
                      <a:pt x="123701" y="108971"/>
                    </a:lnTo>
                    <a:lnTo>
                      <a:pt x="125654" y="105634"/>
                    </a:lnTo>
                    <a:cubicBezTo>
                      <a:pt x="127682" y="102166"/>
                      <a:pt x="129242" y="98444"/>
                      <a:pt x="130293" y="94566"/>
                    </a:cubicBezTo>
                    <a:lnTo>
                      <a:pt x="131270" y="90741"/>
                    </a:lnTo>
                    <a:lnTo>
                      <a:pt x="148604" y="87893"/>
                    </a:lnTo>
                    <a:lnTo>
                      <a:pt x="148604" y="73244"/>
                    </a:lnTo>
                    <a:lnTo>
                      <a:pt x="131270" y="70314"/>
                    </a:lnTo>
                    <a:lnTo>
                      <a:pt x="130293" y="66489"/>
                    </a:lnTo>
                    <a:cubicBezTo>
                      <a:pt x="129226" y="62617"/>
                      <a:pt x="127668" y="58897"/>
                      <a:pt x="125654" y="55421"/>
                    </a:cubicBezTo>
                    <a:lnTo>
                      <a:pt x="123701" y="52003"/>
                    </a:lnTo>
                    <a:lnTo>
                      <a:pt x="133955" y="37680"/>
                    </a:lnTo>
                    <a:lnTo>
                      <a:pt x="123538" y="27344"/>
                    </a:lnTo>
                    <a:lnTo>
                      <a:pt x="109215" y="37517"/>
                    </a:lnTo>
                    <a:lnTo>
                      <a:pt x="105878" y="35564"/>
                    </a:lnTo>
                    <a:cubicBezTo>
                      <a:pt x="102348" y="33604"/>
                      <a:pt x="98608" y="32048"/>
                      <a:pt x="94729" y="30925"/>
                    </a:cubicBezTo>
                    <a:lnTo>
                      <a:pt x="90985" y="29867"/>
                    </a:lnTo>
                    <a:lnTo>
                      <a:pt x="88056" y="12533"/>
                    </a:lnTo>
                    <a:lnTo>
                      <a:pt x="73163" y="12533"/>
                    </a:lnTo>
                    <a:lnTo>
                      <a:pt x="70152" y="29867"/>
                    </a:lnTo>
                    <a:lnTo>
                      <a:pt x="66489" y="30925"/>
                    </a:lnTo>
                    <a:cubicBezTo>
                      <a:pt x="62600" y="32018"/>
                      <a:pt x="58857" y="33576"/>
                      <a:pt x="55340" y="35564"/>
                    </a:cubicBezTo>
                    <a:lnTo>
                      <a:pt x="51922" y="37517"/>
                    </a:lnTo>
                    <a:lnTo>
                      <a:pt x="37599" y="27344"/>
                    </a:lnTo>
                    <a:lnTo>
                      <a:pt x="27263" y="37680"/>
                    </a:lnTo>
                    <a:lnTo>
                      <a:pt x="37436" y="52003"/>
                    </a:lnTo>
                    <a:lnTo>
                      <a:pt x="35483" y="55421"/>
                    </a:lnTo>
                    <a:cubicBezTo>
                      <a:pt x="33573" y="58947"/>
                      <a:pt x="32097" y="62690"/>
                      <a:pt x="31088" y="66571"/>
                    </a:cubicBezTo>
                    <a:lnTo>
                      <a:pt x="30030" y="70314"/>
                    </a:lnTo>
                    <a:lnTo>
                      <a:pt x="12777" y="73244"/>
                    </a:lnTo>
                    <a:lnTo>
                      <a:pt x="12777" y="87974"/>
                    </a:lnTo>
                    <a:lnTo>
                      <a:pt x="30030" y="90823"/>
                    </a:lnTo>
                    <a:lnTo>
                      <a:pt x="31088" y="94566"/>
                    </a:lnTo>
                    <a:cubicBezTo>
                      <a:pt x="32195" y="98477"/>
                      <a:pt x="33752" y="102246"/>
                      <a:pt x="35727" y="105797"/>
                    </a:cubicBezTo>
                    <a:lnTo>
                      <a:pt x="37680" y="109215"/>
                    </a:lnTo>
                    <a:lnTo>
                      <a:pt x="27507" y="123538"/>
                    </a:lnTo>
                    <a:lnTo>
                      <a:pt x="37924" y="133874"/>
                    </a:lnTo>
                    <a:lnTo>
                      <a:pt x="52166" y="123701"/>
                    </a:lnTo>
                    <a:lnTo>
                      <a:pt x="55584" y="125573"/>
                    </a:lnTo>
                    <a:cubicBezTo>
                      <a:pt x="59101" y="127561"/>
                      <a:pt x="62844" y="129119"/>
                      <a:pt x="66734" y="130212"/>
                    </a:cubicBezTo>
                    <a:lnTo>
                      <a:pt x="70396" y="131188"/>
                    </a:lnTo>
                    <a:close/>
                    <a:moveTo>
                      <a:pt x="10173" y="87486"/>
                    </a:moveTo>
                    <a:lnTo>
                      <a:pt x="10173" y="87486"/>
                    </a:lnTo>
                    <a:close/>
                    <a:moveTo>
                      <a:pt x="73488" y="10254"/>
                    </a:moveTo>
                    <a:lnTo>
                      <a:pt x="73488" y="10254"/>
                    </a:ln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09" name="Freihandform 108">
                <a:extLst>
                  <a:ext uri="{FF2B5EF4-FFF2-40B4-BE49-F238E27FC236}">
                    <a16:creationId xmlns:a16="http://schemas.microsoft.com/office/drawing/2014/main" id="{BDF769D6-836F-A92A-D6BA-A22EB2F583F7}"/>
                  </a:ext>
                </a:extLst>
              </p:cNvPr>
              <p:cNvSpPr/>
              <p:nvPr/>
            </p:nvSpPr>
            <p:spPr>
              <a:xfrm>
                <a:off x="6428484" y="5214254"/>
                <a:ext cx="75034" cy="75034"/>
              </a:xfrm>
              <a:custGeom>
                <a:avLst/>
                <a:gdLst>
                  <a:gd name="connsiteX0" fmla="*/ 37517 w 75034"/>
                  <a:gd name="connsiteY0" fmla="*/ 75035 h 75034"/>
                  <a:gd name="connsiteX1" fmla="*/ 0 w 75034"/>
                  <a:gd name="connsiteY1" fmla="*/ 37517 h 75034"/>
                  <a:gd name="connsiteX2" fmla="*/ 37517 w 75034"/>
                  <a:gd name="connsiteY2" fmla="*/ 0 h 75034"/>
                  <a:gd name="connsiteX3" fmla="*/ 75035 w 75034"/>
                  <a:gd name="connsiteY3" fmla="*/ 37517 h 75034"/>
                  <a:gd name="connsiteX4" fmla="*/ 37517 w 75034"/>
                  <a:gd name="connsiteY4" fmla="*/ 75035 h 75034"/>
                  <a:gd name="connsiteX5" fmla="*/ 37517 w 75034"/>
                  <a:gd name="connsiteY5" fmla="*/ 12207 h 75034"/>
                  <a:gd name="connsiteX6" fmla="*/ 12207 w 75034"/>
                  <a:gd name="connsiteY6" fmla="*/ 37517 h 75034"/>
                  <a:gd name="connsiteX7" fmla="*/ 37517 w 75034"/>
                  <a:gd name="connsiteY7" fmla="*/ 62827 h 75034"/>
                  <a:gd name="connsiteX8" fmla="*/ 62827 w 75034"/>
                  <a:gd name="connsiteY8" fmla="*/ 37517 h 75034"/>
                  <a:gd name="connsiteX9" fmla="*/ 37845 w 75034"/>
                  <a:gd name="connsiteY9" fmla="*/ 11884 h 75034"/>
                  <a:gd name="connsiteX10" fmla="*/ 37517 w 75034"/>
                  <a:gd name="connsiteY10" fmla="*/ 11882 h 75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5034" h="75034">
                    <a:moveTo>
                      <a:pt x="37517" y="75035"/>
                    </a:moveTo>
                    <a:cubicBezTo>
                      <a:pt x="16797" y="75035"/>
                      <a:pt x="0" y="58237"/>
                      <a:pt x="0" y="37517"/>
                    </a:cubicBezTo>
                    <a:cubicBezTo>
                      <a:pt x="0" y="16797"/>
                      <a:pt x="16797" y="0"/>
                      <a:pt x="37517" y="0"/>
                    </a:cubicBezTo>
                    <a:cubicBezTo>
                      <a:pt x="58237" y="0"/>
                      <a:pt x="75035" y="16797"/>
                      <a:pt x="75035" y="37517"/>
                    </a:cubicBezTo>
                    <a:cubicBezTo>
                      <a:pt x="75035" y="58237"/>
                      <a:pt x="58237" y="75035"/>
                      <a:pt x="37517" y="75035"/>
                    </a:cubicBezTo>
                    <a:close/>
                    <a:moveTo>
                      <a:pt x="37517" y="12207"/>
                    </a:moveTo>
                    <a:cubicBezTo>
                      <a:pt x="23539" y="12207"/>
                      <a:pt x="12207" y="23539"/>
                      <a:pt x="12207" y="37517"/>
                    </a:cubicBezTo>
                    <a:cubicBezTo>
                      <a:pt x="12207" y="51495"/>
                      <a:pt x="23539" y="62827"/>
                      <a:pt x="37517" y="62827"/>
                    </a:cubicBezTo>
                    <a:cubicBezTo>
                      <a:pt x="51496" y="62827"/>
                      <a:pt x="62827" y="51495"/>
                      <a:pt x="62827" y="37517"/>
                    </a:cubicBezTo>
                    <a:cubicBezTo>
                      <a:pt x="63007" y="23540"/>
                      <a:pt x="51822" y="12064"/>
                      <a:pt x="37845" y="11884"/>
                    </a:cubicBezTo>
                    <a:cubicBezTo>
                      <a:pt x="37735" y="11883"/>
                      <a:pt x="37626" y="11882"/>
                      <a:pt x="37517" y="11882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10" name="Freihandform 109">
                <a:extLst>
                  <a:ext uri="{FF2B5EF4-FFF2-40B4-BE49-F238E27FC236}">
                    <a16:creationId xmlns:a16="http://schemas.microsoft.com/office/drawing/2014/main" id="{3DAF27D0-A66D-F121-E568-73D748AAFF2D}"/>
                  </a:ext>
                </a:extLst>
              </p:cNvPr>
              <p:cNvSpPr/>
              <p:nvPr/>
            </p:nvSpPr>
            <p:spPr>
              <a:xfrm>
                <a:off x="6297543" y="5078689"/>
                <a:ext cx="153780" cy="322258"/>
              </a:xfrm>
              <a:custGeom>
                <a:avLst/>
                <a:gdLst>
                  <a:gd name="connsiteX0" fmla="*/ 96353 w 153780"/>
                  <a:gd name="connsiteY0" fmla="*/ 322256 h 322258"/>
                  <a:gd name="connsiteX1" fmla="*/ 93586 w 153780"/>
                  <a:gd name="connsiteY1" fmla="*/ 321605 h 322258"/>
                  <a:gd name="connsiteX2" fmla="*/ 18544 w 153780"/>
                  <a:gd name="connsiteY2" fmla="*/ 91857 h 322258"/>
                  <a:gd name="connsiteX3" fmla="*/ 140951 w 153780"/>
                  <a:gd name="connsiteY3" fmla="*/ 958 h 322258"/>
                  <a:gd name="connsiteX4" fmla="*/ 146810 w 153780"/>
                  <a:gd name="connsiteY4" fmla="*/ 63 h 322258"/>
                  <a:gd name="connsiteX5" fmla="*/ 153722 w 153780"/>
                  <a:gd name="connsiteY5" fmla="*/ 5234 h 322258"/>
                  <a:gd name="connsiteX6" fmla="*/ 153728 w 153780"/>
                  <a:gd name="connsiteY6" fmla="*/ 5272 h 322258"/>
                  <a:gd name="connsiteX7" fmla="*/ 148519 w 153780"/>
                  <a:gd name="connsiteY7" fmla="*/ 12108 h 322258"/>
                  <a:gd name="connsiteX8" fmla="*/ 143474 w 153780"/>
                  <a:gd name="connsiteY8" fmla="*/ 13084 h 322258"/>
                  <a:gd name="connsiteX9" fmla="*/ 14686 w 153780"/>
                  <a:gd name="connsiteY9" fmla="*/ 196462 h 322258"/>
                  <a:gd name="connsiteX10" fmla="*/ 99527 w 153780"/>
                  <a:gd name="connsiteY10" fmla="*/ 310700 h 322258"/>
                  <a:gd name="connsiteX11" fmla="*/ 102237 w 153780"/>
                  <a:gd name="connsiteY11" fmla="*/ 318895 h 322258"/>
                  <a:gd name="connsiteX12" fmla="*/ 96760 w 153780"/>
                  <a:gd name="connsiteY12" fmla="*/ 322256 h 322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3780" h="322258">
                    <a:moveTo>
                      <a:pt x="96353" y="322256"/>
                    </a:moveTo>
                    <a:cubicBezTo>
                      <a:pt x="95390" y="322284"/>
                      <a:pt x="94436" y="322059"/>
                      <a:pt x="93586" y="321605"/>
                    </a:cubicBezTo>
                    <a:cubicBezTo>
                      <a:pt x="9421" y="278884"/>
                      <a:pt x="-24177" y="176022"/>
                      <a:pt x="18544" y="91857"/>
                    </a:cubicBezTo>
                    <a:cubicBezTo>
                      <a:pt x="42822" y="44028"/>
                      <a:pt x="88145" y="10370"/>
                      <a:pt x="140951" y="958"/>
                    </a:cubicBezTo>
                    <a:lnTo>
                      <a:pt x="146810" y="63"/>
                    </a:lnTo>
                    <a:cubicBezTo>
                      <a:pt x="150147" y="-418"/>
                      <a:pt x="153241" y="1897"/>
                      <a:pt x="153722" y="5234"/>
                    </a:cubicBezTo>
                    <a:cubicBezTo>
                      <a:pt x="153725" y="5246"/>
                      <a:pt x="153726" y="5259"/>
                      <a:pt x="153728" y="5272"/>
                    </a:cubicBezTo>
                    <a:cubicBezTo>
                      <a:pt x="154162" y="8594"/>
                      <a:pt x="151837" y="11645"/>
                      <a:pt x="148519" y="12108"/>
                    </a:cubicBezTo>
                    <a:lnTo>
                      <a:pt x="143474" y="13084"/>
                    </a:lnTo>
                    <a:cubicBezTo>
                      <a:pt x="57272" y="28159"/>
                      <a:pt x="-388" y="110261"/>
                      <a:pt x="14686" y="196462"/>
                    </a:cubicBezTo>
                    <a:cubicBezTo>
                      <a:pt x="23317" y="245813"/>
                      <a:pt x="54777" y="288175"/>
                      <a:pt x="99527" y="310700"/>
                    </a:cubicBezTo>
                    <a:cubicBezTo>
                      <a:pt x="102538" y="312214"/>
                      <a:pt x="103752" y="315884"/>
                      <a:pt x="102237" y="318895"/>
                    </a:cubicBezTo>
                    <a:cubicBezTo>
                      <a:pt x="101196" y="320964"/>
                      <a:pt x="99076" y="322265"/>
                      <a:pt x="96760" y="322256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11" name="Freihandform 110">
                <a:extLst>
                  <a:ext uri="{FF2B5EF4-FFF2-40B4-BE49-F238E27FC236}">
                    <a16:creationId xmlns:a16="http://schemas.microsoft.com/office/drawing/2014/main" id="{5F8A258B-36B9-985E-9982-A59EEF0DF5E5}"/>
                  </a:ext>
                </a:extLst>
              </p:cNvPr>
              <p:cNvSpPr/>
              <p:nvPr/>
            </p:nvSpPr>
            <p:spPr>
              <a:xfrm>
                <a:off x="6293797" y="5095018"/>
                <a:ext cx="344394" cy="322041"/>
              </a:xfrm>
              <a:custGeom>
                <a:avLst/>
                <a:gdLst>
                  <a:gd name="connsiteX0" fmla="*/ 173589 w 344394"/>
                  <a:gd name="connsiteY0" fmla="*/ 322041 h 322041"/>
                  <a:gd name="connsiteX1" fmla="*/ 6104 w 344394"/>
                  <a:gd name="connsiteY1" fmla="*/ 322041 h 322041"/>
                  <a:gd name="connsiteX2" fmla="*/ 0 w 344394"/>
                  <a:gd name="connsiteY2" fmla="*/ 315938 h 322041"/>
                  <a:gd name="connsiteX3" fmla="*/ 6104 w 344394"/>
                  <a:gd name="connsiteY3" fmla="*/ 309834 h 322041"/>
                  <a:gd name="connsiteX4" fmla="*/ 173589 w 344394"/>
                  <a:gd name="connsiteY4" fmla="*/ 309834 h 322041"/>
                  <a:gd name="connsiteX5" fmla="*/ 201665 w 344394"/>
                  <a:gd name="connsiteY5" fmla="*/ 308939 h 322041"/>
                  <a:gd name="connsiteX6" fmla="*/ 330313 w 344394"/>
                  <a:gd name="connsiteY6" fmla="*/ 125463 h 322041"/>
                  <a:gd name="connsiteX7" fmla="*/ 245775 w 344394"/>
                  <a:gd name="connsiteY7" fmla="*/ 11486 h 322041"/>
                  <a:gd name="connsiteX8" fmla="*/ 243089 w 344394"/>
                  <a:gd name="connsiteY8" fmla="*/ 3348 h 322041"/>
                  <a:gd name="connsiteX9" fmla="*/ 251160 w 344394"/>
                  <a:gd name="connsiteY9" fmla="*/ 628 h 322041"/>
                  <a:gd name="connsiteX10" fmla="*/ 251227 w 344394"/>
                  <a:gd name="connsiteY10" fmla="*/ 662 h 322041"/>
                  <a:gd name="connsiteX11" fmla="*/ 325638 w 344394"/>
                  <a:gd name="connsiteY11" fmla="*/ 230616 h 322041"/>
                  <a:gd name="connsiteX12" fmla="*/ 203619 w 344394"/>
                  <a:gd name="connsiteY12" fmla="*/ 321065 h 322041"/>
                  <a:gd name="connsiteX13" fmla="*/ 173589 w 344394"/>
                  <a:gd name="connsiteY13" fmla="*/ 322041 h 322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44394" h="322041">
                    <a:moveTo>
                      <a:pt x="173589" y="322041"/>
                    </a:moveTo>
                    <a:lnTo>
                      <a:pt x="6104" y="322041"/>
                    </a:lnTo>
                    <a:cubicBezTo>
                      <a:pt x="2733" y="322041"/>
                      <a:pt x="0" y="319308"/>
                      <a:pt x="0" y="315938"/>
                    </a:cubicBezTo>
                    <a:cubicBezTo>
                      <a:pt x="0" y="312567"/>
                      <a:pt x="2733" y="309834"/>
                      <a:pt x="6104" y="309834"/>
                    </a:cubicBezTo>
                    <a:lnTo>
                      <a:pt x="173589" y="309834"/>
                    </a:lnTo>
                    <a:cubicBezTo>
                      <a:pt x="180343" y="309834"/>
                      <a:pt x="199550" y="309183"/>
                      <a:pt x="201665" y="308939"/>
                    </a:cubicBezTo>
                    <a:cubicBezTo>
                      <a:pt x="287856" y="293798"/>
                      <a:pt x="345453" y="211653"/>
                      <a:pt x="330313" y="125463"/>
                    </a:cubicBezTo>
                    <a:cubicBezTo>
                      <a:pt x="321672" y="76270"/>
                      <a:pt x="290343" y="34032"/>
                      <a:pt x="245775" y="11486"/>
                    </a:cubicBezTo>
                    <a:cubicBezTo>
                      <a:pt x="242805" y="9964"/>
                      <a:pt x="241610" y="6339"/>
                      <a:pt x="243089" y="3348"/>
                    </a:cubicBezTo>
                    <a:cubicBezTo>
                      <a:pt x="244567" y="368"/>
                      <a:pt x="248180" y="-849"/>
                      <a:pt x="251160" y="628"/>
                    </a:cubicBezTo>
                    <a:cubicBezTo>
                      <a:pt x="251183" y="640"/>
                      <a:pt x="251205" y="651"/>
                      <a:pt x="251227" y="662"/>
                    </a:cubicBezTo>
                    <a:cubicBezTo>
                      <a:pt x="335275" y="43614"/>
                      <a:pt x="368590" y="146568"/>
                      <a:pt x="325638" y="230616"/>
                    </a:cubicBezTo>
                    <a:cubicBezTo>
                      <a:pt x="301333" y="278176"/>
                      <a:pt x="256191" y="311638"/>
                      <a:pt x="203619" y="321065"/>
                    </a:cubicBezTo>
                    <a:cubicBezTo>
                      <a:pt x="200770" y="321472"/>
                      <a:pt x="177820" y="322041"/>
                      <a:pt x="173589" y="322041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12" name="Freihandform 111">
                <a:extLst>
                  <a:ext uri="{FF2B5EF4-FFF2-40B4-BE49-F238E27FC236}">
                    <a16:creationId xmlns:a16="http://schemas.microsoft.com/office/drawing/2014/main" id="{D55C76C4-CA0A-9C1E-7A1A-9B6D0E251747}"/>
                  </a:ext>
                </a:extLst>
              </p:cNvPr>
              <p:cNvSpPr/>
              <p:nvPr/>
            </p:nvSpPr>
            <p:spPr>
              <a:xfrm>
                <a:off x="6449258" y="5056812"/>
                <a:ext cx="37598" cy="58970"/>
              </a:xfrm>
              <a:custGeom>
                <a:avLst/>
                <a:gdLst>
                  <a:gd name="connsiteX0" fmla="*/ 10314 w 37598"/>
                  <a:gd name="connsiteY0" fmla="*/ 58970 h 58970"/>
                  <a:gd name="connsiteX1" fmla="*/ 6408 w 37598"/>
                  <a:gd name="connsiteY1" fmla="*/ 57586 h 58970"/>
                  <a:gd name="connsiteX2" fmla="*/ 5652 w 37598"/>
                  <a:gd name="connsiteY2" fmla="*/ 48987 h 58970"/>
                  <a:gd name="connsiteX3" fmla="*/ 5675 w 37598"/>
                  <a:gd name="connsiteY3" fmla="*/ 48960 h 58970"/>
                  <a:gd name="connsiteX4" fmla="*/ 23172 w 37598"/>
                  <a:gd name="connsiteY4" fmla="*/ 28044 h 58970"/>
                  <a:gd name="connsiteX5" fmla="*/ 2176 w 37598"/>
                  <a:gd name="connsiteY5" fmla="*/ 10547 h 58970"/>
                  <a:gd name="connsiteX6" fmla="*/ 1389 w 37598"/>
                  <a:gd name="connsiteY6" fmla="*/ 2067 h 58970"/>
                  <a:gd name="connsiteX7" fmla="*/ 1443 w 37598"/>
                  <a:gd name="connsiteY7" fmla="*/ 2002 h 58970"/>
                  <a:gd name="connsiteX8" fmla="*/ 9582 w 37598"/>
                  <a:gd name="connsiteY8" fmla="*/ 1188 h 58970"/>
                  <a:gd name="connsiteX9" fmla="*/ 35624 w 37598"/>
                  <a:gd name="connsiteY9" fmla="*/ 22836 h 58970"/>
                  <a:gd name="connsiteX10" fmla="*/ 36438 w 37598"/>
                  <a:gd name="connsiteY10" fmla="*/ 30974 h 58970"/>
                  <a:gd name="connsiteX11" fmla="*/ 15034 w 37598"/>
                  <a:gd name="connsiteY11" fmla="*/ 56854 h 58970"/>
                  <a:gd name="connsiteX12" fmla="*/ 10314 w 37598"/>
                  <a:gd name="connsiteY12" fmla="*/ 58970 h 58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7598" h="58970">
                    <a:moveTo>
                      <a:pt x="10314" y="58970"/>
                    </a:moveTo>
                    <a:cubicBezTo>
                      <a:pt x="8886" y="59000"/>
                      <a:pt x="7498" y="58508"/>
                      <a:pt x="6408" y="57586"/>
                    </a:cubicBezTo>
                    <a:cubicBezTo>
                      <a:pt x="3825" y="55420"/>
                      <a:pt x="3486" y="51571"/>
                      <a:pt x="5652" y="48987"/>
                    </a:cubicBezTo>
                    <a:cubicBezTo>
                      <a:pt x="5660" y="48978"/>
                      <a:pt x="5667" y="48969"/>
                      <a:pt x="5675" y="48960"/>
                    </a:cubicBezTo>
                    <a:lnTo>
                      <a:pt x="23172" y="28044"/>
                    </a:lnTo>
                    <a:lnTo>
                      <a:pt x="2176" y="10547"/>
                    </a:lnTo>
                    <a:cubicBezTo>
                      <a:pt x="-384" y="8423"/>
                      <a:pt x="-735" y="4626"/>
                      <a:pt x="1389" y="2067"/>
                    </a:cubicBezTo>
                    <a:cubicBezTo>
                      <a:pt x="1407" y="2045"/>
                      <a:pt x="1425" y="2024"/>
                      <a:pt x="1443" y="2002"/>
                    </a:cubicBezTo>
                    <a:cubicBezTo>
                      <a:pt x="3546" y="-315"/>
                      <a:pt x="7061" y="-667"/>
                      <a:pt x="9582" y="1188"/>
                    </a:cubicBezTo>
                    <a:lnTo>
                      <a:pt x="35624" y="22836"/>
                    </a:lnTo>
                    <a:cubicBezTo>
                      <a:pt x="37906" y="24957"/>
                      <a:pt x="38255" y="28444"/>
                      <a:pt x="36438" y="30974"/>
                    </a:cubicBezTo>
                    <a:lnTo>
                      <a:pt x="15034" y="56854"/>
                    </a:lnTo>
                    <a:cubicBezTo>
                      <a:pt x="13839" y="58206"/>
                      <a:pt x="12119" y="58977"/>
                      <a:pt x="10314" y="58970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13" name="Freihandform 112">
                <a:extLst>
                  <a:ext uri="{FF2B5EF4-FFF2-40B4-BE49-F238E27FC236}">
                    <a16:creationId xmlns:a16="http://schemas.microsoft.com/office/drawing/2014/main" id="{9C5A4BD9-788C-00EF-3826-418D1D8A126F}"/>
                  </a:ext>
                </a:extLst>
              </p:cNvPr>
              <p:cNvSpPr/>
              <p:nvPr/>
            </p:nvSpPr>
            <p:spPr>
              <a:xfrm>
                <a:off x="6357356" y="5143126"/>
                <a:ext cx="217290" cy="217290"/>
              </a:xfrm>
              <a:custGeom>
                <a:avLst/>
                <a:gdLst>
                  <a:gd name="connsiteX0" fmla="*/ 108645 w 217290"/>
                  <a:gd name="connsiteY0" fmla="*/ 217291 h 217290"/>
                  <a:gd name="connsiteX1" fmla="*/ 0 w 217290"/>
                  <a:gd name="connsiteY1" fmla="*/ 108645 h 217290"/>
                  <a:gd name="connsiteX2" fmla="*/ 108645 w 217290"/>
                  <a:gd name="connsiteY2" fmla="*/ 0 h 217290"/>
                  <a:gd name="connsiteX3" fmla="*/ 217291 w 217290"/>
                  <a:gd name="connsiteY3" fmla="*/ 108645 h 217290"/>
                  <a:gd name="connsiteX4" fmla="*/ 108645 w 217290"/>
                  <a:gd name="connsiteY4" fmla="*/ 217291 h 217290"/>
                  <a:gd name="connsiteX5" fmla="*/ 108645 w 217290"/>
                  <a:gd name="connsiteY5" fmla="*/ 12207 h 217290"/>
                  <a:gd name="connsiteX6" fmla="*/ 12207 w 217290"/>
                  <a:gd name="connsiteY6" fmla="*/ 108645 h 217290"/>
                  <a:gd name="connsiteX7" fmla="*/ 108645 w 217290"/>
                  <a:gd name="connsiteY7" fmla="*/ 205084 h 217290"/>
                  <a:gd name="connsiteX8" fmla="*/ 205084 w 217290"/>
                  <a:gd name="connsiteY8" fmla="*/ 108645 h 217290"/>
                  <a:gd name="connsiteX9" fmla="*/ 108645 w 217290"/>
                  <a:gd name="connsiteY9" fmla="*/ 12207 h 217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7290" h="217290">
                    <a:moveTo>
                      <a:pt x="108645" y="217291"/>
                    </a:moveTo>
                    <a:cubicBezTo>
                      <a:pt x="48642" y="217291"/>
                      <a:pt x="0" y="168649"/>
                      <a:pt x="0" y="108645"/>
                    </a:cubicBezTo>
                    <a:cubicBezTo>
                      <a:pt x="0" y="48642"/>
                      <a:pt x="48642" y="0"/>
                      <a:pt x="108645" y="0"/>
                    </a:cubicBezTo>
                    <a:cubicBezTo>
                      <a:pt x="168649" y="0"/>
                      <a:pt x="217291" y="48642"/>
                      <a:pt x="217291" y="108645"/>
                    </a:cubicBezTo>
                    <a:cubicBezTo>
                      <a:pt x="217201" y="168611"/>
                      <a:pt x="168611" y="217201"/>
                      <a:pt x="108645" y="217291"/>
                    </a:cubicBezTo>
                    <a:close/>
                    <a:moveTo>
                      <a:pt x="108645" y="12207"/>
                    </a:moveTo>
                    <a:cubicBezTo>
                      <a:pt x="55384" y="12207"/>
                      <a:pt x="12207" y="55384"/>
                      <a:pt x="12207" y="108645"/>
                    </a:cubicBezTo>
                    <a:cubicBezTo>
                      <a:pt x="12207" y="161907"/>
                      <a:pt x="55384" y="205084"/>
                      <a:pt x="108645" y="205084"/>
                    </a:cubicBezTo>
                    <a:cubicBezTo>
                      <a:pt x="161907" y="205084"/>
                      <a:pt x="205084" y="161907"/>
                      <a:pt x="205084" y="108645"/>
                    </a:cubicBezTo>
                    <a:cubicBezTo>
                      <a:pt x="204994" y="55421"/>
                      <a:pt x="161870" y="12297"/>
                      <a:pt x="108645" y="1220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14" name="Freihandform 113">
                <a:extLst>
                  <a:ext uri="{FF2B5EF4-FFF2-40B4-BE49-F238E27FC236}">
                    <a16:creationId xmlns:a16="http://schemas.microsoft.com/office/drawing/2014/main" id="{05575731-7CA5-1310-8528-FAF6AAE7F314}"/>
                  </a:ext>
                </a:extLst>
              </p:cNvPr>
              <p:cNvSpPr/>
              <p:nvPr/>
            </p:nvSpPr>
            <p:spPr>
              <a:xfrm>
                <a:off x="6537524" y="5146362"/>
                <a:ext cx="66434" cy="218129"/>
              </a:xfrm>
              <a:custGeom>
                <a:avLst/>
                <a:gdLst>
                  <a:gd name="connsiteX0" fmla="*/ 6197 w 66434"/>
                  <a:gd name="connsiteY0" fmla="*/ 218124 h 218129"/>
                  <a:gd name="connsiteX1" fmla="*/ 3 w 66434"/>
                  <a:gd name="connsiteY1" fmla="*/ 212279 h 218129"/>
                  <a:gd name="connsiteX2" fmla="*/ 2617 w 66434"/>
                  <a:gd name="connsiteY2" fmla="*/ 207137 h 218129"/>
                  <a:gd name="connsiteX3" fmla="*/ 30003 w 66434"/>
                  <a:gd name="connsiteY3" fmla="*/ 31675 h 218129"/>
                  <a:gd name="connsiteX4" fmla="*/ 10755 w 66434"/>
                  <a:gd name="connsiteY4" fmla="*/ 10762 h 218129"/>
                  <a:gd name="connsiteX5" fmla="*/ 10104 w 66434"/>
                  <a:gd name="connsiteY5" fmla="*/ 2135 h 218129"/>
                  <a:gd name="connsiteX6" fmla="*/ 18710 w 66434"/>
                  <a:gd name="connsiteY6" fmla="*/ 1466 h 218129"/>
                  <a:gd name="connsiteX7" fmla="*/ 18730 w 66434"/>
                  <a:gd name="connsiteY7" fmla="*/ 1484 h 218129"/>
                  <a:gd name="connsiteX8" fmla="*/ 32907 w 66434"/>
                  <a:gd name="connsiteY8" fmla="*/ 195819 h 218129"/>
                  <a:gd name="connsiteX9" fmla="*/ 9941 w 66434"/>
                  <a:gd name="connsiteY9" fmla="*/ 216985 h 218129"/>
                  <a:gd name="connsiteX10" fmla="*/ 6197 w 66434"/>
                  <a:gd name="connsiteY10" fmla="*/ 218124 h 218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6434" h="218129">
                    <a:moveTo>
                      <a:pt x="6197" y="218124"/>
                    </a:moveTo>
                    <a:cubicBezTo>
                      <a:pt x="2873" y="218221"/>
                      <a:pt x="99" y="215604"/>
                      <a:pt x="3" y="212279"/>
                    </a:cubicBezTo>
                    <a:cubicBezTo>
                      <a:pt x="-57" y="210232"/>
                      <a:pt x="928" y="208295"/>
                      <a:pt x="2617" y="207137"/>
                    </a:cubicBezTo>
                    <a:cubicBezTo>
                      <a:pt x="58632" y="166248"/>
                      <a:pt x="70893" y="87690"/>
                      <a:pt x="30003" y="31675"/>
                    </a:cubicBezTo>
                    <a:cubicBezTo>
                      <a:pt x="24399" y="23998"/>
                      <a:pt x="17942" y="16982"/>
                      <a:pt x="10755" y="10762"/>
                    </a:cubicBezTo>
                    <a:cubicBezTo>
                      <a:pt x="8229" y="8542"/>
                      <a:pt x="7939" y="4709"/>
                      <a:pt x="10104" y="2135"/>
                    </a:cubicBezTo>
                    <a:cubicBezTo>
                      <a:pt x="12295" y="-426"/>
                      <a:pt x="16149" y="-725"/>
                      <a:pt x="18710" y="1466"/>
                    </a:cubicBezTo>
                    <a:cubicBezTo>
                      <a:pt x="18716" y="1472"/>
                      <a:pt x="18724" y="1478"/>
                      <a:pt x="18730" y="1484"/>
                    </a:cubicBezTo>
                    <a:cubicBezTo>
                      <a:pt x="76309" y="51233"/>
                      <a:pt x="82656" y="138240"/>
                      <a:pt x="32907" y="195819"/>
                    </a:cubicBezTo>
                    <a:cubicBezTo>
                      <a:pt x="26078" y="203722"/>
                      <a:pt x="18374" y="210822"/>
                      <a:pt x="9941" y="216985"/>
                    </a:cubicBezTo>
                    <a:cubicBezTo>
                      <a:pt x="8860" y="217782"/>
                      <a:pt x="7539" y="218184"/>
                      <a:pt x="6197" y="218124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15" name="Freihandform 114">
                <a:extLst>
                  <a:ext uri="{FF2B5EF4-FFF2-40B4-BE49-F238E27FC236}">
                    <a16:creationId xmlns:a16="http://schemas.microsoft.com/office/drawing/2014/main" id="{632FD0E1-D91D-34DF-1F55-473450B30ED1}"/>
                  </a:ext>
                </a:extLst>
              </p:cNvPr>
              <p:cNvSpPr/>
              <p:nvPr/>
            </p:nvSpPr>
            <p:spPr>
              <a:xfrm>
                <a:off x="6328200" y="5146467"/>
                <a:ext cx="63586" cy="215821"/>
              </a:xfrm>
              <a:custGeom>
                <a:avLst/>
                <a:gdLst>
                  <a:gd name="connsiteX0" fmla="*/ 57640 w 63586"/>
                  <a:gd name="connsiteY0" fmla="*/ 215822 h 215821"/>
                  <a:gd name="connsiteX1" fmla="*/ 53896 w 63586"/>
                  <a:gd name="connsiteY1" fmla="*/ 214601 h 215821"/>
                  <a:gd name="connsiteX2" fmla="*/ 28491 w 63586"/>
                  <a:gd name="connsiteY2" fmla="*/ 21413 h 215821"/>
                  <a:gd name="connsiteX3" fmla="*/ 47141 w 63586"/>
                  <a:gd name="connsiteY3" fmla="*/ 1542 h 215821"/>
                  <a:gd name="connsiteX4" fmla="*/ 55808 w 63586"/>
                  <a:gd name="connsiteY4" fmla="*/ 2071 h 215821"/>
                  <a:gd name="connsiteX5" fmla="*/ 55279 w 63586"/>
                  <a:gd name="connsiteY5" fmla="*/ 10738 h 215821"/>
                  <a:gd name="connsiteX6" fmla="*/ 43283 w 63586"/>
                  <a:gd name="connsiteY6" fmla="*/ 187920 h 215821"/>
                  <a:gd name="connsiteX7" fmla="*/ 61383 w 63586"/>
                  <a:gd name="connsiteY7" fmla="*/ 204916 h 215821"/>
                  <a:gd name="connsiteX8" fmla="*/ 62523 w 63586"/>
                  <a:gd name="connsiteY8" fmla="*/ 213055 h 215821"/>
                  <a:gd name="connsiteX9" fmla="*/ 57640 w 63586"/>
                  <a:gd name="connsiteY9" fmla="*/ 215822 h 215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586" h="215821">
                    <a:moveTo>
                      <a:pt x="57640" y="215822"/>
                    </a:moveTo>
                    <a:cubicBezTo>
                      <a:pt x="56295" y="215816"/>
                      <a:pt x="54986" y="215389"/>
                      <a:pt x="53896" y="214601"/>
                    </a:cubicBezTo>
                    <a:cubicBezTo>
                      <a:pt x="-6467" y="168269"/>
                      <a:pt x="-17841" y="81776"/>
                      <a:pt x="28491" y="21413"/>
                    </a:cubicBezTo>
                    <a:cubicBezTo>
                      <a:pt x="34035" y="14189"/>
                      <a:pt x="40283" y="7533"/>
                      <a:pt x="47141" y="1542"/>
                    </a:cubicBezTo>
                    <a:cubicBezTo>
                      <a:pt x="49680" y="-705"/>
                      <a:pt x="53562" y="-468"/>
                      <a:pt x="55808" y="2071"/>
                    </a:cubicBezTo>
                    <a:cubicBezTo>
                      <a:pt x="58055" y="4610"/>
                      <a:pt x="57819" y="8491"/>
                      <a:pt x="55279" y="10738"/>
                    </a:cubicBezTo>
                    <a:cubicBezTo>
                      <a:pt x="3040" y="56353"/>
                      <a:pt x="-2332" y="135679"/>
                      <a:pt x="43283" y="187920"/>
                    </a:cubicBezTo>
                    <a:cubicBezTo>
                      <a:pt x="48740" y="194169"/>
                      <a:pt x="54803" y="199862"/>
                      <a:pt x="61383" y="204916"/>
                    </a:cubicBezTo>
                    <a:cubicBezTo>
                      <a:pt x="63806" y="206929"/>
                      <a:pt x="64299" y="210454"/>
                      <a:pt x="62523" y="213055"/>
                    </a:cubicBezTo>
                    <a:cubicBezTo>
                      <a:pt x="61451" y="214725"/>
                      <a:pt x="59624" y="215760"/>
                      <a:pt x="57640" y="215822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16" name="Freihandform 115">
                <a:extLst>
                  <a:ext uri="{FF2B5EF4-FFF2-40B4-BE49-F238E27FC236}">
                    <a16:creationId xmlns:a16="http://schemas.microsoft.com/office/drawing/2014/main" id="{CB3E8B4F-3329-A935-72F5-059B6AF55D7A}"/>
                  </a:ext>
                </a:extLst>
              </p:cNvPr>
              <p:cNvSpPr/>
              <p:nvPr/>
            </p:nvSpPr>
            <p:spPr>
              <a:xfrm>
                <a:off x="6573670" y="5399236"/>
                <a:ext cx="79917" cy="12207"/>
              </a:xfrm>
              <a:custGeom>
                <a:avLst/>
                <a:gdLst>
                  <a:gd name="connsiteX0" fmla="*/ 73814 w 79917"/>
                  <a:gd name="connsiteY0" fmla="*/ 12207 h 12207"/>
                  <a:gd name="connsiteX1" fmla="*/ 6104 w 79917"/>
                  <a:gd name="connsiteY1" fmla="*/ 12207 h 12207"/>
                  <a:gd name="connsiteX2" fmla="*/ 0 w 79917"/>
                  <a:gd name="connsiteY2" fmla="*/ 6104 h 12207"/>
                  <a:gd name="connsiteX3" fmla="*/ 6104 w 79917"/>
                  <a:gd name="connsiteY3" fmla="*/ 0 h 12207"/>
                  <a:gd name="connsiteX4" fmla="*/ 73814 w 79917"/>
                  <a:gd name="connsiteY4" fmla="*/ 0 h 12207"/>
                  <a:gd name="connsiteX5" fmla="*/ 79917 w 79917"/>
                  <a:gd name="connsiteY5" fmla="*/ 6104 h 12207"/>
                  <a:gd name="connsiteX6" fmla="*/ 73814 w 79917"/>
                  <a:gd name="connsiteY6" fmla="*/ 12207 h 12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917" h="12207">
                    <a:moveTo>
                      <a:pt x="73814" y="12207"/>
                    </a:moveTo>
                    <a:lnTo>
                      <a:pt x="6104" y="12207"/>
                    </a:lnTo>
                    <a:cubicBezTo>
                      <a:pt x="2733" y="12207"/>
                      <a:pt x="0" y="9475"/>
                      <a:pt x="0" y="6104"/>
                    </a:cubicBezTo>
                    <a:cubicBezTo>
                      <a:pt x="0" y="2733"/>
                      <a:pt x="2733" y="0"/>
                      <a:pt x="6104" y="0"/>
                    </a:cubicBezTo>
                    <a:lnTo>
                      <a:pt x="73814" y="0"/>
                    </a:lnTo>
                    <a:cubicBezTo>
                      <a:pt x="77185" y="0"/>
                      <a:pt x="79917" y="2733"/>
                      <a:pt x="79917" y="6104"/>
                    </a:cubicBezTo>
                    <a:cubicBezTo>
                      <a:pt x="79917" y="9475"/>
                      <a:pt x="77185" y="12207"/>
                      <a:pt x="73814" y="12207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17" name="Freihandform 116">
                <a:extLst>
                  <a:ext uri="{FF2B5EF4-FFF2-40B4-BE49-F238E27FC236}">
                    <a16:creationId xmlns:a16="http://schemas.microsoft.com/office/drawing/2014/main" id="{F8B2247E-170C-6723-6535-907A61A2B4C5}"/>
                  </a:ext>
                </a:extLst>
              </p:cNvPr>
              <p:cNvSpPr/>
              <p:nvPr/>
            </p:nvSpPr>
            <p:spPr>
              <a:xfrm>
                <a:off x="6641820" y="5377729"/>
                <a:ext cx="35939" cy="58861"/>
              </a:xfrm>
              <a:custGeom>
                <a:avLst/>
                <a:gdLst>
                  <a:gd name="connsiteX0" fmla="*/ 7211 w 35939"/>
                  <a:gd name="connsiteY0" fmla="*/ 58862 h 58861"/>
                  <a:gd name="connsiteX1" fmla="*/ 1054 w 35939"/>
                  <a:gd name="connsiteY1" fmla="*/ 52648 h 58861"/>
                  <a:gd name="connsiteX2" fmla="*/ 2653 w 35939"/>
                  <a:gd name="connsiteY2" fmla="*/ 48526 h 58861"/>
                  <a:gd name="connsiteX3" fmla="*/ 21290 w 35939"/>
                  <a:gd name="connsiteY3" fmla="*/ 28669 h 58861"/>
                  <a:gd name="connsiteX4" fmla="*/ 1432 w 35939"/>
                  <a:gd name="connsiteY4" fmla="*/ 10032 h 58861"/>
                  <a:gd name="connsiteX5" fmla="*/ 2175 w 35939"/>
                  <a:gd name="connsiteY5" fmla="*/ 1433 h 58861"/>
                  <a:gd name="connsiteX6" fmla="*/ 9571 w 35939"/>
                  <a:gd name="connsiteY6" fmla="*/ 1080 h 58861"/>
                  <a:gd name="connsiteX7" fmla="*/ 33985 w 35939"/>
                  <a:gd name="connsiteY7" fmla="*/ 23949 h 58861"/>
                  <a:gd name="connsiteX8" fmla="*/ 35938 w 35939"/>
                  <a:gd name="connsiteY8" fmla="*/ 28180 h 58861"/>
                  <a:gd name="connsiteX9" fmla="*/ 34229 w 35939"/>
                  <a:gd name="connsiteY9" fmla="*/ 32575 h 58861"/>
                  <a:gd name="connsiteX10" fmla="*/ 11361 w 35939"/>
                  <a:gd name="connsiteY10" fmla="*/ 56990 h 58861"/>
                  <a:gd name="connsiteX11" fmla="*/ 7211 w 35939"/>
                  <a:gd name="connsiteY11" fmla="*/ 58862 h 58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939" h="58861">
                    <a:moveTo>
                      <a:pt x="7211" y="58862"/>
                    </a:moveTo>
                    <a:cubicBezTo>
                      <a:pt x="3795" y="58846"/>
                      <a:pt x="1038" y="56065"/>
                      <a:pt x="1054" y="52648"/>
                    </a:cubicBezTo>
                    <a:cubicBezTo>
                      <a:pt x="1060" y="51124"/>
                      <a:pt x="1630" y="49656"/>
                      <a:pt x="2653" y="48526"/>
                    </a:cubicBezTo>
                    <a:lnTo>
                      <a:pt x="21290" y="28669"/>
                    </a:lnTo>
                    <a:lnTo>
                      <a:pt x="1432" y="10032"/>
                    </a:lnTo>
                    <a:cubicBezTo>
                      <a:pt x="-737" y="7452"/>
                      <a:pt x="-404" y="3602"/>
                      <a:pt x="2175" y="1433"/>
                    </a:cubicBezTo>
                    <a:cubicBezTo>
                      <a:pt x="4279" y="-338"/>
                      <a:pt x="7307" y="-482"/>
                      <a:pt x="9571" y="1080"/>
                    </a:cubicBezTo>
                    <a:lnTo>
                      <a:pt x="33985" y="23949"/>
                    </a:lnTo>
                    <a:cubicBezTo>
                      <a:pt x="35130" y="25074"/>
                      <a:pt x="35825" y="26579"/>
                      <a:pt x="35938" y="28180"/>
                    </a:cubicBezTo>
                    <a:cubicBezTo>
                      <a:pt x="35972" y="29814"/>
                      <a:pt x="35357" y="31393"/>
                      <a:pt x="34229" y="32575"/>
                    </a:cubicBezTo>
                    <a:lnTo>
                      <a:pt x="11361" y="56990"/>
                    </a:lnTo>
                    <a:cubicBezTo>
                      <a:pt x="10270" y="58126"/>
                      <a:pt x="8784" y="58797"/>
                      <a:pt x="7211" y="58862"/>
                    </a:cubicBezTo>
                    <a:close/>
                  </a:path>
                </a:pathLst>
              </a:custGeom>
              <a:solidFill>
                <a:srgbClr val="1E3F72"/>
              </a:solidFill>
              <a:ln w="80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1D3E71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endParaRPr>
              </a:p>
            </p:txBody>
          </p:sp>
        </p:grpSp>
        <p:pic>
          <p:nvPicPr>
            <p:cNvPr id="53" name="Grafik 52">
              <a:extLst>
                <a:ext uri="{FF2B5EF4-FFF2-40B4-BE49-F238E27FC236}">
                  <a16:creationId xmlns:a16="http://schemas.microsoft.com/office/drawing/2014/main" id="{715312FD-AE20-D60A-50A0-61F0673F12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356843" y="4358182"/>
              <a:ext cx="918551" cy="637502"/>
            </a:xfrm>
            <a:prstGeom prst="rect">
              <a:avLst/>
            </a:prstGeom>
          </p:spPr>
        </p:pic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D32A72DB-2DBF-78C4-81DA-24627481CF6E}"/>
              </a:ext>
            </a:extLst>
          </p:cNvPr>
          <p:cNvGrpSpPr/>
          <p:nvPr/>
        </p:nvGrpSpPr>
        <p:grpSpPr>
          <a:xfrm>
            <a:off x="9308550" y="2857867"/>
            <a:ext cx="1456098" cy="2743281"/>
            <a:chOff x="9308550" y="2857867"/>
            <a:chExt cx="1456098" cy="2743281"/>
          </a:xfrm>
        </p:grpSpPr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C77EE609-33A4-284E-AF77-68F43E9C849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169" y="3719047"/>
              <a:ext cx="861018" cy="437827"/>
            </a:xfrm>
            <a:prstGeom prst="rect">
              <a:avLst/>
            </a:prstGeom>
          </p:spPr>
        </p:pic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6588B00F-BDEA-2547-AF46-41AEF05C47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9667" y="4215028"/>
              <a:ext cx="781482" cy="441562"/>
            </a:xfrm>
            <a:prstGeom prst="rect">
              <a:avLst/>
            </a:prstGeom>
          </p:spPr>
        </p:pic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0091F15C-F59A-9A49-8D49-3677605DE3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5543" y="5019899"/>
              <a:ext cx="387498" cy="581249"/>
            </a:xfrm>
            <a:prstGeom prst="rect">
              <a:avLst/>
            </a:prstGeom>
          </p:spPr>
        </p:pic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22D0B345-4592-2049-A88B-2E44E7AE33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58888" y="4415215"/>
              <a:ext cx="833601" cy="833601"/>
            </a:xfrm>
            <a:prstGeom prst="rect">
              <a:avLst/>
            </a:prstGeom>
          </p:spPr>
        </p:pic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30915D45-0262-6E40-BE42-39AA6CCE0051}"/>
                </a:ext>
              </a:extLst>
            </p:cNvPr>
            <p:cNvSpPr txBox="1"/>
            <p:nvPr/>
          </p:nvSpPr>
          <p:spPr>
            <a:xfrm>
              <a:off x="9308550" y="2857867"/>
              <a:ext cx="145609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E3F72"/>
                  </a:solidFill>
                  <a:effectLst/>
                  <a:uLnTx/>
                  <a:uFillTx/>
                  <a:latin typeface="TeXGyreHeros" panose="00000500000000000000" pitchFamily="50" charset="0"/>
                  <a:ea typeface="+mn-ea"/>
                  <a:cs typeface="+mn-cs"/>
                </a:rPr>
                <a:t>Spezialmakler</a:t>
              </a:r>
            </a:p>
          </p:txBody>
        </p:sp>
        <p:pic>
          <p:nvPicPr>
            <p:cNvPr id="59" name="Grafik 58" descr="Ein Bild, das Text, Screenshot, Schrift, Grafiken enthält.&#10;&#10;Automatisch generierte Beschreibung">
              <a:extLst>
                <a:ext uri="{FF2B5EF4-FFF2-40B4-BE49-F238E27FC236}">
                  <a16:creationId xmlns:a16="http://schemas.microsoft.com/office/drawing/2014/main" id="{517F871E-382E-2E44-B81F-9A0230A2E1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094" y="3216270"/>
              <a:ext cx="430584" cy="4305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64671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" name="think-cell data - do not delete" hidden="1">
            <a:extLst>
              <a:ext uri="{FF2B5EF4-FFF2-40B4-BE49-F238E27FC236}">
                <a16:creationId xmlns:a16="http://schemas.microsoft.com/office/drawing/2014/main" id="{1F0014E5-C3ED-E4C4-ED2F-801878790B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2712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06" imgH="608" progId="TCLayout.ActiveDocument.1">
                  <p:embed/>
                </p:oleObj>
              </mc:Choice>
              <mc:Fallback>
                <p:oleObj name="think-cell Folie" r:id="rId3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A24A96E5-E5F1-B784-EE97-258DA81000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ie wirtschaftliche Situatio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B8426F9-1C1F-FFE8-BB66-DAA094D174C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02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4A6C47E-C5C2-962C-6D0A-A3ADE1BB8A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Aktuelle Treiber und Entwicklungen des Marktes</a:t>
            </a:r>
          </a:p>
        </p:txBody>
      </p:sp>
      <p:grpSp>
        <p:nvGrpSpPr>
          <p:cNvPr id="6" name="Group 8">
            <a:extLst>
              <a:ext uri="{FF2B5EF4-FFF2-40B4-BE49-F238E27FC236}">
                <a16:creationId xmlns:a16="http://schemas.microsoft.com/office/drawing/2014/main" id="{8EA1BC9F-0E82-67CC-F367-5E6091AC76F1}"/>
              </a:ext>
            </a:extLst>
          </p:cNvPr>
          <p:cNvGrpSpPr/>
          <p:nvPr/>
        </p:nvGrpSpPr>
        <p:grpSpPr>
          <a:xfrm>
            <a:off x="335360" y="1694602"/>
            <a:ext cx="5113637" cy="4188876"/>
            <a:chOff x="445135" y="1549065"/>
            <a:chExt cx="4331926" cy="3548531"/>
          </a:xfrm>
        </p:grpSpPr>
        <p:grpSp>
          <p:nvGrpSpPr>
            <p:cNvPr id="7" name="Group 7">
              <a:extLst>
                <a:ext uri="{FF2B5EF4-FFF2-40B4-BE49-F238E27FC236}">
                  <a16:creationId xmlns:a16="http://schemas.microsoft.com/office/drawing/2014/main" id="{1FBF8A38-CD11-7530-4920-E9EE05E48459}"/>
                </a:ext>
              </a:extLst>
            </p:cNvPr>
            <p:cNvGrpSpPr/>
            <p:nvPr/>
          </p:nvGrpSpPr>
          <p:grpSpPr>
            <a:xfrm>
              <a:off x="445135" y="1549065"/>
              <a:ext cx="3558677" cy="3191816"/>
              <a:chOff x="445135" y="1549065"/>
              <a:chExt cx="3558677" cy="3191816"/>
            </a:xfrm>
          </p:grpSpPr>
          <p:sp>
            <p:nvSpPr>
              <p:cNvPr id="95" name="Block Arc 1015">
                <a:extLst>
                  <a:ext uri="{FF2B5EF4-FFF2-40B4-BE49-F238E27FC236}">
                    <a16:creationId xmlns:a16="http://schemas.microsoft.com/office/drawing/2014/main" id="{08A4DCD2-5471-09B1-9E14-3A88D06DDAF1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20207308">
                <a:off x="725875" y="1982498"/>
                <a:ext cx="3010427" cy="2737514"/>
              </a:xfrm>
              <a:prstGeom prst="blockArc">
                <a:avLst>
                  <a:gd name="adj1" fmla="val 12006639"/>
                  <a:gd name="adj2" fmla="val 0"/>
                  <a:gd name="adj3" fmla="val 25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solidFill>
                    <a:schemeClr val="tx1"/>
                  </a:solidFill>
                </a:endParaRPr>
              </a:p>
            </p:txBody>
          </p:sp>
          <p:pic>
            <p:nvPicPr>
              <p:cNvPr id="96" name="Picture 8">
                <a:extLst>
                  <a:ext uri="{FF2B5EF4-FFF2-40B4-BE49-F238E27FC236}">
                    <a16:creationId xmlns:a16="http://schemas.microsoft.com/office/drawing/2014/main" id="{567A1B9E-7DEA-573F-5467-ECA6986C1E5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34972" y="1928279"/>
                <a:ext cx="9882" cy="61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97" name="Group 1018">
                <a:extLst>
                  <a:ext uri="{FF2B5EF4-FFF2-40B4-BE49-F238E27FC236}">
                    <a16:creationId xmlns:a16="http://schemas.microsoft.com/office/drawing/2014/main" id="{6E6928A5-7B4C-A680-8594-31B80CB918D5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45135" y="1549065"/>
                <a:ext cx="3106586" cy="2757018"/>
                <a:chOff x="528638" y="2306638"/>
                <a:chExt cx="3992563" cy="3543301"/>
              </a:xfrm>
            </p:grpSpPr>
            <p:sp>
              <p:nvSpPr>
                <p:cNvPr id="227" name="Freeform 38">
                  <a:extLst>
                    <a:ext uri="{FF2B5EF4-FFF2-40B4-BE49-F238E27FC236}">
                      <a16:creationId xmlns:a16="http://schemas.microsoft.com/office/drawing/2014/main" id="{3F90DFA9-0DCF-9C09-D90D-7216773FCB9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58800" y="4167188"/>
                  <a:ext cx="139700" cy="38100"/>
                </a:xfrm>
                <a:custGeom>
                  <a:avLst/>
                  <a:gdLst>
                    <a:gd name="T0" fmla="*/ 75 w 76"/>
                    <a:gd name="T1" fmla="*/ 21 h 21"/>
                    <a:gd name="T2" fmla="*/ 76 w 76"/>
                    <a:gd name="T3" fmla="*/ 13 h 21"/>
                    <a:gd name="T4" fmla="*/ 2 w 76"/>
                    <a:gd name="T5" fmla="*/ 0 h 21"/>
                    <a:gd name="T6" fmla="*/ 0 w 76"/>
                    <a:gd name="T7" fmla="*/ 8 h 21"/>
                    <a:gd name="T8" fmla="*/ 75 w 76"/>
                    <a:gd name="T9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6" h="21">
                      <a:moveTo>
                        <a:pt x="75" y="21"/>
                      </a:moveTo>
                      <a:cubicBezTo>
                        <a:pt x="75" y="18"/>
                        <a:pt x="76" y="15"/>
                        <a:pt x="76" y="13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2"/>
                        <a:pt x="1" y="5"/>
                        <a:pt x="0" y="8"/>
                      </a:cubicBezTo>
                      <a:lnTo>
                        <a:pt x="75" y="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 45">
                  <a:extLst>
                    <a:ext uri="{FF2B5EF4-FFF2-40B4-BE49-F238E27FC236}">
                      <a16:creationId xmlns:a16="http://schemas.microsoft.com/office/drawing/2014/main" id="{E26AB590-E18D-1DCE-AEDE-05286EBA88C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95313" y="3963988"/>
                  <a:ext cx="177800" cy="80963"/>
                </a:xfrm>
                <a:custGeom>
                  <a:avLst/>
                  <a:gdLst>
                    <a:gd name="T0" fmla="*/ 0 w 96"/>
                    <a:gd name="T1" fmla="*/ 19 h 44"/>
                    <a:gd name="T2" fmla="*/ 91 w 96"/>
                    <a:gd name="T3" fmla="*/ 44 h 44"/>
                    <a:gd name="T4" fmla="*/ 93 w 96"/>
                    <a:gd name="T5" fmla="*/ 35 h 44"/>
                    <a:gd name="T6" fmla="*/ 96 w 96"/>
                    <a:gd name="T7" fmla="*/ 25 h 44"/>
                    <a:gd name="T8" fmla="*/ 6 w 96"/>
                    <a:gd name="T9" fmla="*/ 0 h 44"/>
                    <a:gd name="T10" fmla="*/ 3 w 96"/>
                    <a:gd name="T11" fmla="*/ 10 h 44"/>
                    <a:gd name="T12" fmla="*/ 0 w 96"/>
                    <a:gd name="T13" fmla="*/ 19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6" h="44">
                      <a:moveTo>
                        <a:pt x="0" y="19"/>
                      </a:moveTo>
                      <a:cubicBezTo>
                        <a:pt x="91" y="44"/>
                        <a:pt x="91" y="44"/>
                        <a:pt x="91" y="44"/>
                      </a:cubicBezTo>
                      <a:cubicBezTo>
                        <a:pt x="91" y="43"/>
                        <a:pt x="93" y="36"/>
                        <a:pt x="93" y="35"/>
                      </a:cubicBezTo>
                      <a:cubicBezTo>
                        <a:pt x="94" y="33"/>
                        <a:pt x="96" y="26"/>
                        <a:pt x="96" y="25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5" y="1"/>
                        <a:pt x="3" y="8"/>
                        <a:pt x="3" y="10"/>
                      </a:cubicBezTo>
                      <a:cubicBezTo>
                        <a:pt x="3" y="11"/>
                        <a:pt x="1" y="18"/>
                        <a:pt x="0" y="1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229" name="Group 1238">
                  <a:extLst>
                    <a:ext uri="{FF2B5EF4-FFF2-40B4-BE49-F238E27FC236}">
                      <a16:creationId xmlns:a16="http://schemas.microsoft.com/office/drawing/2014/main" id="{8A620A2B-310C-6972-CFA1-CF66E407131D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528638" y="2306638"/>
                  <a:ext cx="3992563" cy="3543301"/>
                  <a:chOff x="528638" y="2306638"/>
                  <a:chExt cx="3992563" cy="3543301"/>
                </a:xfrm>
              </p:grpSpPr>
              <p:sp>
                <p:nvSpPr>
                  <p:cNvPr id="230" name="Oval 10">
                    <a:extLst>
                      <a:ext uri="{FF2B5EF4-FFF2-40B4-BE49-F238E27FC236}">
                        <a16:creationId xmlns:a16="http://schemas.microsoft.com/office/drawing/2014/main" id="{0F518691-BA7D-FBF7-23EC-ACBF39468621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957263" y="5762626"/>
                    <a:ext cx="87313" cy="8731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1" name="Freeform 11">
                    <a:extLst>
                      <a:ext uri="{FF2B5EF4-FFF2-40B4-BE49-F238E27FC236}">
                        <a16:creationId xmlns:a16="http://schemas.microsoft.com/office/drawing/2014/main" id="{9CEC2A92-2CA4-BCEF-20E6-F80763E8913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008188" y="2438401"/>
                    <a:ext cx="63500" cy="136525"/>
                  </a:xfrm>
                  <a:custGeom>
                    <a:avLst/>
                    <a:gdLst>
                      <a:gd name="T0" fmla="*/ 26 w 34"/>
                      <a:gd name="T1" fmla="*/ 74 h 74"/>
                      <a:gd name="T2" fmla="*/ 34 w 34"/>
                      <a:gd name="T3" fmla="*/ 71 h 74"/>
                      <a:gd name="T4" fmla="*/ 8 w 34"/>
                      <a:gd name="T5" fmla="*/ 0 h 74"/>
                      <a:gd name="T6" fmla="*/ 0 w 34"/>
                      <a:gd name="T7" fmla="*/ 2 h 74"/>
                      <a:gd name="T8" fmla="*/ 26 w 34"/>
                      <a:gd name="T9" fmla="*/ 7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" h="74">
                        <a:moveTo>
                          <a:pt x="26" y="74"/>
                        </a:moveTo>
                        <a:cubicBezTo>
                          <a:pt x="28" y="73"/>
                          <a:pt x="31" y="72"/>
                          <a:pt x="34" y="71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3" y="1"/>
                          <a:pt x="0" y="2"/>
                        </a:cubicBezTo>
                        <a:lnTo>
                          <a:pt x="26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2" name="Freeform 12">
                    <a:extLst>
                      <a:ext uri="{FF2B5EF4-FFF2-40B4-BE49-F238E27FC236}">
                        <a16:creationId xmlns:a16="http://schemas.microsoft.com/office/drawing/2014/main" id="{0D9A8DAB-23B2-2F95-0402-0A3855C417D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389188" y="2338388"/>
                    <a:ext cx="39688" cy="139700"/>
                  </a:xfrm>
                  <a:custGeom>
                    <a:avLst/>
                    <a:gdLst>
                      <a:gd name="T0" fmla="*/ 13 w 21"/>
                      <a:gd name="T1" fmla="*/ 76 h 76"/>
                      <a:gd name="T2" fmla="*/ 21 w 21"/>
                      <a:gd name="T3" fmla="*/ 75 h 76"/>
                      <a:gd name="T4" fmla="*/ 8 w 21"/>
                      <a:gd name="T5" fmla="*/ 0 h 76"/>
                      <a:gd name="T6" fmla="*/ 0 w 21"/>
                      <a:gd name="T7" fmla="*/ 1 h 76"/>
                      <a:gd name="T8" fmla="*/ 13 w 21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6">
                        <a:moveTo>
                          <a:pt x="13" y="76"/>
                        </a:moveTo>
                        <a:cubicBezTo>
                          <a:pt x="15" y="75"/>
                          <a:pt x="18" y="75"/>
                          <a:pt x="21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2" y="1"/>
                          <a:pt x="0" y="1"/>
                        </a:cubicBezTo>
                        <a:lnTo>
                          <a:pt x="13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3" name="Freeform 13">
                    <a:extLst>
                      <a:ext uri="{FF2B5EF4-FFF2-40B4-BE49-F238E27FC236}">
                        <a16:creationId xmlns:a16="http://schemas.microsoft.com/office/drawing/2014/main" id="{109D362D-DDCF-BBE1-49FC-1CFF81BE527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584450" y="2314576"/>
                    <a:ext cx="28575" cy="139700"/>
                  </a:xfrm>
                  <a:custGeom>
                    <a:avLst/>
                    <a:gdLst>
                      <a:gd name="T0" fmla="*/ 7 w 15"/>
                      <a:gd name="T1" fmla="*/ 76 h 76"/>
                      <a:gd name="T2" fmla="*/ 15 w 15"/>
                      <a:gd name="T3" fmla="*/ 75 h 76"/>
                      <a:gd name="T4" fmla="*/ 8 w 15"/>
                      <a:gd name="T5" fmla="*/ 0 h 76"/>
                      <a:gd name="T6" fmla="*/ 0 w 15"/>
                      <a:gd name="T7" fmla="*/ 1 h 76"/>
                      <a:gd name="T8" fmla="*/ 7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7" y="76"/>
                        </a:moveTo>
                        <a:cubicBezTo>
                          <a:pt x="9" y="76"/>
                          <a:pt x="12" y="75"/>
                          <a:pt x="15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6" y="0"/>
                          <a:pt x="3" y="0"/>
                          <a:pt x="0" y="1"/>
                        </a:cubicBezTo>
                        <a:lnTo>
                          <a:pt x="7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4" name="Freeform 14">
                    <a:extLst>
                      <a:ext uri="{FF2B5EF4-FFF2-40B4-BE49-F238E27FC236}">
                        <a16:creationId xmlns:a16="http://schemas.microsoft.com/office/drawing/2014/main" id="{70B051D9-87C8-8F21-5095-7789476A0E3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197100" y="2378076"/>
                    <a:ext cx="49213" cy="141288"/>
                  </a:xfrm>
                  <a:custGeom>
                    <a:avLst/>
                    <a:gdLst>
                      <a:gd name="T0" fmla="*/ 19 w 27"/>
                      <a:gd name="T1" fmla="*/ 76 h 76"/>
                      <a:gd name="T2" fmla="*/ 27 w 27"/>
                      <a:gd name="T3" fmla="*/ 73 h 76"/>
                      <a:gd name="T4" fmla="*/ 7 w 27"/>
                      <a:gd name="T5" fmla="*/ 0 h 76"/>
                      <a:gd name="T6" fmla="*/ 0 w 27"/>
                      <a:gd name="T7" fmla="*/ 2 h 76"/>
                      <a:gd name="T8" fmla="*/ 19 w 27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6">
                        <a:moveTo>
                          <a:pt x="19" y="76"/>
                        </a:moveTo>
                        <a:cubicBezTo>
                          <a:pt x="22" y="75"/>
                          <a:pt x="24" y="74"/>
                          <a:pt x="27" y="73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2" y="2"/>
                          <a:pt x="0" y="2"/>
                        </a:cubicBezTo>
                        <a:lnTo>
                          <a:pt x="19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5" name="Freeform 15">
                    <a:extLst>
                      <a:ext uri="{FF2B5EF4-FFF2-40B4-BE49-F238E27FC236}">
                        <a16:creationId xmlns:a16="http://schemas.microsoft.com/office/drawing/2014/main" id="{75AA062B-8EA7-2796-B933-9D0B4A4F8D9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322638" y="2381251"/>
                    <a:ext cx="49213" cy="138113"/>
                  </a:xfrm>
                  <a:custGeom>
                    <a:avLst/>
                    <a:gdLst>
                      <a:gd name="T0" fmla="*/ 0 w 27"/>
                      <a:gd name="T1" fmla="*/ 73 h 75"/>
                      <a:gd name="T2" fmla="*/ 8 w 27"/>
                      <a:gd name="T3" fmla="*/ 75 h 75"/>
                      <a:gd name="T4" fmla="*/ 27 w 27"/>
                      <a:gd name="T5" fmla="*/ 2 h 75"/>
                      <a:gd name="T6" fmla="*/ 20 w 27"/>
                      <a:gd name="T7" fmla="*/ 0 h 75"/>
                      <a:gd name="T8" fmla="*/ 0 w 27"/>
                      <a:gd name="T9" fmla="*/ 73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5">
                        <a:moveTo>
                          <a:pt x="0" y="73"/>
                        </a:moveTo>
                        <a:cubicBezTo>
                          <a:pt x="3" y="74"/>
                          <a:pt x="5" y="75"/>
                          <a:pt x="8" y="75"/>
                        </a:cubicBezTo>
                        <a:cubicBezTo>
                          <a:pt x="27" y="2"/>
                          <a:pt x="27" y="2"/>
                          <a:pt x="27" y="2"/>
                        </a:cubicBezTo>
                        <a:cubicBezTo>
                          <a:pt x="25" y="1"/>
                          <a:pt x="22" y="1"/>
                          <a:pt x="20" y="0"/>
                        </a:cubicBezTo>
                        <a:lnTo>
                          <a:pt x="0" y="7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6" name="Freeform 16">
                    <a:extLst>
                      <a:ext uri="{FF2B5EF4-FFF2-40B4-BE49-F238E27FC236}">
                        <a16:creationId xmlns:a16="http://schemas.microsoft.com/office/drawing/2014/main" id="{7F4178BE-05EC-A72E-1F82-1EE7E5C9A58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763838" y="2306638"/>
                    <a:ext cx="38100" cy="174625"/>
                  </a:xfrm>
                  <a:custGeom>
                    <a:avLst/>
                    <a:gdLst>
                      <a:gd name="T0" fmla="*/ 0 w 20"/>
                      <a:gd name="T1" fmla="*/ 0 h 94"/>
                      <a:gd name="T2" fmla="*/ 0 w 20"/>
                      <a:gd name="T3" fmla="*/ 94 h 94"/>
                      <a:gd name="T4" fmla="*/ 10 w 20"/>
                      <a:gd name="T5" fmla="*/ 94 h 94"/>
                      <a:gd name="T6" fmla="*/ 20 w 20"/>
                      <a:gd name="T7" fmla="*/ 94 h 94"/>
                      <a:gd name="T8" fmla="*/ 20 w 20"/>
                      <a:gd name="T9" fmla="*/ 0 h 94"/>
                      <a:gd name="T10" fmla="*/ 10 w 20"/>
                      <a:gd name="T11" fmla="*/ 0 h 94"/>
                      <a:gd name="T12" fmla="*/ 0 w 20"/>
                      <a:gd name="T13" fmla="*/ 0 h 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" h="94">
                        <a:moveTo>
                          <a:pt x="0" y="0"/>
                        </a:moveTo>
                        <a:cubicBezTo>
                          <a:pt x="0" y="94"/>
                          <a:pt x="0" y="94"/>
                          <a:pt x="0" y="94"/>
                        </a:cubicBezTo>
                        <a:cubicBezTo>
                          <a:pt x="1" y="94"/>
                          <a:pt x="8" y="94"/>
                          <a:pt x="10" y="94"/>
                        </a:cubicBezTo>
                        <a:cubicBezTo>
                          <a:pt x="11" y="94"/>
                          <a:pt x="18" y="94"/>
                          <a:pt x="20" y="94"/>
                        </a:cubicBezTo>
                        <a:cubicBezTo>
                          <a:pt x="20" y="0"/>
                          <a:pt x="20" y="0"/>
                          <a:pt x="20" y="0"/>
                        </a:cubicBezTo>
                        <a:cubicBezTo>
                          <a:pt x="18" y="0"/>
                          <a:pt x="11" y="0"/>
                          <a:pt x="10" y="0"/>
                        </a:cubicBezTo>
                        <a:cubicBezTo>
                          <a:pt x="8" y="0"/>
                          <a:pt x="1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7" name="Freeform 17">
                    <a:extLst>
                      <a:ext uri="{FF2B5EF4-FFF2-40B4-BE49-F238E27FC236}">
                        <a16:creationId xmlns:a16="http://schemas.microsoft.com/office/drawing/2014/main" id="{623DD960-B770-768A-F061-26C66D79272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143250" y="2339976"/>
                    <a:ext cx="38100" cy="138113"/>
                  </a:xfrm>
                  <a:custGeom>
                    <a:avLst/>
                    <a:gdLst>
                      <a:gd name="T0" fmla="*/ 0 w 21"/>
                      <a:gd name="T1" fmla="*/ 74 h 75"/>
                      <a:gd name="T2" fmla="*/ 8 w 21"/>
                      <a:gd name="T3" fmla="*/ 75 h 75"/>
                      <a:gd name="T4" fmla="*/ 21 w 21"/>
                      <a:gd name="T5" fmla="*/ 1 h 75"/>
                      <a:gd name="T6" fmla="*/ 13 w 21"/>
                      <a:gd name="T7" fmla="*/ 0 h 75"/>
                      <a:gd name="T8" fmla="*/ 0 w 21"/>
                      <a:gd name="T9" fmla="*/ 74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5">
                        <a:moveTo>
                          <a:pt x="0" y="74"/>
                        </a:moveTo>
                        <a:cubicBezTo>
                          <a:pt x="2" y="75"/>
                          <a:pt x="5" y="75"/>
                          <a:pt x="8" y="75"/>
                        </a:cubicBezTo>
                        <a:cubicBezTo>
                          <a:pt x="21" y="1"/>
                          <a:pt x="21" y="1"/>
                          <a:pt x="21" y="1"/>
                        </a:cubicBezTo>
                        <a:cubicBezTo>
                          <a:pt x="18" y="0"/>
                          <a:pt x="15" y="0"/>
                          <a:pt x="13" y="0"/>
                        </a:cubicBezTo>
                        <a:lnTo>
                          <a:pt x="0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8" name="Freeform 18">
                    <a:extLst>
                      <a:ext uri="{FF2B5EF4-FFF2-40B4-BE49-F238E27FC236}">
                        <a16:creationId xmlns:a16="http://schemas.microsoft.com/office/drawing/2014/main" id="{33D98B7A-F2D8-202C-A77F-93A90C5BE64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959100" y="2314576"/>
                    <a:ext cx="26988" cy="139700"/>
                  </a:xfrm>
                  <a:custGeom>
                    <a:avLst/>
                    <a:gdLst>
                      <a:gd name="T0" fmla="*/ 0 w 15"/>
                      <a:gd name="T1" fmla="*/ 76 h 76"/>
                      <a:gd name="T2" fmla="*/ 8 w 15"/>
                      <a:gd name="T3" fmla="*/ 76 h 76"/>
                      <a:gd name="T4" fmla="*/ 15 w 15"/>
                      <a:gd name="T5" fmla="*/ 1 h 76"/>
                      <a:gd name="T6" fmla="*/ 7 w 15"/>
                      <a:gd name="T7" fmla="*/ 0 h 76"/>
                      <a:gd name="T8" fmla="*/ 0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0" y="76"/>
                        </a:moveTo>
                        <a:cubicBezTo>
                          <a:pt x="3" y="76"/>
                          <a:pt x="5" y="76"/>
                          <a:pt x="8" y="76"/>
                        </a:cubicBezTo>
                        <a:cubicBezTo>
                          <a:pt x="15" y="1"/>
                          <a:pt x="15" y="1"/>
                          <a:pt x="15" y="1"/>
                        </a:cubicBezTo>
                        <a:cubicBezTo>
                          <a:pt x="12" y="1"/>
                          <a:pt x="9" y="0"/>
                          <a:pt x="7" y="0"/>
                        </a:cubicBezTo>
                        <a:lnTo>
                          <a:pt x="0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9" name="Freeform 19">
                    <a:extLst>
                      <a:ext uri="{FF2B5EF4-FFF2-40B4-BE49-F238E27FC236}">
                        <a16:creationId xmlns:a16="http://schemas.microsoft.com/office/drawing/2014/main" id="{F3C1380F-80A1-9513-E4F9-97D392CE810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27100" y="3265488"/>
                    <a:ext cx="123825" cy="92075"/>
                  </a:xfrm>
                  <a:custGeom>
                    <a:avLst/>
                    <a:gdLst>
                      <a:gd name="T0" fmla="*/ 63 w 67"/>
                      <a:gd name="T1" fmla="*/ 50 h 50"/>
                      <a:gd name="T2" fmla="*/ 67 w 67"/>
                      <a:gd name="T3" fmla="*/ 43 h 50"/>
                      <a:gd name="T4" fmla="*/ 5 w 67"/>
                      <a:gd name="T5" fmla="*/ 0 h 50"/>
                      <a:gd name="T6" fmla="*/ 0 w 67"/>
                      <a:gd name="T7" fmla="*/ 6 h 50"/>
                      <a:gd name="T8" fmla="*/ 63 w 67"/>
                      <a:gd name="T9" fmla="*/ 5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7" h="50">
                        <a:moveTo>
                          <a:pt x="63" y="50"/>
                        </a:moveTo>
                        <a:cubicBezTo>
                          <a:pt x="64" y="48"/>
                          <a:pt x="66" y="46"/>
                          <a:pt x="67" y="43"/>
                        </a:cubicBezTo>
                        <a:cubicBezTo>
                          <a:pt x="5" y="0"/>
                          <a:pt x="5" y="0"/>
                          <a:pt x="5" y="0"/>
                        </a:cubicBezTo>
                        <a:cubicBezTo>
                          <a:pt x="3" y="2"/>
                          <a:pt x="2" y="4"/>
                          <a:pt x="0" y="6"/>
                        </a:cubicBezTo>
                        <a:lnTo>
                          <a:pt x="63" y="5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0" name="Freeform 20">
                    <a:extLst>
                      <a:ext uri="{FF2B5EF4-FFF2-40B4-BE49-F238E27FC236}">
                        <a16:creationId xmlns:a16="http://schemas.microsoft.com/office/drawing/2014/main" id="{06FD7990-4047-B938-CC9C-7780EC2FC3D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0738" y="3430588"/>
                    <a:ext cx="130175" cy="82550"/>
                  </a:xfrm>
                  <a:custGeom>
                    <a:avLst/>
                    <a:gdLst>
                      <a:gd name="T0" fmla="*/ 66 w 70"/>
                      <a:gd name="T1" fmla="*/ 45 h 45"/>
                      <a:gd name="T2" fmla="*/ 70 w 70"/>
                      <a:gd name="T3" fmla="*/ 38 h 45"/>
                      <a:gd name="T4" fmla="*/ 4 w 70"/>
                      <a:gd name="T5" fmla="*/ 0 h 45"/>
                      <a:gd name="T6" fmla="*/ 0 w 70"/>
                      <a:gd name="T7" fmla="*/ 7 h 45"/>
                      <a:gd name="T8" fmla="*/ 66 w 70"/>
                      <a:gd name="T9" fmla="*/ 45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66" y="45"/>
                        </a:moveTo>
                        <a:cubicBezTo>
                          <a:pt x="68" y="43"/>
                          <a:pt x="69" y="41"/>
                          <a:pt x="70" y="38"/>
                        </a:cubicBez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3" y="3"/>
                          <a:pt x="2" y="5"/>
                          <a:pt x="0" y="7"/>
                        </a:cubicBezTo>
                        <a:lnTo>
                          <a:pt x="66" y="4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1" name="Freeform 21">
                    <a:extLst>
                      <a:ext uri="{FF2B5EF4-FFF2-40B4-BE49-F238E27FC236}">
                        <a16:creationId xmlns:a16="http://schemas.microsoft.com/office/drawing/2014/main" id="{6CEF679E-04C8-93A0-7878-A1D90313C60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1838" y="3606801"/>
                    <a:ext cx="133350" cy="71438"/>
                  </a:xfrm>
                  <a:custGeom>
                    <a:avLst/>
                    <a:gdLst>
                      <a:gd name="T0" fmla="*/ 69 w 72"/>
                      <a:gd name="T1" fmla="*/ 39 h 39"/>
                      <a:gd name="T2" fmla="*/ 72 w 72"/>
                      <a:gd name="T3" fmla="*/ 32 h 39"/>
                      <a:gd name="T4" fmla="*/ 3 w 72"/>
                      <a:gd name="T5" fmla="*/ 0 h 39"/>
                      <a:gd name="T6" fmla="*/ 0 w 72"/>
                      <a:gd name="T7" fmla="*/ 7 h 39"/>
                      <a:gd name="T8" fmla="*/ 69 w 72"/>
                      <a:gd name="T9" fmla="*/ 39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69" y="39"/>
                        </a:moveTo>
                        <a:cubicBezTo>
                          <a:pt x="70" y="37"/>
                          <a:pt x="71" y="34"/>
                          <a:pt x="72" y="32"/>
                        </a:cubicBezTo>
                        <a:cubicBezTo>
                          <a:pt x="3" y="0"/>
                          <a:pt x="3" y="0"/>
                          <a:pt x="3" y="0"/>
                        </a:cubicBezTo>
                        <a:cubicBezTo>
                          <a:pt x="2" y="2"/>
                          <a:pt x="1" y="4"/>
                          <a:pt x="0" y="7"/>
                        </a:cubicBezTo>
                        <a:lnTo>
                          <a:pt x="69" y="3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2" name="Freeform 22">
                    <a:extLst>
                      <a:ext uri="{FF2B5EF4-FFF2-40B4-BE49-F238E27FC236}">
                        <a16:creationId xmlns:a16="http://schemas.microsoft.com/office/drawing/2014/main" id="{D1B65507-F681-AD35-8879-1CE368BBA4A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498850" y="2438401"/>
                    <a:ext cx="60325" cy="138113"/>
                  </a:xfrm>
                  <a:custGeom>
                    <a:avLst/>
                    <a:gdLst>
                      <a:gd name="T0" fmla="*/ 0 w 33"/>
                      <a:gd name="T1" fmla="*/ 72 h 75"/>
                      <a:gd name="T2" fmla="*/ 7 w 33"/>
                      <a:gd name="T3" fmla="*/ 75 h 75"/>
                      <a:gd name="T4" fmla="*/ 33 w 33"/>
                      <a:gd name="T5" fmla="*/ 3 h 75"/>
                      <a:gd name="T6" fmla="*/ 26 w 33"/>
                      <a:gd name="T7" fmla="*/ 0 h 75"/>
                      <a:gd name="T8" fmla="*/ 0 w 33"/>
                      <a:gd name="T9" fmla="*/ 72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3" h="75">
                        <a:moveTo>
                          <a:pt x="0" y="72"/>
                        </a:moveTo>
                        <a:cubicBezTo>
                          <a:pt x="2" y="73"/>
                          <a:pt x="5" y="74"/>
                          <a:pt x="7" y="75"/>
                        </a:cubicBezTo>
                        <a:cubicBezTo>
                          <a:pt x="33" y="3"/>
                          <a:pt x="33" y="3"/>
                          <a:pt x="33" y="3"/>
                        </a:cubicBezTo>
                        <a:cubicBezTo>
                          <a:pt x="31" y="2"/>
                          <a:pt x="28" y="1"/>
                          <a:pt x="26" y="0"/>
                        </a:cubicBezTo>
                        <a:lnTo>
                          <a:pt x="0" y="7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3" name="Freeform 23">
                    <a:extLst>
                      <a:ext uri="{FF2B5EF4-FFF2-40B4-BE49-F238E27FC236}">
                        <a16:creationId xmlns:a16="http://schemas.microsoft.com/office/drawing/2014/main" id="{D4C203CC-5575-96B6-1F0E-11F114D997B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649413" y="2601913"/>
                    <a:ext cx="84138" cy="130175"/>
                  </a:xfrm>
                  <a:custGeom>
                    <a:avLst/>
                    <a:gdLst>
                      <a:gd name="T0" fmla="*/ 38 w 45"/>
                      <a:gd name="T1" fmla="*/ 70 h 70"/>
                      <a:gd name="T2" fmla="*/ 45 w 45"/>
                      <a:gd name="T3" fmla="*/ 66 h 70"/>
                      <a:gd name="T4" fmla="*/ 7 w 45"/>
                      <a:gd name="T5" fmla="*/ 0 h 70"/>
                      <a:gd name="T6" fmla="*/ 0 w 45"/>
                      <a:gd name="T7" fmla="*/ 4 h 70"/>
                      <a:gd name="T8" fmla="*/ 38 w 45"/>
                      <a:gd name="T9" fmla="*/ 70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38" y="70"/>
                        </a:moveTo>
                        <a:cubicBezTo>
                          <a:pt x="41" y="68"/>
                          <a:pt x="43" y="67"/>
                          <a:pt x="45" y="66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3" y="2"/>
                          <a:pt x="0" y="4"/>
                        </a:cubicBezTo>
                        <a:lnTo>
                          <a:pt x="38" y="7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4" name="Freeform 24">
                    <a:extLst>
                      <a:ext uri="{FF2B5EF4-FFF2-40B4-BE49-F238E27FC236}">
                        <a16:creationId xmlns:a16="http://schemas.microsoft.com/office/drawing/2014/main" id="{071F14F9-A594-233A-0FF5-228B8757EA7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323975" y="2832101"/>
                    <a:ext cx="101600" cy="117475"/>
                  </a:xfrm>
                  <a:custGeom>
                    <a:avLst/>
                    <a:gdLst>
                      <a:gd name="T0" fmla="*/ 49 w 55"/>
                      <a:gd name="T1" fmla="*/ 63 h 63"/>
                      <a:gd name="T2" fmla="*/ 55 w 55"/>
                      <a:gd name="T3" fmla="*/ 58 h 63"/>
                      <a:gd name="T4" fmla="*/ 6 w 55"/>
                      <a:gd name="T5" fmla="*/ 0 h 63"/>
                      <a:gd name="T6" fmla="*/ 0 w 55"/>
                      <a:gd name="T7" fmla="*/ 5 h 63"/>
                      <a:gd name="T8" fmla="*/ 49 w 55"/>
                      <a:gd name="T9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49" y="63"/>
                        </a:moveTo>
                        <a:cubicBezTo>
                          <a:pt x="51" y="61"/>
                          <a:pt x="53" y="60"/>
                          <a:pt x="55" y="58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5"/>
                        </a:cubicBezTo>
                        <a:lnTo>
                          <a:pt x="49" y="6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5" name="Freeform 25">
                    <a:extLst>
                      <a:ext uri="{FF2B5EF4-FFF2-40B4-BE49-F238E27FC236}">
                        <a16:creationId xmlns:a16="http://schemas.microsoft.com/office/drawing/2014/main" id="{5AC838AB-D271-C407-0C95-848F963637A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479550" y="2711451"/>
                    <a:ext cx="92075" cy="123825"/>
                  </a:xfrm>
                  <a:custGeom>
                    <a:avLst/>
                    <a:gdLst>
                      <a:gd name="T0" fmla="*/ 44 w 50"/>
                      <a:gd name="T1" fmla="*/ 67 h 67"/>
                      <a:gd name="T2" fmla="*/ 50 w 50"/>
                      <a:gd name="T3" fmla="*/ 62 h 67"/>
                      <a:gd name="T4" fmla="*/ 6 w 50"/>
                      <a:gd name="T5" fmla="*/ 0 h 67"/>
                      <a:gd name="T6" fmla="*/ 0 w 50"/>
                      <a:gd name="T7" fmla="*/ 4 h 67"/>
                      <a:gd name="T8" fmla="*/ 44 w 50"/>
                      <a:gd name="T9" fmla="*/ 67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0" h="67">
                        <a:moveTo>
                          <a:pt x="44" y="67"/>
                        </a:moveTo>
                        <a:cubicBezTo>
                          <a:pt x="46" y="65"/>
                          <a:pt x="48" y="64"/>
                          <a:pt x="50" y="62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4"/>
                        </a:cubicBezTo>
                        <a:lnTo>
                          <a:pt x="44" y="6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6" name="Freeform 26">
                    <a:extLst>
                      <a:ext uri="{FF2B5EF4-FFF2-40B4-BE49-F238E27FC236}">
                        <a16:creationId xmlns:a16="http://schemas.microsoft.com/office/drawing/2014/main" id="{CFA74474-C612-F5AE-E8FB-63A88AD5A75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271963" y="2960688"/>
                    <a:ext cx="109538" cy="111125"/>
                  </a:xfrm>
                  <a:custGeom>
                    <a:avLst/>
                    <a:gdLst>
                      <a:gd name="T0" fmla="*/ 5 w 59"/>
                      <a:gd name="T1" fmla="*/ 60 h 60"/>
                      <a:gd name="T2" fmla="*/ 59 w 59"/>
                      <a:gd name="T3" fmla="*/ 6 h 60"/>
                      <a:gd name="T4" fmla="*/ 56 w 59"/>
                      <a:gd name="T5" fmla="*/ 3 h 60"/>
                      <a:gd name="T6" fmla="*/ 54 w 59"/>
                      <a:gd name="T7" fmla="*/ 0 h 60"/>
                      <a:gd name="T8" fmla="*/ 0 w 59"/>
                      <a:gd name="T9" fmla="*/ 54 h 60"/>
                      <a:gd name="T10" fmla="*/ 5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" y="60"/>
                        </a:moveTo>
                        <a:cubicBezTo>
                          <a:pt x="59" y="6"/>
                          <a:pt x="59" y="6"/>
                          <a:pt x="59" y="6"/>
                        </a:cubicBezTo>
                        <a:cubicBezTo>
                          <a:pt x="58" y="5"/>
                          <a:pt x="57" y="4"/>
                          <a:pt x="56" y="3"/>
                        </a:cubicBezTo>
                        <a:cubicBezTo>
                          <a:pt x="55" y="2"/>
                          <a:pt x="55" y="1"/>
                          <a:pt x="54" y="0"/>
                        </a:cubicBezTo>
                        <a:cubicBezTo>
                          <a:pt x="0" y="54"/>
                          <a:pt x="0" y="54"/>
                          <a:pt x="0" y="54"/>
                        </a:cubicBezTo>
                        <a:cubicBezTo>
                          <a:pt x="2" y="56"/>
                          <a:pt x="4" y="58"/>
                          <a:pt x="5" y="6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7" name="Freeform 27">
                    <a:extLst>
                      <a:ext uri="{FF2B5EF4-FFF2-40B4-BE49-F238E27FC236}">
                        <a16:creationId xmlns:a16="http://schemas.microsoft.com/office/drawing/2014/main" id="{C1DBA6A5-1C60-3FF3-156E-1D58ADD08AE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79513" y="2963863"/>
                    <a:ext cx="109538" cy="111125"/>
                  </a:xfrm>
                  <a:custGeom>
                    <a:avLst/>
                    <a:gdLst>
                      <a:gd name="T0" fmla="*/ 54 w 59"/>
                      <a:gd name="T1" fmla="*/ 60 h 60"/>
                      <a:gd name="T2" fmla="*/ 59 w 59"/>
                      <a:gd name="T3" fmla="*/ 54 h 60"/>
                      <a:gd name="T4" fmla="*/ 6 w 59"/>
                      <a:gd name="T5" fmla="*/ 0 h 60"/>
                      <a:gd name="T6" fmla="*/ 5 w 59"/>
                      <a:gd name="T7" fmla="*/ 1 h 60"/>
                      <a:gd name="T8" fmla="*/ 0 w 59"/>
                      <a:gd name="T9" fmla="*/ 6 h 60"/>
                      <a:gd name="T10" fmla="*/ 54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4" y="60"/>
                        </a:moveTo>
                        <a:cubicBezTo>
                          <a:pt x="56" y="58"/>
                          <a:pt x="57" y="56"/>
                          <a:pt x="59" y="54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5" y="1"/>
                          <a:pt x="5" y="1"/>
                          <a:pt x="5" y="1"/>
                        </a:cubicBezTo>
                        <a:cubicBezTo>
                          <a:pt x="3" y="3"/>
                          <a:pt x="2" y="4"/>
                          <a:pt x="0" y="6"/>
                        </a:cubicBezTo>
                        <a:lnTo>
                          <a:pt x="54" y="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8" name="Freeform 28">
                    <a:extLst>
                      <a:ext uri="{FF2B5EF4-FFF2-40B4-BE49-F238E27FC236}">
                        <a16:creationId xmlns:a16="http://schemas.microsoft.com/office/drawing/2014/main" id="{042893CD-9EFB-E566-09E9-DC24199AB98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28638" y="4557713"/>
                    <a:ext cx="138113" cy="14288"/>
                  </a:xfrm>
                  <a:custGeom>
                    <a:avLst/>
                    <a:gdLst>
                      <a:gd name="T0" fmla="*/ 75 w 75"/>
                      <a:gd name="T1" fmla="*/ 0 h 8"/>
                      <a:gd name="T2" fmla="*/ 0 w 75"/>
                      <a:gd name="T3" fmla="*/ 0 h 8"/>
                      <a:gd name="T4" fmla="*/ 0 w 75"/>
                      <a:gd name="T5" fmla="*/ 8 h 8"/>
                      <a:gd name="T6" fmla="*/ 75 w 75"/>
                      <a:gd name="T7" fmla="*/ 8 h 8"/>
                      <a:gd name="T8" fmla="*/ 75 w 75"/>
                      <a:gd name="T9" fmla="*/ 0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8">
                        <a:moveTo>
                          <a:pt x="75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cubicBezTo>
                          <a:pt x="75" y="8"/>
                          <a:pt x="75" y="8"/>
                          <a:pt x="75" y="8"/>
                        </a:cubicBezTo>
                        <a:cubicBezTo>
                          <a:pt x="75" y="5"/>
                          <a:pt x="75" y="3"/>
                          <a:pt x="75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9" name="Freeform 29">
                    <a:extLst>
                      <a:ext uri="{FF2B5EF4-FFF2-40B4-BE49-F238E27FC236}">
                        <a16:creationId xmlns:a16="http://schemas.microsoft.com/office/drawing/2014/main" id="{209CEFC9-8A9E-E7A5-F43E-9FF8E007EBB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133850" y="2828926"/>
                    <a:ext cx="103188" cy="115888"/>
                  </a:xfrm>
                  <a:custGeom>
                    <a:avLst/>
                    <a:gdLst>
                      <a:gd name="T0" fmla="*/ 0 w 55"/>
                      <a:gd name="T1" fmla="*/ 58 h 63"/>
                      <a:gd name="T2" fmla="*/ 6 w 55"/>
                      <a:gd name="T3" fmla="*/ 63 h 63"/>
                      <a:gd name="T4" fmla="*/ 55 w 55"/>
                      <a:gd name="T5" fmla="*/ 5 h 63"/>
                      <a:gd name="T6" fmla="*/ 49 w 55"/>
                      <a:gd name="T7" fmla="*/ 0 h 63"/>
                      <a:gd name="T8" fmla="*/ 0 w 55"/>
                      <a:gd name="T9" fmla="*/ 58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0" y="58"/>
                        </a:moveTo>
                        <a:cubicBezTo>
                          <a:pt x="2" y="60"/>
                          <a:pt x="4" y="62"/>
                          <a:pt x="6" y="63"/>
                        </a:cubicBezTo>
                        <a:cubicBezTo>
                          <a:pt x="55" y="5"/>
                          <a:pt x="55" y="5"/>
                          <a:pt x="55" y="5"/>
                        </a:cubicBezTo>
                        <a:cubicBezTo>
                          <a:pt x="53" y="3"/>
                          <a:pt x="51" y="2"/>
                          <a:pt x="49" y="0"/>
                        </a:cubicBezTo>
                        <a:lnTo>
                          <a:pt x="0" y="58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0" name="Freeform 30">
                    <a:extLst>
                      <a:ext uri="{FF2B5EF4-FFF2-40B4-BE49-F238E27FC236}">
                        <a16:creationId xmlns:a16="http://schemas.microsoft.com/office/drawing/2014/main" id="{D336CD3B-EC20-2320-FA31-564BC3DC0B2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58813" y="3787776"/>
                    <a:ext cx="136525" cy="60325"/>
                  </a:xfrm>
                  <a:custGeom>
                    <a:avLst/>
                    <a:gdLst>
                      <a:gd name="T0" fmla="*/ 71 w 74"/>
                      <a:gd name="T1" fmla="*/ 33 h 33"/>
                      <a:gd name="T2" fmla="*/ 74 w 74"/>
                      <a:gd name="T3" fmla="*/ 26 h 33"/>
                      <a:gd name="T4" fmla="*/ 2 w 74"/>
                      <a:gd name="T5" fmla="*/ 0 h 33"/>
                      <a:gd name="T6" fmla="*/ 0 w 74"/>
                      <a:gd name="T7" fmla="*/ 7 h 33"/>
                      <a:gd name="T8" fmla="*/ 71 w 74"/>
                      <a:gd name="T9" fmla="*/ 33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4" h="33">
                        <a:moveTo>
                          <a:pt x="71" y="33"/>
                        </a:moveTo>
                        <a:cubicBezTo>
                          <a:pt x="72" y="31"/>
                          <a:pt x="73" y="28"/>
                          <a:pt x="74" y="26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2" y="2"/>
                          <a:pt x="1" y="5"/>
                          <a:pt x="0" y="7"/>
                        </a:cubicBezTo>
                        <a:lnTo>
                          <a:pt x="71" y="3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1" name="Freeform 31">
                    <a:extLst>
                      <a:ext uri="{FF2B5EF4-FFF2-40B4-BE49-F238E27FC236}">
                        <a16:creationId xmlns:a16="http://schemas.microsoft.com/office/drawing/2014/main" id="{A05DDD96-94C8-2CB4-B37B-4E2B2A23442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832225" y="2605088"/>
                    <a:ext cx="84138" cy="128588"/>
                  </a:xfrm>
                  <a:custGeom>
                    <a:avLst/>
                    <a:gdLst>
                      <a:gd name="T0" fmla="*/ 0 w 45"/>
                      <a:gd name="T1" fmla="*/ 65 h 70"/>
                      <a:gd name="T2" fmla="*/ 7 w 45"/>
                      <a:gd name="T3" fmla="*/ 70 h 70"/>
                      <a:gd name="T4" fmla="*/ 45 w 45"/>
                      <a:gd name="T5" fmla="*/ 4 h 70"/>
                      <a:gd name="T6" fmla="*/ 38 w 45"/>
                      <a:gd name="T7" fmla="*/ 0 h 70"/>
                      <a:gd name="T8" fmla="*/ 0 w 45"/>
                      <a:gd name="T9" fmla="*/ 65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0" y="65"/>
                        </a:moveTo>
                        <a:cubicBezTo>
                          <a:pt x="3" y="67"/>
                          <a:pt x="5" y="68"/>
                          <a:pt x="7" y="70"/>
                        </a:cubicBezTo>
                        <a:cubicBezTo>
                          <a:pt x="45" y="4"/>
                          <a:pt x="45" y="4"/>
                          <a:pt x="45" y="4"/>
                        </a:cubicBezTo>
                        <a:cubicBezTo>
                          <a:pt x="43" y="2"/>
                          <a:pt x="41" y="1"/>
                          <a:pt x="38" y="0"/>
                        </a:cubicBezTo>
                        <a:lnTo>
                          <a:pt x="0" y="65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2" name="Freeform 32">
                    <a:extLst>
                      <a:ext uri="{FF2B5EF4-FFF2-40B4-BE49-F238E27FC236}">
                        <a16:creationId xmlns:a16="http://schemas.microsoft.com/office/drawing/2014/main" id="{ACEDA170-E366-CD38-2389-595394D788C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987800" y="2708276"/>
                    <a:ext cx="95250" cy="123825"/>
                  </a:xfrm>
                  <a:custGeom>
                    <a:avLst/>
                    <a:gdLst>
                      <a:gd name="T0" fmla="*/ 0 w 51"/>
                      <a:gd name="T1" fmla="*/ 63 h 67"/>
                      <a:gd name="T2" fmla="*/ 7 w 51"/>
                      <a:gd name="T3" fmla="*/ 67 h 67"/>
                      <a:gd name="T4" fmla="*/ 51 w 51"/>
                      <a:gd name="T5" fmla="*/ 5 h 67"/>
                      <a:gd name="T6" fmla="*/ 44 w 51"/>
                      <a:gd name="T7" fmla="*/ 0 h 67"/>
                      <a:gd name="T8" fmla="*/ 0 w 51"/>
                      <a:gd name="T9" fmla="*/ 63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1" h="67">
                        <a:moveTo>
                          <a:pt x="0" y="63"/>
                        </a:moveTo>
                        <a:cubicBezTo>
                          <a:pt x="2" y="64"/>
                          <a:pt x="5" y="66"/>
                          <a:pt x="7" y="67"/>
                        </a:cubicBezTo>
                        <a:cubicBezTo>
                          <a:pt x="51" y="5"/>
                          <a:pt x="51" y="5"/>
                          <a:pt x="51" y="5"/>
                        </a:cubicBezTo>
                        <a:cubicBezTo>
                          <a:pt x="48" y="3"/>
                          <a:pt x="46" y="2"/>
                          <a:pt x="44" y="0"/>
                        </a:cubicBezTo>
                        <a:lnTo>
                          <a:pt x="0" y="63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3" name="Freeform 33">
                    <a:extLst>
                      <a:ext uri="{FF2B5EF4-FFF2-40B4-BE49-F238E27FC236}">
                        <a16:creationId xmlns:a16="http://schemas.microsoft.com/office/drawing/2014/main" id="{990294D2-874A-E8DA-160F-7FBB967E4C9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61988" y="5280026"/>
                    <a:ext cx="139700" cy="60325"/>
                  </a:xfrm>
                  <a:custGeom>
                    <a:avLst/>
                    <a:gdLst>
                      <a:gd name="T0" fmla="*/ 75 w 75"/>
                      <a:gd name="T1" fmla="*/ 7 h 33"/>
                      <a:gd name="T2" fmla="*/ 72 w 75"/>
                      <a:gd name="T3" fmla="*/ 0 h 33"/>
                      <a:gd name="T4" fmla="*/ 0 w 75"/>
                      <a:gd name="T5" fmla="*/ 26 h 33"/>
                      <a:gd name="T6" fmla="*/ 3 w 75"/>
                      <a:gd name="T7" fmla="*/ 33 h 33"/>
                      <a:gd name="T8" fmla="*/ 75 w 75"/>
                      <a:gd name="T9" fmla="*/ 7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33">
                        <a:moveTo>
                          <a:pt x="75" y="7"/>
                        </a:moveTo>
                        <a:cubicBezTo>
                          <a:pt x="74" y="5"/>
                          <a:pt x="73" y="2"/>
                          <a:pt x="72" y="0"/>
                        </a:cubicBezTo>
                        <a:cubicBezTo>
                          <a:pt x="0" y="26"/>
                          <a:pt x="0" y="26"/>
                          <a:pt x="0" y="26"/>
                        </a:cubicBezTo>
                        <a:cubicBezTo>
                          <a:pt x="1" y="28"/>
                          <a:pt x="2" y="31"/>
                          <a:pt x="3" y="33"/>
                        </a:cubicBezTo>
                        <a:lnTo>
                          <a:pt x="75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4" name="Freeform 34">
                    <a:extLst>
                      <a:ext uri="{FF2B5EF4-FFF2-40B4-BE49-F238E27FC236}">
                        <a16:creationId xmlns:a16="http://schemas.microsoft.com/office/drawing/2014/main" id="{AEFF985D-57EF-D6D4-015A-847CDB56067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04838" y="5103813"/>
                    <a:ext cx="138113" cy="50800"/>
                  </a:xfrm>
                  <a:custGeom>
                    <a:avLst/>
                    <a:gdLst>
                      <a:gd name="T0" fmla="*/ 75 w 75"/>
                      <a:gd name="T1" fmla="*/ 8 h 27"/>
                      <a:gd name="T2" fmla="*/ 73 w 75"/>
                      <a:gd name="T3" fmla="*/ 0 h 27"/>
                      <a:gd name="T4" fmla="*/ 0 w 75"/>
                      <a:gd name="T5" fmla="*/ 20 h 27"/>
                      <a:gd name="T6" fmla="*/ 2 w 75"/>
                      <a:gd name="T7" fmla="*/ 27 h 27"/>
                      <a:gd name="T8" fmla="*/ 75 w 75"/>
                      <a:gd name="T9" fmla="*/ 8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27">
                        <a:moveTo>
                          <a:pt x="75" y="8"/>
                        </a:moveTo>
                        <a:cubicBezTo>
                          <a:pt x="74" y="5"/>
                          <a:pt x="74" y="3"/>
                          <a:pt x="73" y="0"/>
                        </a:cubicBezTo>
                        <a:cubicBezTo>
                          <a:pt x="0" y="20"/>
                          <a:pt x="0" y="20"/>
                          <a:pt x="0" y="20"/>
                        </a:cubicBezTo>
                        <a:cubicBezTo>
                          <a:pt x="0" y="22"/>
                          <a:pt x="1" y="25"/>
                          <a:pt x="2" y="27"/>
                        </a:cubicBezTo>
                        <a:lnTo>
                          <a:pt x="75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5" name="Freeform 35">
                    <a:extLst>
                      <a:ext uri="{FF2B5EF4-FFF2-40B4-BE49-F238E27FC236}">
                        <a16:creationId xmlns:a16="http://schemas.microsoft.com/office/drawing/2014/main" id="{F39F96F2-552A-D608-3478-33618E8396B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8675" y="5613401"/>
                    <a:ext cx="130175" cy="82550"/>
                  </a:xfrm>
                  <a:custGeom>
                    <a:avLst/>
                    <a:gdLst>
                      <a:gd name="T0" fmla="*/ 70 w 70"/>
                      <a:gd name="T1" fmla="*/ 7 h 45"/>
                      <a:gd name="T2" fmla="*/ 66 w 70"/>
                      <a:gd name="T3" fmla="*/ 0 h 45"/>
                      <a:gd name="T4" fmla="*/ 0 w 70"/>
                      <a:gd name="T5" fmla="*/ 38 h 45"/>
                      <a:gd name="T6" fmla="*/ 4 w 70"/>
                      <a:gd name="T7" fmla="*/ 45 h 45"/>
                      <a:gd name="T8" fmla="*/ 70 w 70"/>
                      <a:gd name="T9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70" y="7"/>
                        </a:moveTo>
                        <a:cubicBezTo>
                          <a:pt x="69" y="4"/>
                          <a:pt x="67" y="2"/>
                          <a:pt x="66" y="0"/>
                        </a:cubicBezTo>
                        <a:cubicBezTo>
                          <a:pt x="0" y="38"/>
                          <a:pt x="0" y="38"/>
                          <a:pt x="0" y="38"/>
                        </a:cubicBezTo>
                        <a:cubicBezTo>
                          <a:pt x="1" y="40"/>
                          <a:pt x="3" y="42"/>
                          <a:pt x="4" y="45"/>
                        </a:cubicBezTo>
                        <a:lnTo>
                          <a:pt x="70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6" name="Freeform 36">
                    <a:extLst>
                      <a:ext uri="{FF2B5EF4-FFF2-40B4-BE49-F238E27FC236}">
                        <a16:creationId xmlns:a16="http://schemas.microsoft.com/office/drawing/2014/main" id="{A29E801F-62C0-8364-1E3F-8E017403A0D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61975" y="4924426"/>
                    <a:ext cx="141288" cy="38100"/>
                  </a:xfrm>
                  <a:custGeom>
                    <a:avLst/>
                    <a:gdLst>
                      <a:gd name="T0" fmla="*/ 76 w 76"/>
                      <a:gd name="T1" fmla="*/ 8 h 21"/>
                      <a:gd name="T2" fmla="*/ 74 w 76"/>
                      <a:gd name="T3" fmla="*/ 0 h 21"/>
                      <a:gd name="T4" fmla="*/ 0 w 76"/>
                      <a:gd name="T5" fmla="*/ 13 h 21"/>
                      <a:gd name="T6" fmla="*/ 1 w 76"/>
                      <a:gd name="T7" fmla="*/ 21 h 21"/>
                      <a:gd name="T8" fmla="*/ 76 w 76"/>
                      <a:gd name="T9" fmla="*/ 8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21">
                        <a:moveTo>
                          <a:pt x="76" y="8"/>
                        </a:moveTo>
                        <a:cubicBezTo>
                          <a:pt x="75" y="5"/>
                          <a:pt x="75" y="3"/>
                          <a:pt x="74" y="0"/>
                        </a:cubicBez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0" y="16"/>
                          <a:pt x="1" y="18"/>
                          <a:pt x="1" y="21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7" name="Freeform 37">
                    <a:extLst>
                      <a:ext uri="{FF2B5EF4-FFF2-40B4-BE49-F238E27FC236}">
                        <a16:creationId xmlns:a16="http://schemas.microsoft.com/office/drawing/2014/main" id="{B12EA620-BC30-7CA5-5986-090B736EF2B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8188" y="5449888"/>
                    <a:ext cx="133350" cy="73025"/>
                  </a:xfrm>
                  <a:custGeom>
                    <a:avLst/>
                    <a:gdLst>
                      <a:gd name="T0" fmla="*/ 72 w 72"/>
                      <a:gd name="T1" fmla="*/ 7 h 39"/>
                      <a:gd name="T2" fmla="*/ 69 w 72"/>
                      <a:gd name="T3" fmla="*/ 0 h 39"/>
                      <a:gd name="T4" fmla="*/ 0 w 72"/>
                      <a:gd name="T5" fmla="*/ 32 h 39"/>
                      <a:gd name="T6" fmla="*/ 3 w 72"/>
                      <a:gd name="T7" fmla="*/ 39 h 39"/>
                      <a:gd name="T8" fmla="*/ 72 w 72"/>
                      <a:gd name="T9" fmla="*/ 7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72" y="7"/>
                        </a:moveTo>
                        <a:cubicBezTo>
                          <a:pt x="71" y="4"/>
                          <a:pt x="70" y="2"/>
                          <a:pt x="69" y="0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1" y="34"/>
                          <a:pt x="2" y="37"/>
                          <a:pt x="3" y="39"/>
                        </a:cubicBezTo>
                        <a:lnTo>
                          <a:pt x="72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8" name="Freeform 39">
                    <a:extLst>
                      <a:ext uri="{FF2B5EF4-FFF2-40B4-BE49-F238E27FC236}">
                        <a16:creationId xmlns:a16="http://schemas.microsoft.com/office/drawing/2014/main" id="{BD77A03B-7CAD-6089-F3C4-E66DF1804ED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740276"/>
                    <a:ext cx="139700" cy="28575"/>
                  </a:xfrm>
                  <a:custGeom>
                    <a:avLst/>
                    <a:gdLst>
                      <a:gd name="T0" fmla="*/ 76 w 76"/>
                      <a:gd name="T1" fmla="*/ 8 h 15"/>
                      <a:gd name="T2" fmla="*/ 75 w 76"/>
                      <a:gd name="T3" fmla="*/ 0 h 15"/>
                      <a:gd name="T4" fmla="*/ 0 w 76"/>
                      <a:gd name="T5" fmla="*/ 7 h 15"/>
                      <a:gd name="T6" fmla="*/ 1 w 76"/>
                      <a:gd name="T7" fmla="*/ 15 h 15"/>
                      <a:gd name="T8" fmla="*/ 76 w 76"/>
                      <a:gd name="T9" fmla="*/ 8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15">
                        <a:moveTo>
                          <a:pt x="76" y="8"/>
                        </a:moveTo>
                        <a:cubicBezTo>
                          <a:pt x="76" y="6"/>
                          <a:pt x="76" y="3"/>
                          <a:pt x="75" y="0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10"/>
                          <a:pt x="1" y="12"/>
                          <a:pt x="1" y="15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9" name="Freeform 40">
                    <a:extLst>
                      <a:ext uri="{FF2B5EF4-FFF2-40B4-BE49-F238E27FC236}">
                        <a16:creationId xmlns:a16="http://schemas.microsoft.com/office/drawing/2014/main" id="{F0693874-E309-49EF-BA4D-AD75569A580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360863"/>
                    <a:ext cx="138113" cy="28575"/>
                  </a:xfrm>
                  <a:custGeom>
                    <a:avLst/>
                    <a:gdLst>
                      <a:gd name="T0" fmla="*/ 75 w 75"/>
                      <a:gd name="T1" fmla="*/ 15 h 15"/>
                      <a:gd name="T2" fmla="*/ 75 w 75"/>
                      <a:gd name="T3" fmla="*/ 7 h 15"/>
                      <a:gd name="T4" fmla="*/ 0 w 75"/>
                      <a:gd name="T5" fmla="*/ 0 h 15"/>
                      <a:gd name="T6" fmla="*/ 0 w 75"/>
                      <a:gd name="T7" fmla="*/ 8 h 15"/>
                      <a:gd name="T8" fmla="*/ 75 w 75"/>
                      <a:gd name="T9" fmla="*/ 15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5">
                        <a:moveTo>
                          <a:pt x="75" y="15"/>
                        </a:moveTo>
                        <a:cubicBezTo>
                          <a:pt x="75" y="12"/>
                          <a:pt x="75" y="9"/>
                          <a:pt x="75" y="7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lnTo>
                          <a:pt x="75" y="1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0" name="Freeform 41">
                    <a:extLst>
                      <a:ext uri="{FF2B5EF4-FFF2-40B4-BE49-F238E27FC236}">
                        <a16:creationId xmlns:a16="http://schemas.microsoft.com/office/drawing/2014/main" id="{DF44EFA7-3ACC-C831-38FB-C291973EE9F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644900" y="2508251"/>
                    <a:ext cx="107950" cy="171450"/>
                  </a:xfrm>
                  <a:custGeom>
                    <a:avLst/>
                    <a:gdLst>
                      <a:gd name="T0" fmla="*/ 39 w 58"/>
                      <a:gd name="T1" fmla="*/ 0 h 93"/>
                      <a:gd name="T2" fmla="*/ 0 w 58"/>
                      <a:gd name="T3" fmla="*/ 85 h 93"/>
                      <a:gd name="T4" fmla="*/ 10 w 58"/>
                      <a:gd name="T5" fmla="*/ 89 h 93"/>
                      <a:gd name="T6" fmla="*/ 19 w 58"/>
                      <a:gd name="T7" fmla="*/ 93 h 93"/>
                      <a:gd name="T8" fmla="*/ 58 w 58"/>
                      <a:gd name="T9" fmla="*/ 8 h 93"/>
                      <a:gd name="T10" fmla="*/ 49 w 58"/>
                      <a:gd name="T11" fmla="*/ 4 h 93"/>
                      <a:gd name="T12" fmla="*/ 39 w 58"/>
                      <a:gd name="T13" fmla="*/ 0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39" y="0"/>
                        </a:moveTo>
                        <a:cubicBezTo>
                          <a:pt x="0" y="85"/>
                          <a:pt x="0" y="85"/>
                          <a:pt x="0" y="85"/>
                        </a:cubicBezTo>
                        <a:cubicBezTo>
                          <a:pt x="2" y="85"/>
                          <a:pt x="8" y="88"/>
                          <a:pt x="10" y="89"/>
                        </a:cubicBezTo>
                        <a:cubicBezTo>
                          <a:pt x="11" y="90"/>
                          <a:pt x="17" y="93"/>
                          <a:pt x="19" y="93"/>
                        </a:cubicBezTo>
                        <a:cubicBezTo>
                          <a:pt x="58" y="8"/>
                          <a:pt x="58" y="8"/>
                          <a:pt x="58" y="8"/>
                        </a:cubicBezTo>
                        <a:cubicBezTo>
                          <a:pt x="56" y="8"/>
                          <a:pt x="50" y="4"/>
                          <a:pt x="49" y="4"/>
                        </a:cubicBezTo>
                        <a:cubicBezTo>
                          <a:pt x="47" y="3"/>
                          <a:pt x="41" y="0"/>
                          <a:pt x="39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1" name="Freeform 42">
                    <a:extLst>
                      <a:ext uri="{FF2B5EF4-FFF2-40B4-BE49-F238E27FC236}">
                        <a16:creationId xmlns:a16="http://schemas.microsoft.com/office/drawing/2014/main" id="{50CEF4F6-2084-B269-06C4-4876D528140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364038" y="3095626"/>
                    <a:ext cx="157163" cy="139700"/>
                  </a:xfrm>
                  <a:custGeom>
                    <a:avLst/>
                    <a:gdLst>
                      <a:gd name="T0" fmla="*/ 72 w 85"/>
                      <a:gd name="T1" fmla="*/ 0 h 76"/>
                      <a:gd name="T2" fmla="*/ 0 w 85"/>
                      <a:gd name="T3" fmla="*/ 60 h 76"/>
                      <a:gd name="T4" fmla="*/ 6 w 85"/>
                      <a:gd name="T5" fmla="*/ 68 h 76"/>
                      <a:gd name="T6" fmla="*/ 13 w 85"/>
                      <a:gd name="T7" fmla="*/ 76 h 76"/>
                      <a:gd name="T8" fmla="*/ 85 w 85"/>
                      <a:gd name="T9" fmla="*/ 16 h 76"/>
                      <a:gd name="T10" fmla="*/ 78 w 85"/>
                      <a:gd name="T11" fmla="*/ 8 h 76"/>
                      <a:gd name="T12" fmla="*/ 72 w 85"/>
                      <a:gd name="T13" fmla="*/ 0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6">
                        <a:moveTo>
                          <a:pt x="72" y="0"/>
                        </a:move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1" y="61"/>
                          <a:pt x="6" y="67"/>
                          <a:pt x="6" y="68"/>
                        </a:cubicBezTo>
                        <a:cubicBezTo>
                          <a:pt x="7" y="69"/>
                          <a:pt x="12" y="75"/>
                          <a:pt x="13" y="76"/>
                        </a:cubicBezTo>
                        <a:cubicBezTo>
                          <a:pt x="85" y="16"/>
                          <a:pt x="85" y="16"/>
                          <a:pt x="85" y="16"/>
                        </a:cubicBezTo>
                        <a:cubicBezTo>
                          <a:pt x="84" y="15"/>
                          <a:pt x="79" y="9"/>
                          <a:pt x="78" y="8"/>
                        </a:cubicBezTo>
                        <a:cubicBezTo>
                          <a:pt x="78" y="7"/>
                          <a:pt x="73" y="1"/>
                          <a:pt x="72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2" name="Freeform 43">
                    <a:extLst>
                      <a:ext uri="{FF2B5EF4-FFF2-40B4-BE49-F238E27FC236}">
                        <a16:creationId xmlns:a16="http://schemas.microsoft.com/office/drawing/2014/main" id="{4B6C6E05-92F5-61A5-7CF8-07E33961A6E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814513" y="2506663"/>
                    <a:ext cx="107950" cy="171450"/>
                  </a:xfrm>
                  <a:custGeom>
                    <a:avLst/>
                    <a:gdLst>
                      <a:gd name="T0" fmla="*/ 0 w 58"/>
                      <a:gd name="T1" fmla="*/ 9 h 93"/>
                      <a:gd name="T2" fmla="*/ 40 w 58"/>
                      <a:gd name="T3" fmla="*/ 93 h 93"/>
                      <a:gd name="T4" fmla="*/ 49 w 58"/>
                      <a:gd name="T5" fmla="*/ 89 h 93"/>
                      <a:gd name="T6" fmla="*/ 58 w 58"/>
                      <a:gd name="T7" fmla="*/ 85 h 93"/>
                      <a:gd name="T8" fmla="*/ 18 w 58"/>
                      <a:gd name="T9" fmla="*/ 0 h 93"/>
                      <a:gd name="T10" fmla="*/ 9 w 58"/>
                      <a:gd name="T11" fmla="*/ 4 h 93"/>
                      <a:gd name="T12" fmla="*/ 0 w 58"/>
                      <a:gd name="T13" fmla="*/ 9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0" y="9"/>
                        </a:moveTo>
                        <a:cubicBezTo>
                          <a:pt x="40" y="93"/>
                          <a:pt x="40" y="93"/>
                          <a:pt x="40" y="93"/>
                        </a:cubicBezTo>
                        <a:cubicBezTo>
                          <a:pt x="41" y="93"/>
                          <a:pt x="47" y="90"/>
                          <a:pt x="49" y="89"/>
                        </a:cubicBezTo>
                        <a:cubicBezTo>
                          <a:pt x="50" y="88"/>
                          <a:pt x="57" y="85"/>
                          <a:pt x="58" y="85"/>
                        </a:cubicBezTo>
                        <a:cubicBezTo>
                          <a:pt x="18" y="0"/>
                          <a:pt x="18" y="0"/>
                          <a:pt x="18" y="0"/>
                        </a:cubicBezTo>
                        <a:cubicBezTo>
                          <a:pt x="17" y="1"/>
                          <a:pt x="10" y="4"/>
                          <a:pt x="9" y="4"/>
                        </a:cubicBezTo>
                        <a:cubicBezTo>
                          <a:pt x="7" y="5"/>
                          <a:pt x="1" y="8"/>
                          <a:pt x="0" y="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3" name="Freeform 44">
                    <a:extLst>
                      <a:ext uri="{FF2B5EF4-FFF2-40B4-BE49-F238E27FC236}">
                        <a16:creationId xmlns:a16="http://schemas.microsoft.com/office/drawing/2014/main" id="{0E410EFA-6C48-B78C-9DFD-99DCC408708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225" y="3100388"/>
                    <a:ext cx="157163" cy="139700"/>
                  </a:xfrm>
                  <a:custGeom>
                    <a:avLst/>
                    <a:gdLst>
                      <a:gd name="T0" fmla="*/ 0 w 85"/>
                      <a:gd name="T1" fmla="*/ 16 h 75"/>
                      <a:gd name="T2" fmla="*/ 72 w 85"/>
                      <a:gd name="T3" fmla="*/ 75 h 75"/>
                      <a:gd name="T4" fmla="*/ 78 w 85"/>
                      <a:gd name="T5" fmla="*/ 67 h 75"/>
                      <a:gd name="T6" fmla="*/ 85 w 85"/>
                      <a:gd name="T7" fmla="*/ 59 h 75"/>
                      <a:gd name="T8" fmla="*/ 12 w 85"/>
                      <a:gd name="T9" fmla="*/ 0 h 75"/>
                      <a:gd name="T10" fmla="*/ 6 w 85"/>
                      <a:gd name="T11" fmla="*/ 8 h 75"/>
                      <a:gd name="T12" fmla="*/ 0 w 85"/>
                      <a:gd name="T13" fmla="*/ 16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5">
                        <a:moveTo>
                          <a:pt x="0" y="16"/>
                        </a:moveTo>
                        <a:cubicBezTo>
                          <a:pt x="72" y="75"/>
                          <a:pt x="72" y="75"/>
                          <a:pt x="72" y="75"/>
                        </a:cubicBezTo>
                        <a:cubicBezTo>
                          <a:pt x="73" y="74"/>
                          <a:pt x="78" y="68"/>
                          <a:pt x="78" y="67"/>
                        </a:cubicBezTo>
                        <a:cubicBezTo>
                          <a:pt x="79" y="66"/>
                          <a:pt x="84" y="60"/>
                          <a:pt x="85" y="59"/>
                        </a:cubicBezTo>
                        <a:cubicBezTo>
                          <a:pt x="12" y="0"/>
                          <a:pt x="12" y="0"/>
                          <a:pt x="12" y="0"/>
                        </a:cubicBezTo>
                        <a:cubicBezTo>
                          <a:pt x="11" y="1"/>
                          <a:pt x="7" y="7"/>
                          <a:pt x="6" y="8"/>
                        </a:cubicBezTo>
                        <a:cubicBezTo>
                          <a:pt x="5" y="9"/>
                          <a:pt x="0" y="14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4" name="Freeform 46">
                    <a:extLst>
                      <a:ext uri="{FF2B5EF4-FFF2-40B4-BE49-F238E27FC236}">
                        <a16:creationId xmlns:a16="http://schemas.microsoft.com/office/drawing/2014/main" id="{A76F97BC-716E-4E8F-7DBE-9FAE7F7DE00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58800" y="4906963"/>
                    <a:ext cx="177800" cy="69850"/>
                  </a:xfrm>
                  <a:custGeom>
                    <a:avLst/>
                    <a:gdLst>
                      <a:gd name="T0" fmla="*/ 4 w 96"/>
                      <a:gd name="T1" fmla="*/ 37 h 37"/>
                      <a:gd name="T2" fmla="*/ 96 w 96"/>
                      <a:gd name="T3" fmla="*/ 20 h 37"/>
                      <a:gd name="T4" fmla="*/ 94 w 96"/>
                      <a:gd name="T5" fmla="*/ 10 h 37"/>
                      <a:gd name="T6" fmla="*/ 92 w 96"/>
                      <a:gd name="T7" fmla="*/ 0 h 37"/>
                      <a:gd name="T8" fmla="*/ 0 w 96"/>
                      <a:gd name="T9" fmla="*/ 17 h 37"/>
                      <a:gd name="T10" fmla="*/ 2 w 96"/>
                      <a:gd name="T11" fmla="*/ 27 h 37"/>
                      <a:gd name="T12" fmla="*/ 4 w 96"/>
                      <a:gd name="T13" fmla="*/ 37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6" h="37">
                        <a:moveTo>
                          <a:pt x="4" y="37"/>
                        </a:moveTo>
                        <a:cubicBezTo>
                          <a:pt x="96" y="20"/>
                          <a:pt x="96" y="20"/>
                          <a:pt x="96" y="20"/>
                        </a:cubicBezTo>
                        <a:cubicBezTo>
                          <a:pt x="96" y="19"/>
                          <a:pt x="94" y="12"/>
                          <a:pt x="94" y="10"/>
                        </a:cubicBezTo>
                        <a:cubicBezTo>
                          <a:pt x="94" y="9"/>
                          <a:pt x="93" y="2"/>
                          <a:pt x="92" y="0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1" y="18"/>
                          <a:pt x="2" y="25"/>
                          <a:pt x="2" y="27"/>
                        </a:cubicBezTo>
                        <a:cubicBezTo>
                          <a:pt x="2" y="28"/>
                          <a:pt x="4" y="35"/>
                          <a:pt x="4" y="3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98" name="Group 1019">
                <a:extLst>
                  <a:ext uri="{FF2B5EF4-FFF2-40B4-BE49-F238E27FC236}">
                    <a16:creationId xmlns:a16="http://schemas.microsoft.com/office/drawing/2014/main" id="{F1CC9D2D-37B0-55CA-535D-9633DFAA646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486427" y="2263024"/>
                <a:ext cx="1699667" cy="2477857"/>
                <a:chOff x="1866900" y="3224213"/>
                <a:chExt cx="2184400" cy="3184525"/>
              </a:xfrm>
            </p:grpSpPr>
            <p:sp>
              <p:nvSpPr>
                <p:cNvPr id="223" name="Freeform 47">
                  <a:extLst>
                    <a:ext uri="{FF2B5EF4-FFF2-40B4-BE49-F238E27FC236}">
                      <a16:creationId xmlns:a16="http://schemas.microsoft.com/office/drawing/2014/main" id="{25ACD89D-34EB-E617-70DA-8EC5461CCBC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933575" y="3373438"/>
                  <a:ext cx="2117725" cy="3035300"/>
                </a:xfrm>
                <a:custGeom>
                  <a:avLst/>
                  <a:gdLst>
                    <a:gd name="T0" fmla="*/ 1142 w 1142"/>
                    <a:gd name="T1" fmla="*/ 0 h 1640"/>
                    <a:gd name="T2" fmla="*/ 883 w 1142"/>
                    <a:gd name="T3" fmla="*/ 142 h 1640"/>
                    <a:gd name="T4" fmla="*/ 947 w 1142"/>
                    <a:gd name="T5" fmla="*/ 186 h 1640"/>
                    <a:gd name="T6" fmla="*/ 619 w 1142"/>
                    <a:gd name="T7" fmla="*/ 667 h 1640"/>
                    <a:gd name="T8" fmla="*/ 588 w 1142"/>
                    <a:gd name="T9" fmla="*/ 663 h 1640"/>
                    <a:gd name="T10" fmla="*/ 465 w 1142"/>
                    <a:gd name="T11" fmla="*/ 729 h 1640"/>
                    <a:gd name="T12" fmla="*/ 463 w 1142"/>
                    <a:gd name="T13" fmla="*/ 895 h 1640"/>
                    <a:gd name="T14" fmla="*/ 0 w 1142"/>
                    <a:gd name="T15" fmla="*/ 1576 h 1640"/>
                    <a:gd name="T16" fmla="*/ 93 w 1142"/>
                    <a:gd name="T17" fmla="*/ 1640 h 1640"/>
                    <a:gd name="T18" fmla="*/ 558 w 1142"/>
                    <a:gd name="T19" fmla="*/ 959 h 1640"/>
                    <a:gd name="T20" fmla="*/ 588 w 1142"/>
                    <a:gd name="T21" fmla="*/ 963 h 1640"/>
                    <a:gd name="T22" fmla="*/ 712 w 1142"/>
                    <a:gd name="T23" fmla="*/ 897 h 1640"/>
                    <a:gd name="T24" fmla="*/ 713 w 1142"/>
                    <a:gd name="T25" fmla="*/ 731 h 1640"/>
                    <a:gd name="T26" fmla="*/ 1041 w 1142"/>
                    <a:gd name="T27" fmla="*/ 250 h 1640"/>
                    <a:gd name="T28" fmla="*/ 1105 w 1142"/>
                    <a:gd name="T29" fmla="*/ 293 h 1640"/>
                    <a:gd name="T30" fmla="*/ 1142 w 1142"/>
                    <a:gd name="T31" fmla="*/ 0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142" h="1640">
                      <a:moveTo>
                        <a:pt x="1142" y="0"/>
                      </a:move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619" y="667"/>
                        <a:pt x="619" y="667"/>
                        <a:pt x="619" y="667"/>
                      </a:cubicBezTo>
                      <a:cubicBezTo>
                        <a:pt x="609" y="665"/>
                        <a:pt x="599" y="663"/>
                        <a:pt x="588" y="663"/>
                      </a:cubicBezTo>
                      <a:cubicBezTo>
                        <a:pt x="541" y="663"/>
                        <a:pt x="494" y="686"/>
                        <a:pt x="465" y="729"/>
                      </a:cubicBezTo>
                      <a:cubicBezTo>
                        <a:pt x="430" y="780"/>
                        <a:pt x="431" y="846"/>
                        <a:pt x="463" y="895"/>
                      </a:cubicBezTo>
                      <a:cubicBezTo>
                        <a:pt x="463" y="895"/>
                        <a:pt x="56" y="1493"/>
                        <a:pt x="0" y="1576"/>
                      </a:cubicBezTo>
                      <a:cubicBezTo>
                        <a:pt x="93" y="1640"/>
                        <a:pt x="93" y="1640"/>
                        <a:pt x="93" y="1640"/>
                      </a:cubicBezTo>
                      <a:cubicBezTo>
                        <a:pt x="153" y="1551"/>
                        <a:pt x="558" y="959"/>
                        <a:pt x="558" y="959"/>
                      </a:cubicBezTo>
                      <a:cubicBezTo>
                        <a:pt x="568" y="961"/>
                        <a:pt x="578" y="963"/>
                        <a:pt x="588" y="963"/>
                      </a:cubicBezTo>
                      <a:cubicBezTo>
                        <a:pt x="636" y="963"/>
                        <a:pt x="683" y="940"/>
                        <a:pt x="712" y="897"/>
                      </a:cubicBezTo>
                      <a:cubicBezTo>
                        <a:pt x="747" y="846"/>
                        <a:pt x="745" y="780"/>
                        <a:pt x="713" y="731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142" y="0"/>
                        <a:pt x="1142" y="0"/>
                        <a:pt x="1142" y="0"/>
                      </a:cubicBezTo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 48">
                  <a:extLst>
                    <a:ext uri="{FF2B5EF4-FFF2-40B4-BE49-F238E27FC236}">
                      <a16:creationId xmlns:a16="http://schemas.microsoft.com/office/drawing/2014/main" id="{6D391310-D9AD-8185-EC08-C38F1D24C77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866900" y="3224213"/>
                  <a:ext cx="2117725" cy="3036888"/>
                </a:xfrm>
                <a:custGeom>
                  <a:avLst/>
                  <a:gdLst>
                    <a:gd name="T0" fmla="*/ 0 w 1142"/>
                    <a:gd name="T1" fmla="*/ 1576 h 1640"/>
                    <a:gd name="T2" fmla="*/ 463 w 1142"/>
                    <a:gd name="T3" fmla="*/ 895 h 1640"/>
                    <a:gd name="T4" fmla="*/ 465 w 1142"/>
                    <a:gd name="T5" fmla="*/ 729 h 1640"/>
                    <a:gd name="T6" fmla="*/ 619 w 1142"/>
                    <a:gd name="T7" fmla="*/ 667 h 1640"/>
                    <a:gd name="T8" fmla="*/ 947 w 1142"/>
                    <a:gd name="T9" fmla="*/ 186 h 1640"/>
                    <a:gd name="T10" fmla="*/ 883 w 1142"/>
                    <a:gd name="T11" fmla="*/ 142 h 1640"/>
                    <a:gd name="T12" fmla="*/ 1142 w 1142"/>
                    <a:gd name="T13" fmla="*/ 0 h 1640"/>
                    <a:gd name="T14" fmla="*/ 1105 w 1142"/>
                    <a:gd name="T15" fmla="*/ 293 h 1640"/>
                    <a:gd name="T16" fmla="*/ 1041 w 1142"/>
                    <a:gd name="T17" fmla="*/ 250 h 1640"/>
                    <a:gd name="T18" fmla="*/ 713 w 1142"/>
                    <a:gd name="T19" fmla="*/ 731 h 1640"/>
                    <a:gd name="T20" fmla="*/ 712 w 1142"/>
                    <a:gd name="T21" fmla="*/ 897 h 1640"/>
                    <a:gd name="T22" fmla="*/ 558 w 1142"/>
                    <a:gd name="T23" fmla="*/ 959 h 1640"/>
                    <a:gd name="T24" fmla="*/ 93 w 1142"/>
                    <a:gd name="T25" fmla="*/ 1640 h 1640"/>
                    <a:gd name="T26" fmla="*/ 0 w 1142"/>
                    <a:gd name="T27" fmla="*/ 1576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42" h="1640">
                      <a:moveTo>
                        <a:pt x="0" y="1576"/>
                      </a:moveTo>
                      <a:cubicBezTo>
                        <a:pt x="56" y="1493"/>
                        <a:pt x="463" y="895"/>
                        <a:pt x="463" y="895"/>
                      </a:cubicBezTo>
                      <a:cubicBezTo>
                        <a:pt x="431" y="846"/>
                        <a:pt x="430" y="780"/>
                        <a:pt x="465" y="729"/>
                      </a:cubicBezTo>
                      <a:cubicBezTo>
                        <a:pt x="500" y="677"/>
                        <a:pt x="562" y="655"/>
                        <a:pt x="619" y="667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1142" y="0"/>
                        <a:pt x="1142" y="0"/>
                        <a:pt x="1142" y="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713" y="731"/>
                        <a:pt x="713" y="731"/>
                        <a:pt x="713" y="731"/>
                      </a:cubicBezTo>
                      <a:cubicBezTo>
                        <a:pt x="745" y="780"/>
                        <a:pt x="747" y="846"/>
                        <a:pt x="712" y="897"/>
                      </a:cubicBezTo>
                      <a:cubicBezTo>
                        <a:pt x="677" y="949"/>
                        <a:pt x="615" y="971"/>
                        <a:pt x="558" y="959"/>
                      </a:cubicBezTo>
                      <a:cubicBezTo>
                        <a:pt x="558" y="959"/>
                        <a:pt x="153" y="1551"/>
                        <a:pt x="93" y="1640"/>
                      </a:cubicBezTo>
                      <a:lnTo>
                        <a:pt x="0" y="157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 49">
                  <a:extLst>
                    <a:ext uri="{FF2B5EF4-FFF2-40B4-BE49-F238E27FC236}">
                      <a16:creationId xmlns:a16="http://schemas.microsoft.com/office/drawing/2014/main" id="{C3E22D62-67E3-8ACE-C538-91DA755E94F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849563" y="4622801"/>
                  <a:ext cx="215900" cy="214313"/>
                </a:xfrm>
                <a:custGeom>
                  <a:avLst/>
                  <a:gdLst>
                    <a:gd name="T0" fmla="*/ 100 w 116"/>
                    <a:gd name="T1" fmla="*/ 87 h 116"/>
                    <a:gd name="T2" fmla="*/ 30 w 116"/>
                    <a:gd name="T3" fmla="*/ 100 h 116"/>
                    <a:gd name="T4" fmla="*/ 16 w 116"/>
                    <a:gd name="T5" fmla="*/ 29 h 116"/>
                    <a:gd name="T6" fmla="*/ 87 w 116"/>
                    <a:gd name="T7" fmla="*/ 16 h 116"/>
                    <a:gd name="T8" fmla="*/ 100 w 116"/>
                    <a:gd name="T9" fmla="*/ 87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" h="116">
                      <a:moveTo>
                        <a:pt x="100" y="87"/>
                      </a:moveTo>
                      <a:cubicBezTo>
                        <a:pt x="85" y="110"/>
                        <a:pt x="53" y="116"/>
                        <a:pt x="30" y="100"/>
                      </a:cubicBezTo>
                      <a:cubicBezTo>
                        <a:pt x="6" y="84"/>
                        <a:pt x="0" y="53"/>
                        <a:pt x="16" y="29"/>
                      </a:cubicBezTo>
                      <a:cubicBezTo>
                        <a:pt x="32" y="6"/>
                        <a:pt x="64" y="0"/>
                        <a:pt x="87" y="16"/>
                      </a:cubicBezTo>
                      <a:cubicBezTo>
                        <a:pt x="110" y="32"/>
                        <a:pt x="116" y="63"/>
                        <a:pt x="100" y="87"/>
                      </a:cubicBezTo>
                      <a:close/>
                    </a:path>
                  </a:pathLst>
                </a:custGeom>
                <a:solidFill>
                  <a:srgbClr val="002B6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Oval 50">
                  <a:extLst>
                    <a:ext uri="{FF2B5EF4-FFF2-40B4-BE49-F238E27FC236}">
                      <a16:creationId xmlns:a16="http://schemas.microsoft.com/office/drawing/2014/main" id="{C1E0AA46-984E-94B2-75F5-DE77E399BDB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2919413" y="4694238"/>
                  <a:ext cx="73025" cy="73025"/>
                </a:xfrm>
                <a:prstGeom prst="ellipse">
                  <a:avLst/>
                </a:prstGeom>
                <a:solidFill>
                  <a:srgbClr val="56B9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99" name="Group 1020">
                <a:extLst>
                  <a:ext uri="{FF2B5EF4-FFF2-40B4-BE49-F238E27FC236}">
                    <a16:creationId xmlns:a16="http://schemas.microsoft.com/office/drawing/2014/main" id="{70E59789-BBC1-6DAA-8CC9-DAFB248B702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163860" y="3516775"/>
                <a:ext cx="839952" cy="104994"/>
                <a:chOff x="4022725" y="4835526"/>
                <a:chExt cx="1079500" cy="134938"/>
              </a:xfrm>
            </p:grpSpPr>
            <p:sp>
              <p:nvSpPr>
                <p:cNvPr id="100" name="Rectangle 53">
                  <a:extLst>
                    <a:ext uri="{FF2B5EF4-FFF2-40B4-BE49-F238E27FC236}">
                      <a16:creationId xmlns:a16="http://schemas.microsoft.com/office/drawing/2014/main" id="{6C8890CC-2BD5-2F7E-5ADD-10918FDEF9E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Rectangle 54">
                  <a:extLst>
                    <a:ext uri="{FF2B5EF4-FFF2-40B4-BE49-F238E27FC236}">
                      <a16:creationId xmlns:a16="http://schemas.microsoft.com/office/drawing/2014/main" id="{E0E3F6E8-D546-1F38-ED54-45E99599B96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Rectangle 55">
                  <a:extLst>
                    <a:ext uri="{FF2B5EF4-FFF2-40B4-BE49-F238E27FC236}">
                      <a16:creationId xmlns:a16="http://schemas.microsoft.com/office/drawing/2014/main" id="{BC776D57-B8CF-8440-4833-FBB9D00A15F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Rectangle 56">
                  <a:extLst>
                    <a:ext uri="{FF2B5EF4-FFF2-40B4-BE49-F238E27FC236}">
                      <a16:creationId xmlns:a16="http://schemas.microsoft.com/office/drawing/2014/main" id="{5ED30B73-7BCF-66B1-23A2-0A50F560D74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Rectangle 57">
                  <a:extLst>
                    <a:ext uri="{FF2B5EF4-FFF2-40B4-BE49-F238E27FC236}">
                      <a16:creationId xmlns:a16="http://schemas.microsoft.com/office/drawing/2014/main" id="{5F7BAAA5-1199-46FB-3BBF-7C5F65C1D52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Rectangle 58">
                  <a:extLst>
                    <a:ext uri="{FF2B5EF4-FFF2-40B4-BE49-F238E27FC236}">
                      <a16:creationId xmlns:a16="http://schemas.microsoft.com/office/drawing/2014/main" id="{8F7359E6-646D-CE93-F5E6-3345E89CE54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 59">
                  <a:extLst>
                    <a:ext uri="{FF2B5EF4-FFF2-40B4-BE49-F238E27FC236}">
                      <a16:creationId xmlns:a16="http://schemas.microsoft.com/office/drawing/2014/main" id="{9BA5DFA4-2654-1D4A-D64F-4DAD8A90D10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 60">
                  <a:extLst>
                    <a:ext uri="{FF2B5EF4-FFF2-40B4-BE49-F238E27FC236}">
                      <a16:creationId xmlns:a16="http://schemas.microsoft.com/office/drawing/2014/main" id="{01A45301-E87A-37E1-6B53-DCC59D80A85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reeform 61">
                  <a:extLst>
                    <a:ext uri="{FF2B5EF4-FFF2-40B4-BE49-F238E27FC236}">
                      <a16:creationId xmlns:a16="http://schemas.microsoft.com/office/drawing/2014/main" id="{C5407869-BDA7-67D0-4B96-BE3B3754842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 62">
                  <a:extLst>
                    <a:ext uri="{FF2B5EF4-FFF2-40B4-BE49-F238E27FC236}">
                      <a16:creationId xmlns:a16="http://schemas.microsoft.com/office/drawing/2014/main" id="{2AFE6A40-FF10-845B-503D-29B927879BB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Rectangle 63">
                  <a:extLst>
                    <a:ext uri="{FF2B5EF4-FFF2-40B4-BE49-F238E27FC236}">
                      <a16:creationId xmlns:a16="http://schemas.microsoft.com/office/drawing/2014/main" id="{08DD8081-440C-C4BE-16D5-C6F892FD360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Rectangle 64">
                  <a:extLst>
                    <a:ext uri="{FF2B5EF4-FFF2-40B4-BE49-F238E27FC236}">
                      <a16:creationId xmlns:a16="http://schemas.microsoft.com/office/drawing/2014/main" id="{4490F6AA-0797-BE9A-1CF5-F8EA482EE6C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Rectangle 65">
                  <a:extLst>
                    <a:ext uri="{FF2B5EF4-FFF2-40B4-BE49-F238E27FC236}">
                      <a16:creationId xmlns:a16="http://schemas.microsoft.com/office/drawing/2014/main" id="{252DB20E-8BCF-6AE0-ADFA-9DE984E5230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Rectangle 66">
                  <a:extLst>
                    <a:ext uri="{FF2B5EF4-FFF2-40B4-BE49-F238E27FC236}">
                      <a16:creationId xmlns:a16="http://schemas.microsoft.com/office/drawing/2014/main" id="{4AEECA04-33A5-7789-01E6-9636CA3C237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4" name="Rectangle 67">
                  <a:extLst>
                    <a:ext uri="{FF2B5EF4-FFF2-40B4-BE49-F238E27FC236}">
                      <a16:creationId xmlns:a16="http://schemas.microsoft.com/office/drawing/2014/main" id="{0DAAD1EF-E9E8-B460-4E14-01FFAB20315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Rectangle 68">
                  <a:extLst>
                    <a:ext uri="{FF2B5EF4-FFF2-40B4-BE49-F238E27FC236}">
                      <a16:creationId xmlns:a16="http://schemas.microsoft.com/office/drawing/2014/main" id="{4932DBEE-E509-E6BF-351C-B734A9198B6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Rectangle 69">
                  <a:extLst>
                    <a:ext uri="{FF2B5EF4-FFF2-40B4-BE49-F238E27FC236}">
                      <a16:creationId xmlns:a16="http://schemas.microsoft.com/office/drawing/2014/main" id="{42CF4A39-3794-4849-9ED0-6D3F16A9811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Rectangle 70">
                  <a:extLst>
                    <a:ext uri="{FF2B5EF4-FFF2-40B4-BE49-F238E27FC236}">
                      <a16:creationId xmlns:a16="http://schemas.microsoft.com/office/drawing/2014/main" id="{BF5B43CE-049A-914A-9167-FF380C8D603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Rectangle 71">
                  <a:extLst>
                    <a:ext uri="{FF2B5EF4-FFF2-40B4-BE49-F238E27FC236}">
                      <a16:creationId xmlns:a16="http://schemas.microsoft.com/office/drawing/2014/main" id="{9352EE43-46F0-3CBB-066F-4FE42B64114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Rectangle 72">
                  <a:extLst>
                    <a:ext uri="{FF2B5EF4-FFF2-40B4-BE49-F238E27FC236}">
                      <a16:creationId xmlns:a16="http://schemas.microsoft.com/office/drawing/2014/main" id="{C1EC28D2-6A6C-A195-C0BF-6A5551BDE5F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Rectangle 73">
                  <a:extLst>
                    <a:ext uri="{FF2B5EF4-FFF2-40B4-BE49-F238E27FC236}">
                      <a16:creationId xmlns:a16="http://schemas.microsoft.com/office/drawing/2014/main" id="{FA7E9A72-E44D-FEFB-A761-BA9FCF7CF53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Rectangle 74">
                  <a:extLst>
                    <a:ext uri="{FF2B5EF4-FFF2-40B4-BE49-F238E27FC236}">
                      <a16:creationId xmlns:a16="http://schemas.microsoft.com/office/drawing/2014/main" id="{0DA5B1D4-9647-E826-F375-33FEBAD98CA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Rectangle 75">
                  <a:extLst>
                    <a:ext uri="{FF2B5EF4-FFF2-40B4-BE49-F238E27FC236}">
                      <a16:creationId xmlns:a16="http://schemas.microsoft.com/office/drawing/2014/main" id="{01C90120-71CF-9DB7-4657-768EF40C82F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Rectangle 76">
                  <a:extLst>
                    <a:ext uri="{FF2B5EF4-FFF2-40B4-BE49-F238E27FC236}">
                      <a16:creationId xmlns:a16="http://schemas.microsoft.com/office/drawing/2014/main" id="{2E67756A-249C-D184-7AED-BBDD0EBAD60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Rectangle 77">
                  <a:extLst>
                    <a:ext uri="{FF2B5EF4-FFF2-40B4-BE49-F238E27FC236}">
                      <a16:creationId xmlns:a16="http://schemas.microsoft.com/office/drawing/2014/main" id="{27302F7B-681D-A088-38DC-51A23E980AA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Rectangle 78">
                  <a:extLst>
                    <a:ext uri="{FF2B5EF4-FFF2-40B4-BE49-F238E27FC236}">
                      <a16:creationId xmlns:a16="http://schemas.microsoft.com/office/drawing/2014/main" id="{6E34A72A-1D81-B1B4-1845-6C5F5535DCB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Rectangle 79">
                  <a:extLst>
                    <a:ext uri="{FF2B5EF4-FFF2-40B4-BE49-F238E27FC236}">
                      <a16:creationId xmlns:a16="http://schemas.microsoft.com/office/drawing/2014/main" id="{726A1411-1109-3827-3EE1-67FB5CB35CC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Rectangle 80">
                  <a:extLst>
                    <a:ext uri="{FF2B5EF4-FFF2-40B4-BE49-F238E27FC236}">
                      <a16:creationId xmlns:a16="http://schemas.microsoft.com/office/drawing/2014/main" id="{BCB5DC85-F54B-D8F6-CF1A-CC22614D271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Rectangle 81">
                  <a:extLst>
                    <a:ext uri="{FF2B5EF4-FFF2-40B4-BE49-F238E27FC236}">
                      <a16:creationId xmlns:a16="http://schemas.microsoft.com/office/drawing/2014/main" id="{5E37F232-9EBB-A761-A884-EB4107A88C3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Rectangle 82">
                  <a:extLst>
                    <a:ext uri="{FF2B5EF4-FFF2-40B4-BE49-F238E27FC236}">
                      <a16:creationId xmlns:a16="http://schemas.microsoft.com/office/drawing/2014/main" id="{740C1308-862B-87F2-06D4-5AE35F3BEA7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Rectangle 83">
                  <a:extLst>
                    <a:ext uri="{FF2B5EF4-FFF2-40B4-BE49-F238E27FC236}">
                      <a16:creationId xmlns:a16="http://schemas.microsoft.com/office/drawing/2014/main" id="{1A7375E2-E015-6554-D2A5-82CA0901DEB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Rectangle 84">
                  <a:extLst>
                    <a:ext uri="{FF2B5EF4-FFF2-40B4-BE49-F238E27FC236}">
                      <a16:creationId xmlns:a16="http://schemas.microsoft.com/office/drawing/2014/main" id="{CF736C25-49D4-50A2-88C6-D38D24315A4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Rectangle 85">
                  <a:extLst>
                    <a:ext uri="{FF2B5EF4-FFF2-40B4-BE49-F238E27FC236}">
                      <a16:creationId xmlns:a16="http://schemas.microsoft.com/office/drawing/2014/main" id="{A4041D92-3B10-0E6E-A50F-8D587ECD858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Rectangle 86">
                  <a:extLst>
                    <a:ext uri="{FF2B5EF4-FFF2-40B4-BE49-F238E27FC236}">
                      <a16:creationId xmlns:a16="http://schemas.microsoft.com/office/drawing/2014/main" id="{39059D37-6FC1-903B-DA7C-B64E58275F7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Rectangle 87">
                  <a:extLst>
                    <a:ext uri="{FF2B5EF4-FFF2-40B4-BE49-F238E27FC236}">
                      <a16:creationId xmlns:a16="http://schemas.microsoft.com/office/drawing/2014/main" id="{B254E34E-F6D4-F59A-3961-3EBE711F3F7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Rectangle 88">
                  <a:extLst>
                    <a:ext uri="{FF2B5EF4-FFF2-40B4-BE49-F238E27FC236}">
                      <a16:creationId xmlns:a16="http://schemas.microsoft.com/office/drawing/2014/main" id="{997FF4E8-63C0-CD43-D724-01AD66E3B9C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 89">
                  <a:extLst>
                    <a:ext uri="{FF2B5EF4-FFF2-40B4-BE49-F238E27FC236}">
                      <a16:creationId xmlns:a16="http://schemas.microsoft.com/office/drawing/2014/main" id="{94C7F9C2-F511-D67C-92B5-650A8B665B9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Freeform 90">
                  <a:extLst>
                    <a:ext uri="{FF2B5EF4-FFF2-40B4-BE49-F238E27FC236}">
                      <a16:creationId xmlns:a16="http://schemas.microsoft.com/office/drawing/2014/main" id="{ECCA318A-F8C7-0F78-467F-F7C44010AB3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Freeform 91">
                  <a:extLst>
                    <a:ext uri="{FF2B5EF4-FFF2-40B4-BE49-F238E27FC236}">
                      <a16:creationId xmlns:a16="http://schemas.microsoft.com/office/drawing/2014/main" id="{72AFDBB5-0169-23A2-3A19-B985734BD2D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951413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Rectangle 92">
                  <a:extLst>
                    <a:ext uri="{FF2B5EF4-FFF2-40B4-BE49-F238E27FC236}">
                      <a16:creationId xmlns:a16="http://schemas.microsoft.com/office/drawing/2014/main" id="{26132AB4-180D-DEF4-BD0F-BF6C4138C9C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Rectangle 93">
                  <a:extLst>
                    <a:ext uri="{FF2B5EF4-FFF2-40B4-BE49-F238E27FC236}">
                      <a16:creationId xmlns:a16="http://schemas.microsoft.com/office/drawing/2014/main" id="{0805A64C-1130-CD64-ACB3-31CD28D6E0F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Rectangle 94">
                  <a:extLst>
                    <a:ext uri="{FF2B5EF4-FFF2-40B4-BE49-F238E27FC236}">
                      <a16:creationId xmlns:a16="http://schemas.microsoft.com/office/drawing/2014/main" id="{61DB63FD-FD11-8E8B-D6FB-669F861D1B7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Rectangle 95">
                  <a:extLst>
                    <a:ext uri="{FF2B5EF4-FFF2-40B4-BE49-F238E27FC236}">
                      <a16:creationId xmlns:a16="http://schemas.microsoft.com/office/drawing/2014/main" id="{B171CB88-6D04-8E22-78D4-3AF3F3A6E97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3" name="Freeform 96">
                  <a:extLst>
                    <a:ext uri="{FF2B5EF4-FFF2-40B4-BE49-F238E27FC236}">
                      <a16:creationId xmlns:a16="http://schemas.microsoft.com/office/drawing/2014/main" id="{400F21B4-D00E-E295-6EAD-454615A65D8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Freeform 97">
                  <a:extLst>
                    <a:ext uri="{FF2B5EF4-FFF2-40B4-BE49-F238E27FC236}">
                      <a16:creationId xmlns:a16="http://schemas.microsoft.com/office/drawing/2014/main" id="{21820F68-8BDE-8F93-1592-090D30299DB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Rectangle 98">
                  <a:extLst>
                    <a:ext uri="{FF2B5EF4-FFF2-40B4-BE49-F238E27FC236}">
                      <a16:creationId xmlns:a16="http://schemas.microsoft.com/office/drawing/2014/main" id="{91FEF7E1-3956-B38F-B342-8D740AC025E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Rectangle 99">
                  <a:extLst>
                    <a:ext uri="{FF2B5EF4-FFF2-40B4-BE49-F238E27FC236}">
                      <a16:creationId xmlns:a16="http://schemas.microsoft.com/office/drawing/2014/main" id="{7A5C096B-A25F-C0E4-EEED-177F0912687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eform 100">
                  <a:extLst>
                    <a:ext uri="{FF2B5EF4-FFF2-40B4-BE49-F238E27FC236}">
                      <a16:creationId xmlns:a16="http://schemas.microsoft.com/office/drawing/2014/main" id="{1E987D8B-A41A-CD00-618F-F9514E97D29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 101">
                  <a:extLst>
                    <a:ext uri="{FF2B5EF4-FFF2-40B4-BE49-F238E27FC236}">
                      <a16:creationId xmlns:a16="http://schemas.microsoft.com/office/drawing/2014/main" id="{8B56CB0F-7445-D3BB-63C4-7A20BAB55FF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 102">
                  <a:extLst>
                    <a:ext uri="{FF2B5EF4-FFF2-40B4-BE49-F238E27FC236}">
                      <a16:creationId xmlns:a16="http://schemas.microsoft.com/office/drawing/2014/main" id="{AD5D29F2-520C-C031-0452-137B03B057E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Freeform 103">
                  <a:extLst>
                    <a:ext uri="{FF2B5EF4-FFF2-40B4-BE49-F238E27FC236}">
                      <a16:creationId xmlns:a16="http://schemas.microsoft.com/office/drawing/2014/main" id="{E9B2485D-AEDF-8EFA-2833-1A534CF5126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Rectangle 104">
                  <a:extLst>
                    <a:ext uri="{FF2B5EF4-FFF2-40B4-BE49-F238E27FC236}">
                      <a16:creationId xmlns:a16="http://schemas.microsoft.com/office/drawing/2014/main" id="{E3966D0A-7CE8-A7D6-2516-EE1C1DA9BA0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Rectangle 105">
                  <a:extLst>
                    <a:ext uri="{FF2B5EF4-FFF2-40B4-BE49-F238E27FC236}">
                      <a16:creationId xmlns:a16="http://schemas.microsoft.com/office/drawing/2014/main" id="{F1E570F8-E81B-065F-53EB-C0C13DA2808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Rectangle 106">
                  <a:extLst>
                    <a:ext uri="{FF2B5EF4-FFF2-40B4-BE49-F238E27FC236}">
                      <a16:creationId xmlns:a16="http://schemas.microsoft.com/office/drawing/2014/main" id="{FC4F7D28-9B50-DEEE-A00C-B53E624CC26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Rectangle 107">
                  <a:extLst>
                    <a:ext uri="{FF2B5EF4-FFF2-40B4-BE49-F238E27FC236}">
                      <a16:creationId xmlns:a16="http://schemas.microsoft.com/office/drawing/2014/main" id="{F1EC02DE-C75B-30DF-77CA-BA89C6AD291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Rectangle 108">
                  <a:extLst>
                    <a:ext uri="{FF2B5EF4-FFF2-40B4-BE49-F238E27FC236}">
                      <a16:creationId xmlns:a16="http://schemas.microsoft.com/office/drawing/2014/main" id="{05BD7C3E-0DC0-C953-E82A-7FF5CEF2D8D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Rectangle 109">
                  <a:extLst>
                    <a:ext uri="{FF2B5EF4-FFF2-40B4-BE49-F238E27FC236}">
                      <a16:creationId xmlns:a16="http://schemas.microsoft.com/office/drawing/2014/main" id="{865DA7A5-0DAC-83BA-5FC1-EF0E1413958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reeform 110">
                  <a:extLst>
                    <a:ext uri="{FF2B5EF4-FFF2-40B4-BE49-F238E27FC236}">
                      <a16:creationId xmlns:a16="http://schemas.microsoft.com/office/drawing/2014/main" id="{DB35CDE7-77FB-0A48-1A7A-6835240B0DC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 111">
                  <a:extLst>
                    <a:ext uri="{FF2B5EF4-FFF2-40B4-BE49-F238E27FC236}">
                      <a16:creationId xmlns:a16="http://schemas.microsoft.com/office/drawing/2014/main" id="{A45409E5-E451-DD2A-CEF4-0BB5A968FCE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Rectangle 112">
                  <a:extLst>
                    <a:ext uri="{FF2B5EF4-FFF2-40B4-BE49-F238E27FC236}">
                      <a16:creationId xmlns:a16="http://schemas.microsoft.com/office/drawing/2014/main" id="{761C13ED-7075-D4BF-5E9C-FE6579CEE13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Rectangle 113">
                  <a:extLst>
                    <a:ext uri="{FF2B5EF4-FFF2-40B4-BE49-F238E27FC236}">
                      <a16:creationId xmlns:a16="http://schemas.microsoft.com/office/drawing/2014/main" id="{1791C7F3-655D-DDA1-8A2A-4380E4358FA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Rectangle 114">
                  <a:extLst>
                    <a:ext uri="{FF2B5EF4-FFF2-40B4-BE49-F238E27FC236}">
                      <a16:creationId xmlns:a16="http://schemas.microsoft.com/office/drawing/2014/main" id="{E5F03CEC-41D7-1014-C7F9-730FFE8A611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Rectangle 115">
                  <a:extLst>
                    <a:ext uri="{FF2B5EF4-FFF2-40B4-BE49-F238E27FC236}">
                      <a16:creationId xmlns:a16="http://schemas.microsoft.com/office/drawing/2014/main" id="{A5E9E15B-AF52-2A42-7E1F-C7FC37B7301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 116">
                  <a:extLst>
                    <a:ext uri="{FF2B5EF4-FFF2-40B4-BE49-F238E27FC236}">
                      <a16:creationId xmlns:a16="http://schemas.microsoft.com/office/drawing/2014/main" id="{CA4569E5-B43A-4AB9-E6B1-F83DA5EFF01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 117">
                  <a:extLst>
                    <a:ext uri="{FF2B5EF4-FFF2-40B4-BE49-F238E27FC236}">
                      <a16:creationId xmlns:a16="http://schemas.microsoft.com/office/drawing/2014/main" id="{388771F8-1B1B-9328-A4C4-3665ED41B0B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Rectangle 118">
                  <a:extLst>
                    <a:ext uri="{FF2B5EF4-FFF2-40B4-BE49-F238E27FC236}">
                      <a16:creationId xmlns:a16="http://schemas.microsoft.com/office/drawing/2014/main" id="{7A7D50DA-EA4B-66F8-B500-8C590B2AF51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Rectangle 119">
                  <a:extLst>
                    <a:ext uri="{FF2B5EF4-FFF2-40B4-BE49-F238E27FC236}">
                      <a16:creationId xmlns:a16="http://schemas.microsoft.com/office/drawing/2014/main" id="{B9376AFA-F475-EE1A-E24A-C9439AD8975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Rectangle 120">
                  <a:extLst>
                    <a:ext uri="{FF2B5EF4-FFF2-40B4-BE49-F238E27FC236}">
                      <a16:creationId xmlns:a16="http://schemas.microsoft.com/office/drawing/2014/main" id="{86DCEF81-0AED-432B-675B-85B5F43E27F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Rectangle 121">
                  <a:extLst>
                    <a:ext uri="{FF2B5EF4-FFF2-40B4-BE49-F238E27FC236}">
                      <a16:creationId xmlns:a16="http://schemas.microsoft.com/office/drawing/2014/main" id="{39FB299C-26FA-D3A3-9F03-D5F6CB1AF99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Rectangle 122">
                  <a:extLst>
                    <a:ext uri="{FF2B5EF4-FFF2-40B4-BE49-F238E27FC236}">
                      <a16:creationId xmlns:a16="http://schemas.microsoft.com/office/drawing/2014/main" id="{41DCBCF2-88B5-721D-6506-F458A5BA39C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Rectangle 123">
                  <a:extLst>
                    <a:ext uri="{FF2B5EF4-FFF2-40B4-BE49-F238E27FC236}">
                      <a16:creationId xmlns:a16="http://schemas.microsoft.com/office/drawing/2014/main" id="{E8B6F5DF-8825-41D3-4714-031577FA883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 124">
                  <a:extLst>
                    <a:ext uri="{FF2B5EF4-FFF2-40B4-BE49-F238E27FC236}">
                      <a16:creationId xmlns:a16="http://schemas.microsoft.com/office/drawing/2014/main" id="{E8F3B200-DD72-F054-67F3-77602F87CEE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Freeform 125">
                  <a:extLst>
                    <a:ext uri="{FF2B5EF4-FFF2-40B4-BE49-F238E27FC236}">
                      <a16:creationId xmlns:a16="http://schemas.microsoft.com/office/drawing/2014/main" id="{18051B04-4E19-7F91-09A1-AF123C4E240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Rectangle 126">
                  <a:extLst>
                    <a:ext uri="{FF2B5EF4-FFF2-40B4-BE49-F238E27FC236}">
                      <a16:creationId xmlns:a16="http://schemas.microsoft.com/office/drawing/2014/main" id="{9384981C-F6B2-A153-4BD9-7D2EE82934D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Rectangle 127">
                  <a:extLst>
                    <a:ext uri="{FF2B5EF4-FFF2-40B4-BE49-F238E27FC236}">
                      <a16:creationId xmlns:a16="http://schemas.microsoft.com/office/drawing/2014/main" id="{E04BE0CA-B6AB-0EB2-7CE9-7A84BE8C1BA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Rectangle 128">
                  <a:extLst>
                    <a:ext uri="{FF2B5EF4-FFF2-40B4-BE49-F238E27FC236}">
                      <a16:creationId xmlns:a16="http://schemas.microsoft.com/office/drawing/2014/main" id="{95A88CBC-1DD6-545B-F49E-4C552C37187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Rectangle 129">
                  <a:extLst>
                    <a:ext uri="{FF2B5EF4-FFF2-40B4-BE49-F238E27FC236}">
                      <a16:creationId xmlns:a16="http://schemas.microsoft.com/office/drawing/2014/main" id="{0466D85B-0F24-04A6-624B-09821F9F9AF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 130">
                  <a:extLst>
                    <a:ext uri="{FF2B5EF4-FFF2-40B4-BE49-F238E27FC236}">
                      <a16:creationId xmlns:a16="http://schemas.microsoft.com/office/drawing/2014/main" id="{D10F33A4-E7C0-F62D-0D29-358AE88CFDD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Freeform 131">
                  <a:extLst>
                    <a:ext uri="{FF2B5EF4-FFF2-40B4-BE49-F238E27FC236}">
                      <a16:creationId xmlns:a16="http://schemas.microsoft.com/office/drawing/2014/main" id="{5639B6A2-DC8B-5E83-EAEA-3B09E3870AB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 132">
                  <a:extLst>
                    <a:ext uri="{FF2B5EF4-FFF2-40B4-BE49-F238E27FC236}">
                      <a16:creationId xmlns:a16="http://schemas.microsoft.com/office/drawing/2014/main" id="{646F5162-697B-6A88-4E4C-FEA4DE91DE8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40288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Rectangle 133">
                  <a:extLst>
                    <a:ext uri="{FF2B5EF4-FFF2-40B4-BE49-F238E27FC236}">
                      <a16:creationId xmlns:a16="http://schemas.microsoft.com/office/drawing/2014/main" id="{10004FFD-2F45-7CEC-0FD5-4A0EF2FD918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Rectangle 134">
                  <a:extLst>
                    <a:ext uri="{FF2B5EF4-FFF2-40B4-BE49-F238E27FC236}">
                      <a16:creationId xmlns:a16="http://schemas.microsoft.com/office/drawing/2014/main" id="{0FCEDB4B-C6D2-5A0A-A742-F8B514D9B31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Rectangle 135">
                  <a:extLst>
                    <a:ext uri="{FF2B5EF4-FFF2-40B4-BE49-F238E27FC236}">
                      <a16:creationId xmlns:a16="http://schemas.microsoft.com/office/drawing/2014/main" id="{CC47B9E5-13FA-5B6D-8D5E-341B0B3671D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Rectangle 136">
                  <a:extLst>
                    <a:ext uri="{FF2B5EF4-FFF2-40B4-BE49-F238E27FC236}">
                      <a16:creationId xmlns:a16="http://schemas.microsoft.com/office/drawing/2014/main" id="{A755CB91-188B-3F09-D3F0-0FB3F78CF1F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Rectangle 137">
                  <a:extLst>
                    <a:ext uri="{FF2B5EF4-FFF2-40B4-BE49-F238E27FC236}">
                      <a16:creationId xmlns:a16="http://schemas.microsoft.com/office/drawing/2014/main" id="{82C11CE6-488D-C83C-708A-DB628BBBBA5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Rectangle 138">
                  <a:extLst>
                    <a:ext uri="{FF2B5EF4-FFF2-40B4-BE49-F238E27FC236}">
                      <a16:creationId xmlns:a16="http://schemas.microsoft.com/office/drawing/2014/main" id="{FC3AFD55-3E64-8202-4029-63DCAEDCE82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Rectangle 139">
                  <a:extLst>
                    <a:ext uri="{FF2B5EF4-FFF2-40B4-BE49-F238E27FC236}">
                      <a16:creationId xmlns:a16="http://schemas.microsoft.com/office/drawing/2014/main" id="{500035C5-BB1F-1D40-2A78-D7BE22B763A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Rectangle 140">
                  <a:extLst>
                    <a:ext uri="{FF2B5EF4-FFF2-40B4-BE49-F238E27FC236}">
                      <a16:creationId xmlns:a16="http://schemas.microsoft.com/office/drawing/2014/main" id="{1F4046D5-A669-DCF4-719F-7E7853603AF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Rectangle 141">
                  <a:extLst>
                    <a:ext uri="{FF2B5EF4-FFF2-40B4-BE49-F238E27FC236}">
                      <a16:creationId xmlns:a16="http://schemas.microsoft.com/office/drawing/2014/main" id="{D0A09BB9-BED7-42E1-40CD-5142BB42A83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Rectangle 142">
                  <a:extLst>
                    <a:ext uri="{FF2B5EF4-FFF2-40B4-BE49-F238E27FC236}">
                      <a16:creationId xmlns:a16="http://schemas.microsoft.com/office/drawing/2014/main" id="{708A3538-BED4-D802-6957-C3A746B9ABD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Freeform 143">
                  <a:extLst>
                    <a:ext uri="{FF2B5EF4-FFF2-40B4-BE49-F238E27FC236}">
                      <a16:creationId xmlns:a16="http://schemas.microsoft.com/office/drawing/2014/main" id="{2F2B70A7-2C8B-85B8-84CC-DD0D07BC584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Freeform 144">
                  <a:extLst>
                    <a:ext uri="{FF2B5EF4-FFF2-40B4-BE49-F238E27FC236}">
                      <a16:creationId xmlns:a16="http://schemas.microsoft.com/office/drawing/2014/main" id="{21F735B7-AD15-C739-E215-B57105F5112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Rectangle 145">
                  <a:extLst>
                    <a:ext uri="{FF2B5EF4-FFF2-40B4-BE49-F238E27FC236}">
                      <a16:creationId xmlns:a16="http://schemas.microsoft.com/office/drawing/2014/main" id="{D2A5043E-39F2-821D-01BE-DE672B70962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Rectangle 146">
                  <a:extLst>
                    <a:ext uri="{FF2B5EF4-FFF2-40B4-BE49-F238E27FC236}">
                      <a16:creationId xmlns:a16="http://schemas.microsoft.com/office/drawing/2014/main" id="{3B561427-8AA2-2C25-8354-AA5DF05BEB5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4" name="Freeform 147">
                  <a:extLst>
                    <a:ext uri="{FF2B5EF4-FFF2-40B4-BE49-F238E27FC236}">
                      <a16:creationId xmlns:a16="http://schemas.microsoft.com/office/drawing/2014/main" id="{35260DC7-CB90-F0FA-5F1B-53DA9FA7850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Freeform 148">
                  <a:extLst>
                    <a:ext uri="{FF2B5EF4-FFF2-40B4-BE49-F238E27FC236}">
                      <a16:creationId xmlns:a16="http://schemas.microsoft.com/office/drawing/2014/main" id="{33A78A6D-E16E-B35D-446D-74EC3EEEED4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Freeform 149">
                  <a:extLst>
                    <a:ext uri="{FF2B5EF4-FFF2-40B4-BE49-F238E27FC236}">
                      <a16:creationId xmlns:a16="http://schemas.microsoft.com/office/drawing/2014/main" id="{1F45996F-ADA7-D5CC-D597-94BCBB85264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Freeform 150">
                  <a:extLst>
                    <a:ext uri="{FF2B5EF4-FFF2-40B4-BE49-F238E27FC236}">
                      <a16:creationId xmlns:a16="http://schemas.microsoft.com/office/drawing/2014/main" id="{548F6F43-2083-729E-14BC-D6BBF15C8CF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Rectangle 151">
                  <a:extLst>
                    <a:ext uri="{FF2B5EF4-FFF2-40B4-BE49-F238E27FC236}">
                      <a16:creationId xmlns:a16="http://schemas.microsoft.com/office/drawing/2014/main" id="{5AC64A6B-D3B5-9420-A9B4-F4709D0A16D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Rectangle 152">
                  <a:extLst>
                    <a:ext uri="{FF2B5EF4-FFF2-40B4-BE49-F238E27FC236}">
                      <a16:creationId xmlns:a16="http://schemas.microsoft.com/office/drawing/2014/main" id="{F5769A86-4823-093F-66DC-46ED0039845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Rectangle 153">
                  <a:extLst>
                    <a:ext uri="{FF2B5EF4-FFF2-40B4-BE49-F238E27FC236}">
                      <a16:creationId xmlns:a16="http://schemas.microsoft.com/office/drawing/2014/main" id="{9E9457F2-24E8-0B20-968E-1BEB2B9A25E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Rectangle 154">
                  <a:extLst>
                    <a:ext uri="{FF2B5EF4-FFF2-40B4-BE49-F238E27FC236}">
                      <a16:creationId xmlns:a16="http://schemas.microsoft.com/office/drawing/2014/main" id="{18F9D854-BF33-C7F9-81A1-F43EBF19833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Rectangle 155">
                  <a:extLst>
                    <a:ext uri="{FF2B5EF4-FFF2-40B4-BE49-F238E27FC236}">
                      <a16:creationId xmlns:a16="http://schemas.microsoft.com/office/drawing/2014/main" id="{88516E4F-0F8D-A042-AEDF-2E37C33B422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Rectangle 156">
                  <a:extLst>
                    <a:ext uri="{FF2B5EF4-FFF2-40B4-BE49-F238E27FC236}">
                      <a16:creationId xmlns:a16="http://schemas.microsoft.com/office/drawing/2014/main" id="{40BB277A-198E-1FCD-E542-30BEB5F3C21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Freeform 157">
                  <a:extLst>
                    <a:ext uri="{FF2B5EF4-FFF2-40B4-BE49-F238E27FC236}">
                      <a16:creationId xmlns:a16="http://schemas.microsoft.com/office/drawing/2014/main" id="{E6F60AB5-3968-8F94-4708-5E4D91C463F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Freeform 158">
                  <a:extLst>
                    <a:ext uri="{FF2B5EF4-FFF2-40B4-BE49-F238E27FC236}">
                      <a16:creationId xmlns:a16="http://schemas.microsoft.com/office/drawing/2014/main" id="{B2247120-A1ED-6CE4-C4D8-AF16DA89C4C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6" name="Rectangle 159">
                  <a:extLst>
                    <a:ext uri="{FF2B5EF4-FFF2-40B4-BE49-F238E27FC236}">
                      <a16:creationId xmlns:a16="http://schemas.microsoft.com/office/drawing/2014/main" id="{AFD63652-E76E-C96F-37DD-C82E059D93A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7" name="Rectangle 160">
                  <a:extLst>
                    <a:ext uri="{FF2B5EF4-FFF2-40B4-BE49-F238E27FC236}">
                      <a16:creationId xmlns:a16="http://schemas.microsoft.com/office/drawing/2014/main" id="{FE3CDF70-0C3F-04DB-9035-3B1930129CC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Rectangle 161">
                  <a:extLst>
                    <a:ext uri="{FF2B5EF4-FFF2-40B4-BE49-F238E27FC236}">
                      <a16:creationId xmlns:a16="http://schemas.microsoft.com/office/drawing/2014/main" id="{17E47E5B-1E63-3A5C-B520-791B8D86532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Rectangle 162">
                  <a:extLst>
                    <a:ext uri="{FF2B5EF4-FFF2-40B4-BE49-F238E27FC236}">
                      <a16:creationId xmlns:a16="http://schemas.microsoft.com/office/drawing/2014/main" id="{0131EEAC-7839-0F8A-B663-28E6C06F89F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Rectangle 163">
                  <a:extLst>
                    <a:ext uri="{FF2B5EF4-FFF2-40B4-BE49-F238E27FC236}">
                      <a16:creationId xmlns:a16="http://schemas.microsoft.com/office/drawing/2014/main" id="{132EE99A-C638-971A-BF78-E7A98EB2B79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Rectangle 164">
                  <a:extLst>
                    <a:ext uri="{FF2B5EF4-FFF2-40B4-BE49-F238E27FC236}">
                      <a16:creationId xmlns:a16="http://schemas.microsoft.com/office/drawing/2014/main" id="{370D4C6F-8E05-DE49-654D-8AE9698B75B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Rectangle 165">
                  <a:extLst>
                    <a:ext uri="{FF2B5EF4-FFF2-40B4-BE49-F238E27FC236}">
                      <a16:creationId xmlns:a16="http://schemas.microsoft.com/office/drawing/2014/main" id="{5CDB7E80-EE71-01C1-828E-5B75D4558FF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Rectangle 166">
                  <a:extLst>
                    <a:ext uri="{FF2B5EF4-FFF2-40B4-BE49-F238E27FC236}">
                      <a16:creationId xmlns:a16="http://schemas.microsoft.com/office/drawing/2014/main" id="{B561CDA0-B799-EBFD-5885-C95CAD7F4BF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Rectangle 167">
                  <a:extLst>
                    <a:ext uri="{FF2B5EF4-FFF2-40B4-BE49-F238E27FC236}">
                      <a16:creationId xmlns:a16="http://schemas.microsoft.com/office/drawing/2014/main" id="{B976DC87-BBA3-4454-D68E-BD76F142ABD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Rectangle 168">
                  <a:extLst>
                    <a:ext uri="{FF2B5EF4-FFF2-40B4-BE49-F238E27FC236}">
                      <a16:creationId xmlns:a16="http://schemas.microsoft.com/office/drawing/2014/main" id="{1F4AE347-7C60-32B0-E455-FD3993E90CE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Rectangle 169">
                  <a:extLst>
                    <a:ext uri="{FF2B5EF4-FFF2-40B4-BE49-F238E27FC236}">
                      <a16:creationId xmlns:a16="http://schemas.microsoft.com/office/drawing/2014/main" id="{DB359F7C-20B6-BD83-D39E-20A05568FED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7" name="Rectangle 170">
                  <a:extLst>
                    <a:ext uri="{FF2B5EF4-FFF2-40B4-BE49-F238E27FC236}">
                      <a16:creationId xmlns:a16="http://schemas.microsoft.com/office/drawing/2014/main" id="{A150844A-A4B7-8B42-D993-B549608486E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8" name="Freeform 171">
                  <a:extLst>
                    <a:ext uri="{FF2B5EF4-FFF2-40B4-BE49-F238E27FC236}">
                      <a16:creationId xmlns:a16="http://schemas.microsoft.com/office/drawing/2014/main" id="{3594E039-E496-E97F-5E1F-E5FED9E5D4D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9" name="Freeform 172">
                  <a:extLst>
                    <a:ext uri="{FF2B5EF4-FFF2-40B4-BE49-F238E27FC236}">
                      <a16:creationId xmlns:a16="http://schemas.microsoft.com/office/drawing/2014/main" id="{998CB328-9037-48B2-6409-486B81A7F59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Rectangle 173">
                  <a:extLst>
                    <a:ext uri="{FF2B5EF4-FFF2-40B4-BE49-F238E27FC236}">
                      <a16:creationId xmlns:a16="http://schemas.microsoft.com/office/drawing/2014/main" id="{98567A59-CBAD-E513-EAD4-1FF837BB9E6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19563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Rectangle 174">
                  <a:extLst>
                    <a:ext uri="{FF2B5EF4-FFF2-40B4-BE49-F238E27FC236}">
                      <a16:creationId xmlns:a16="http://schemas.microsoft.com/office/drawing/2014/main" id="{A3755E28-130C-8E9E-4F8D-CF086BC6A04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1938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 175">
                  <a:extLst>
                    <a:ext uri="{FF2B5EF4-FFF2-40B4-BE49-F238E27FC236}">
                      <a16:creationId xmlns:a16="http://schemas.microsoft.com/office/drawing/2014/main" id="{5F2CC1D8-3D40-3055-8868-04E05442E5D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022725" y="4899026"/>
                  <a:ext cx="20638" cy="17463"/>
                </a:xfrm>
                <a:custGeom>
                  <a:avLst/>
                  <a:gdLst>
                    <a:gd name="T0" fmla="*/ 1 w 13"/>
                    <a:gd name="T1" fmla="*/ 11 h 11"/>
                    <a:gd name="T2" fmla="*/ 13 w 13"/>
                    <a:gd name="T3" fmla="*/ 11 h 11"/>
                    <a:gd name="T4" fmla="*/ 13 w 13"/>
                    <a:gd name="T5" fmla="*/ 0 h 11"/>
                    <a:gd name="T6" fmla="*/ 0 w 13"/>
                    <a:gd name="T7" fmla="*/ 0 h 11"/>
                    <a:gd name="T8" fmla="*/ 1 w 13"/>
                    <a:gd name="T9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1">
                      <a:moveTo>
                        <a:pt x="1" y="11"/>
                      </a:moveTo>
                      <a:lnTo>
                        <a:pt x="13" y="11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1" y="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8" name="Group 6">
              <a:extLst>
                <a:ext uri="{FF2B5EF4-FFF2-40B4-BE49-F238E27FC236}">
                  <a16:creationId xmlns:a16="http://schemas.microsoft.com/office/drawing/2014/main" id="{219090D9-A2D5-FCFD-F0E6-6435C6EB6B62}"/>
                </a:ext>
              </a:extLst>
            </p:cNvPr>
            <p:cNvGrpSpPr/>
            <p:nvPr/>
          </p:nvGrpSpPr>
          <p:grpSpPr>
            <a:xfrm>
              <a:off x="1868421" y="3874372"/>
              <a:ext cx="2908640" cy="1223224"/>
              <a:chOff x="1868421" y="3874372"/>
              <a:chExt cx="2908640" cy="1223224"/>
            </a:xfrm>
          </p:grpSpPr>
          <p:grpSp>
            <p:nvGrpSpPr>
              <p:cNvPr id="9" name="Group 2">
                <a:extLst>
                  <a:ext uri="{FF2B5EF4-FFF2-40B4-BE49-F238E27FC236}">
                    <a16:creationId xmlns:a16="http://schemas.microsoft.com/office/drawing/2014/main" id="{956FF1C3-CB47-937E-7040-4FC514AFE5F6}"/>
                  </a:ext>
                </a:extLst>
              </p:cNvPr>
              <p:cNvGrpSpPr/>
              <p:nvPr/>
            </p:nvGrpSpPr>
            <p:grpSpPr>
              <a:xfrm>
                <a:off x="1868421" y="3874372"/>
                <a:ext cx="1112318" cy="1215895"/>
                <a:chOff x="1868421" y="3874372"/>
                <a:chExt cx="1112318" cy="1215895"/>
              </a:xfrm>
            </p:grpSpPr>
            <p:sp>
              <p:nvSpPr>
                <p:cNvPr id="72" name="Freeform 177">
                  <a:extLst>
                    <a:ext uri="{FF2B5EF4-FFF2-40B4-BE49-F238E27FC236}">
                      <a16:creationId xmlns:a16="http://schemas.microsoft.com/office/drawing/2014/main" id="{D8364B0B-5F99-BCE8-D9A9-6BB2F6123D1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163948" y="4817283"/>
                  <a:ext cx="124002" cy="272984"/>
                </a:xfrm>
                <a:custGeom>
                  <a:avLst/>
                  <a:gdLst>
                    <a:gd name="T0" fmla="*/ 20 w 119"/>
                    <a:gd name="T1" fmla="*/ 0 h 262"/>
                    <a:gd name="T2" fmla="*/ 3 w 119"/>
                    <a:gd name="T3" fmla="*/ 0 h 262"/>
                    <a:gd name="T4" fmla="*/ 4 w 119"/>
                    <a:gd name="T5" fmla="*/ 6 h 262"/>
                    <a:gd name="T6" fmla="*/ 22 w 119"/>
                    <a:gd name="T7" fmla="*/ 13 h 262"/>
                    <a:gd name="T8" fmla="*/ 42 w 119"/>
                    <a:gd name="T9" fmla="*/ 23 h 262"/>
                    <a:gd name="T10" fmla="*/ 46 w 119"/>
                    <a:gd name="T11" fmla="*/ 26 h 262"/>
                    <a:gd name="T12" fmla="*/ 35 w 119"/>
                    <a:gd name="T13" fmla="*/ 28 h 262"/>
                    <a:gd name="T14" fmla="*/ 37 w 119"/>
                    <a:gd name="T15" fmla="*/ 262 h 262"/>
                    <a:gd name="T16" fmla="*/ 119 w 119"/>
                    <a:gd name="T17" fmla="*/ 262 h 262"/>
                    <a:gd name="T18" fmla="*/ 69 w 119"/>
                    <a:gd name="T19" fmla="*/ 23 h 262"/>
                    <a:gd name="T20" fmla="*/ 68 w 119"/>
                    <a:gd name="T21" fmla="*/ 23 h 262"/>
                    <a:gd name="T22" fmla="*/ 69 w 119"/>
                    <a:gd name="T23" fmla="*/ 1 h 262"/>
                    <a:gd name="T24" fmla="*/ 49 w 119"/>
                    <a:gd name="T25" fmla="*/ 1 h 262"/>
                    <a:gd name="T26" fmla="*/ 48 w 119"/>
                    <a:gd name="T27" fmla="*/ 9 h 262"/>
                    <a:gd name="T28" fmla="*/ 20 w 119"/>
                    <a:gd name="T29" fmla="*/ 0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9" h="262">
                      <a:moveTo>
                        <a:pt x="20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0" y="5"/>
                        <a:pt x="4" y="6"/>
                      </a:cubicBezTo>
                      <a:cubicBezTo>
                        <a:pt x="6" y="7"/>
                        <a:pt x="22" y="13"/>
                        <a:pt x="22" y="13"/>
                      </a:cubicBezTo>
                      <a:cubicBezTo>
                        <a:pt x="42" y="23"/>
                        <a:pt x="42" y="23"/>
                        <a:pt x="42" y="23"/>
                      </a:cubicBezTo>
                      <a:cubicBezTo>
                        <a:pt x="46" y="26"/>
                        <a:pt x="46" y="26"/>
                        <a:pt x="46" y="26"/>
                      </a:cubicBezTo>
                      <a:cubicBezTo>
                        <a:pt x="35" y="28"/>
                        <a:pt x="35" y="28"/>
                        <a:pt x="35" y="28"/>
                      </a:cubicBezTo>
                      <a:cubicBezTo>
                        <a:pt x="37" y="262"/>
                        <a:pt x="37" y="262"/>
                        <a:pt x="37" y="262"/>
                      </a:cubicBezTo>
                      <a:cubicBezTo>
                        <a:pt x="119" y="262"/>
                        <a:pt x="119" y="262"/>
                        <a:pt x="119" y="262"/>
                      </a:cubicBezTo>
                      <a:cubicBezTo>
                        <a:pt x="105" y="159"/>
                        <a:pt x="69" y="23"/>
                        <a:pt x="69" y="23"/>
                      </a:cubicBezTo>
                      <a:cubicBezTo>
                        <a:pt x="68" y="23"/>
                        <a:pt x="68" y="23"/>
                        <a:pt x="68" y="23"/>
                      </a:cubicBezTo>
                      <a:cubicBezTo>
                        <a:pt x="69" y="1"/>
                        <a:pt x="69" y="1"/>
                        <a:pt x="69" y="1"/>
                      </a:cubicBezTo>
                      <a:cubicBezTo>
                        <a:pt x="49" y="1"/>
                        <a:pt x="49" y="1"/>
                        <a:pt x="49" y="1"/>
                      </a:cubicBezTo>
                      <a:cubicBezTo>
                        <a:pt x="48" y="9"/>
                        <a:pt x="48" y="9"/>
                        <a:pt x="48" y="9"/>
                      </a:cubicBezTo>
                      <a:cubicBezTo>
                        <a:pt x="20" y="0"/>
                        <a:pt x="20" y="0"/>
                        <a:pt x="20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grpSp>
              <p:nvGrpSpPr>
                <p:cNvPr id="73" name="Group 1087">
                  <a:extLst>
                    <a:ext uri="{FF2B5EF4-FFF2-40B4-BE49-F238E27FC236}">
                      <a16:creationId xmlns:a16="http://schemas.microsoft.com/office/drawing/2014/main" id="{7DC104C8-E083-80C2-5B21-DA0F96CA89C1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1868421" y="3874372"/>
                  <a:ext cx="1112318" cy="907889"/>
                  <a:chOff x="10205244" y="514350"/>
                  <a:chExt cx="1429544" cy="1166813"/>
                </a:xfrm>
              </p:grpSpPr>
              <p:sp>
                <p:nvSpPr>
                  <p:cNvPr id="74" name="Freeform 254">
                    <a:extLst>
                      <a:ext uri="{FF2B5EF4-FFF2-40B4-BE49-F238E27FC236}">
                        <a16:creationId xmlns:a16="http://schemas.microsoft.com/office/drawing/2014/main" id="{8A94DBDD-BF8A-6D3B-205F-8249DB9ADBF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05244" y="950913"/>
                    <a:ext cx="88900" cy="63500"/>
                  </a:xfrm>
                  <a:custGeom>
                    <a:avLst/>
                    <a:gdLst>
                      <a:gd name="T0" fmla="*/ 47 w 48"/>
                      <a:gd name="T1" fmla="*/ 8 h 35"/>
                      <a:gd name="T2" fmla="*/ 47 w 48"/>
                      <a:gd name="T3" fmla="*/ 0 h 35"/>
                      <a:gd name="T4" fmla="*/ 16 w 48"/>
                      <a:gd name="T5" fmla="*/ 3 h 35"/>
                      <a:gd name="T6" fmla="*/ 21 w 48"/>
                      <a:gd name="T7" fmla="*/ 6 h 35"/>
                      <a:gd name="T8" fmla="*/ 29 w 48"/>
                      <a:gd name="T9" fmla="*/ 7 h 35"/>
                      <a:gd name="T10" fmla="*/ 14 w 48"/>
                      <a:gd name="T11" fmla="*/ 24 h 35"/>
                      <a:gd name="T12" fmla="*/ 2 w 48"/>
                      <a:gd name="T13" fmla="*/ 24 h 35"/>
                      <a:gd name="T14" fmla="*/ 0 w 48"/>
                      <a:gd name="T15" fmla="*/ 28 h 35"/>
                      <a:gd name="T16" fmla="*/ 15 w 48"/>
                      <a:gd name="T17" fmla="*/ 29 h 35"/>
                      <a:gd name="T18" fmla="*/ 5 w 48"/>
                      <a:gd name="T19" fmla="*/ 33 h 35"/>
                      <a:gd name="T20" fmla="*/ 6 w 48"/>
                      <a:gd name="T21" fmla="*/ 35 h 35"/>
                      <a:gd name="T22" fmla="*/ 27 w 48"/>
                      <a:gd name="T23" fmla="*/ 31 h 35"/>
                      <a:gd name="T24" fmla="*/ 31 w 48"/>
                      <a:gd name="T25" fmla="*/ 27 h 35"/>
                      <a:gd name="T26" fmla="*/ 39 w 48"/>
                      <a:gd name="T27" fmla="*/ 19 h 35"/>
                      <a:gd name="T28" fmla="*/ 44 w 48"/>
                      <a:gd name="T29" fmla="*/ 14 h 35"/>
                      <a:gd name="T30" fmla="*/ 48 w 48"/>
                      <a:gd name="T31" fmla="*/ 14 h 35"/>
                      <a:gd name="T32" fmla="*/ 47 w 48"/>
                      <a:gd name="T33" fmla="*/ 8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48" h="35">
                        <a:moveTo>
                          <a:pt x="47" y="8"/>
                        </a:moveTo>
                        <a:cubicBezTo>
                          <a:pt x="47" y="4"/>
                          <a:pt x="47" y="2"/>
                          <a:pt x="47" y="0"/>
                        </a:cubicBezTo>
                        <a:cubicBezTo>
                          <a:pt x="36" y="0"/>
                          <a:pt x="16" y="3"/>
                          <a:pt x="16" y="3"/>
                        </a:cubicBezTo>
                        <a:cubicBezTo>
                          <a:pt x="16" y="3"/>
                          <a:pt x="16" y="6"/>
                          <a:pt x="21" y="6"/>
                        </a:cubicBezTo>
                        <a:cubicBezTo>
                          <a:pt x="26" y="6"/>
                          <a:pt x="29" y="7"/>
                          <a:pt x="29" y="7"/>
                        </a:cubicBezTo>
                        <a:cubicBezTo>
                          <a:pt x="14" y="24"/>
                          <a:pt x="14" y="24"/>
                          <a:pt x="14" y="24"/>
                        </a:cubicBezTo>
                        <a:cubicBezTo>
                          <a:pt x="14" y="24"/>
                          <a:pt x="4" y="24"/>
                          <a:pt x="2" y="24"/>
                        </a:cubicBezTo>
                        <a:cubicBezTo>
                          <a:pt x="1" y="25"/>
                          <a:pt x="0" y="27"/>
                          <a:pt x="0" y="28"/>
                        </a:cubicBezTo>
                        <a:cubicBezTo>
                          <a:pt x="4" y="28"/>
                          <a:pt x="15" y="29"/>
                          <a:pt x="15" y="29"/>
                        </a:cubicBezTo>
                        <a:cubicBezTo>
                          <a:pt x="15" y="29"/>
                          <a:pt x="7" y="31"/>
                          <a:pt x="5" y="33"/>
                        </a:cubicBezTo>
                        <a:cubicBezTo>
                          <a:pt x="5" y="33"/>
                          <a:pt x="4" y="35"/>
                          <a:pt x="6" y="35"/>
                        </a:cubicBezTo>
                        <a:cubicBezTo>
                          <a:pt x="15" y="34"/>
                          <a:pt x="26" y="32"/>
                          <a:pt x="27" y="31"/>
                        </a:cubicBezTo>
                        <a:cubicBezTo>
                          <a:pt x="29" y="29"/>
                          <a:pt x="31" y="27"/>
                          <a:pt x="31" y="27"/>
                        </a:cubicBezTo>
                        <a:cubicBezTo>
                          <a:pt x="31" y="27"/>
                          <a:pt x="35" y="23"/>
                          <a:pt x="39" y="19"/>
                        </a:cubicBezTo>
                        <a:cubicBezTo>
                          <a:pt x="43" y="16"/>
                          <a:pt x="44" y="14"/>
                          <a:pt x="44" y="14"/>
                        </a:cubicBezTo>
                        <a:cubicBezTo>
                          <a:pt x="48" y="14"/>
                          <a:pt x="48" y="14"/>
                          <a:pt x="48" y="14"/>
                        </a:cubicBezTo>
                        <a:cubicBezTo>
                          <a:pt x="48" y="14"/>
                          <a:pt x="47" y="11"/>
                          <a:pt x="47" y="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" name="Freeform 235">
                    <a:extLst>
                      <a:ext uri="{FF2B5EF4-FFF2-40B4-BE49-F238E27FC236}">
                        <a16:creationId xmlns:a16="http://schemas.microsoft.com/office/drawing/2014/main" id="{A9EB86D8-C34D-1DD6-1C46-E0487A7F453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20438" y="976313"/>
                    <a:ext cx="206375" cy="155575"/>
                  </a:xfrm>
                  <a:custGeom>
                    <a:avLst/>
                    <a:gdLst>
                      <a:gd name="T0" fmla="*/ 112 w 112"/>
                      <a:gd name="T1" fmla="*/ 84 h 84"/>
                      <a:gd name="T2" fmla="*/ 30 w 112"/>
                      <a:gd name="T3" fmla="*/ 73 h 84"/>
                      <a:gd name="T4" fmla="*/ 0 w 112"/>
                      <a:gd name="T5" fmla="*/ 0 h 84"/>
                      <a:gd name="T6" fmla="*/ 68 w 112"/>
                      <a:gd name="T7" fmla="*/ 23 h 84"/>
                      <a:gd name="T8" fmla="*/ 112 w 112"/>
                      <a:gd name="T9" fmla="*/ 84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2" h="84">
                        <a:moveTo>
                          <a:pt x="112" y="84"/>
                        </a:moveTo>
                        <a:cubicBezTo>
                          <a:pt x="112" y="84"/>
                          <a:pt x="80" y="48"/>
                          <a:pt x="30" y="73"/>
                        </a:cubicBezTo>
                        <a:cubicBezTo>
                          <a:pt x="9" y="83"/>
                          <a:pt x="0" y="0"/>
                          <a:pt x="0" y="0"/>
                        </a:cubicBezTo>
                        <a:cubicBezTo>
                          <a:pt x="0" y="0"/>
                          <a:pt x="11" y="5"/>
                          <a:pt x="68" y="23"/>
                        </a:cubicBezTo>
                        <a:cubicBezTo>
                          <a:pt x="83" y="28"/>
                          <a:pt x="112" y="84"/>
                          <a:pt x="112" y="84"/>
                        </a:cubicBezTo>
                        <a:close/>
                      </a:path>
                    </a:pathLst>
                  </a:custGeom>
                  <a:solidFill>
                    <a:srgbClr val="5D819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Freeform 236">
                    <a:extLst>
                      <a:ext uri="{FF2B5EF4-FFF2-40B4-BE49-F238E27FC236}">
                        <a16:creationId xmlns:a16="http://schemas.microsoft.com/office/drawing/2014/main" id="{45AF6869-074D-4AF7-5DF5-A73E7BE48D4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555413" y="1190625"/>
                    <a:ext cx="79375" cy="52388"/>
                  </a:xfrm>
                  <a:custGeom>
                    <a:avLst/>
                    <a:gdLst>
                      <a:gd name="T0" fmla="*/ 0 w 43"/>
                      <a:gd name="T1" fmla="*/ 12 h 28"/>
                      <a:gd name="T2" fmla="*/ 7 w 43"/>
                      <a:gd name="T3" fmla="*/ 0 h 28"/>
                      <a:gd name="T4" fmla="*/ 19 w 43"/>
                      <a:gd name="T5" fmla="*/ 7 h 28"/>
                      <a:gd name="T6" fmla="*/ 16 w 43"/>
                      <a:gd name="T7" fmla="*/ 12 h 28"/>
                      <a:gd name="T8" fmla="*/ 35 w 43"/>
                      <a:gd name="T9" fmla="*/ 18 h 28"/>
                      <a:gd name="T10" fmla="*/ 43 w 43"/>
                      <a:gd name="T11" fmla="*/ 24 h 28"/>
                      <a:gd name="T12" fmla="*/ 40 w 43"/>
                      <a:gd name="T13" fmla="*/ 27 h 28"/>
                      <a:gd name="T14" fmla="*/ 29 w 43"/>
                      <a:gd name="T15" fmla="*/ 25 h 28"/>
                      <a:gd name="T16" fmla="*/ 12 w 43"/>
                      <a:gd name="T17" fmla="*/ 24 h 28"/>
                      <a:gd name="T18" fmla="*/ 0 w 43"/>
                      <a:gd name="T19" fmla="*/ 12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3" h="28">
                        <a:moveTo>
                          <a:pt x="0" y="12"/>
                        </a:move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19" y="7"/>
                          <a:pt x="19" y="7"/>
                          <a:pt x="19" y="7"/>
                        </a:cubicBezTo>
                        <a:cubicBezTo>
                          <a:pt x="16" y="12"/>
                          <a:pt x="16" y="12"/>
                          <a:pt x="16" y="12"/>
                        </a:cubicBezTo>
                        <a:cubicBezTo>
                          <a:pt x="35" y="18"/>
                          <a:pt x="35" y="18"/>
                          <a:pt x="35" y="18"/>
                        </a:cubicBezTo>
                        <a:cubicBezTo>
                          <a:pt x="43" y="24"/>
                          <a:pt x="43" y="24"/>
                          <a:pt x="43" y="24"/>
                        </a:cubicBezTo>
                        <a:cubicBezTo>
                          <a:pt x="43" y="24"/>
                          <a:pt x="43" y="28"/>
                          <a:pt x="40" y="27"/>
                        </a:cubicBezTo>
                        <a:cubicBezTo>
                          <a:pt x="39" y="27"/>
                          <a:pt x="29" y="25"/>
                          <a:pt x="29" y="25"/>
                        </a:cubicBezTo>
                        <a:cubicBezTo>
                          <a:pt x="12" y="24"/>
                          <a:pt x="12" y="24"/>
                          <a:pt x="12" y="24"/>
                        </a:cubicBez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" name="Freeform 237">
                    <a:extLst>
                      <a:ext uri="{FF2B5EF4-FFF2-40B4-BE49-F238E27FC236}">
                        <a16:creationId xmlns:a16="http://schemas.microsoft.com/office/drawing/2014/main" id="{E120A926-44A2-644A-4579-B3C0A873F3C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049000" y="1157288"/>
                    <a:ext cx="534988" cy="444500"/>
                  </a:xfrm>
                  <a:custGeom>
                    <a:avLst/>
                    <a:gdLst>
                      <a:gd name="T0" fmla="*/ 13 w 288"/>
                      <a:gd name="T1" fmla="*/ 30 h 240"/>
                      <a:gd name="T2" fmla="*/ 97 w 288"/>
                      <a:gd name="T3" fmla="*/ 29 h 240"/>
                      <a:gd name="T4" fmla="*/ 121 w 288"/>
                      <a:gd name="T5" fmla="*/ 154 h 240"/>
                      <a:gd name="T6" fmla="*/ 269 w 288"/>
                      <a:gd name="T7" fmla="*/ 26 h 240"/>
                      <a:gd name="T8" fmla="*/ 288 w 288"/>
                      <a:gd name="T9" fmla="*/ 44 h 240"/>
                      <a:gd name="T10" fmla="*/ 145 w 288"/>
                      <a:gd name="T11" fmla="*/ 206 h 240"/>
                      <a:gd name="T12" fmla="*/ 78 w 288"/>
                      <a:gd name="T13" fmla="*/ 202 h 240"/>
                      <a:gd name="T14" fmla="*/ 0 w 288"/>
                      <a:gd name="T15" fmla="*/ 68 h 240"/>
                      <a:gd name="T16" fmla="*/ 13 w 288"/>
                      <a:gd name="T17" fmla="*/ 30 h 2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88" h="240">
                        <a:moveTo>
                          <a:pt x="13" y="30"/>
                        </a:moveTo>
                        <a:cubicBezTo>
                          <a:pt x="13" y="30"/>
                          <a:pt x="86" y="0"/>
                          <a:pt x="97" y="29"/>
                        </a:cubicBezTo>
                        <a:cubicBezTo>
                          <a:pt x="114" y="69"/>
                          <a:pt x="119" y="127"/>
                          <a:pt x="121" y="154"/>
                        </a:cubicBezTo>
                        <a:cubicBezTo>
                          <a:pt x="269" y="26"/>
                          <a:pt x="269" y="26"/>
                          <a:pt x="269" y="26"/>
                        </a:cubicBezTo>
                        <a:cubicBezTo>
                          <a:pt x="288" y="44"/>
                          <a:pt x="288" y="44"/>
                          <a:pt x="288" y="44"/>
                        </a:cubicBezTo>
                        <a:cubicBezTo>
                          <a:pt x="288" y="44"/>
                          <a:pt x="154" y="192"/>
                          <a:pt x="145" y="206"/>
                        </a:cubicBezTo>
                        <a:cubicBezTo>
                          <a:pt x="135" y="220"/>
                          <a:pt x="102" y="240"/>
                          <a:pt x="78" y="202"/>
                        </a:cubicBezTo>
                        <a:cubicBezTo>
                          <a:pt x="55" y="163"/>
                          <a:pt x="14" y="93"/>
                          <a:pt x="0" y="68"/>
                        </a:cubicBezTo>
                        <a:cubicBezTo>
                          <a:pt x="107" y="63"/>
                          <a:pt x="13" y="30"/>
                          <a:pt x="13" y="3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" name="Freeform 238">
                    <a:extLst>
                      <a:ext uri="{FF2B5EF4-FFF2-40B4-BE49-F238E27FC236}">
                        <a16:creationId xmlns:a16="http://schemas.microsoft.com/office/drawing/2014/main" id="{F3E65CE6-AC8F-06FD-86F8-EB099CA4A9F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50513" y="677863"/>
                    <a:ext cx="373063" cy="328613"/>
                  </a:xfrm>
                  <a:custGeom>
                    <a:avLst/>
                    <a:gdLst>
                      <a:gd name="T0" fmla="*/ 179 w 201"/>
                      <a:gd name="T1" fmla="*/ 0 h 177"/>
                      <a:gd name="T2" fmla="*/ 134 w 201"/>
                      <a:gd name="T3" fmla="*/ 67 h 177"/>
                      <a:gd name="T4" fmla="*/ 99 w 201"/>
                      <a:gd name="T5" fmla="*/ 122 h 177"/>
                      <a:gd name="T6" fmla="*/ 9 w 201"/>
                      <a:gd name="T7" fmla="*/ 39 h 177"/>
                      <a:gd name="T8" fmla="*/ 0 w 201"/>
                      <a:gd name="T9" fmla="*/ 48 h 177"/>
                      <a:gd name="T10" fmla="*/ 65 w 201"/>
                      <a:gd name="T11" fmla="*/ 141 h 177"/>
                      <a:gd name="T12" fmla="*/ 116 w 201"/>
                      <a:gd name="T13" fmla="*/ 177 h 177"/>
                      <a:gd name="T14" fmla="*/ 201 w 201"/>
                      <a:gd name="T15" fmla="*/ 87 h 177"/>
                      <a:gd name="T16" fmla="*/ 179 w 201"/>
                      <a:gd name="T17" fmla="*/ 0 h 1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1" h="177">
                        <a:moveTo>
                          <a:pt x="179" y="0"/>
                        </a:moveTo>
                        <a:cubicBezTo>
                          <a:pt x="179" y="0"/>
                          <a:pt x="155" y="11"/>
                          <a:pt x="134" y="67"/>
                        </a:cubicBezTo>
                        <a:cubicBezTo>
                          <a:pt x="121" y="98"/>
                          <a:pt x="99" y="122"/>
                          <a:pt x="99" y="122"/>
                        </a:cubicBezTo>
                        <a:cubicBezTo>
                          <a:pt x="9" y="39"/>
                          <a:pt x="9" y="39"/>
                          <a:pt x="9" y="39"/>
                        </a:cubicBezTo>
                        <a:cubicBezTo>
                          <a:pt x="0" y="48"/>
                          <a:pt x="0" y="48"/>
                          <a:pt x="0" y="48"/>
                        </a:cubicBezTo>
                        <a:cubicBezTo>
                          <a:pt x="0" y="48"/>
                          <a:pt x="41" y="108"/>
                          <a:pt x="65" y="141"/>
                        </a:cubicBezTo>
                        <a:cubicBezTo>
                          <a:pt x="86" y="172"/>
                          <a:pt x="116" y="177"/>
                          <a:pt x="116" y="177"/>
                        </a:cubicBezTo>
                        <a:cubicBezTo>
                          <a:pt x="201" y="87"/>
                          <a:pt x="201" y="87"/>
                          <a:pt x="201" y="87"/>
                        </a:cubicBezTo>
                        <a:lnTo>
                          <a:pt x="179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" name="Freeform 239">
                    <a:extLst>
                      <a:ext uri="{FF2B5EF4-FFF2-40B4-BE49-F238E27FC236}">
                        <a16:creationId xmlns:a16="http://schemas.microsoft.com/office/drawing/2014/main" id="{4A4A9256-005E-9C29-5810-0086A499835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7525" y="700088"/>
                    <a:ext cx="284163" cy="404813"/>
                  </a:xfrm>
                  <a:custGeom>
                    <a:avLst/>
                    <a:gdLst>
                      <a:gd name="T0" fmla="*/ 154 w 154"/>
                      <a:gd name="T1" fmla="*/ 219 h 219"/>
                      <a:gd name="T2" fmla="*/ 32 w 154"/>
                      <a:gd name="T3" fmla="*/ 117 h 219"/>
                      <a:gd name="T4" fmla="*/ 43 w 154"/>
                      <a:gd name="T5" fmla="*/ 0 h 219"/>
                      <a:gd name="T6" fmla="*/ 154 w 154"/>
                      <a:gd name="T7" fmla="*/ 219 h 2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54" h="219">
                        <a:moveTo>
                          <a:pt x="154" y="219"/>
                        </a:moveTo>
                        <a:cubicBezTo>
                          <a:pt x="154" y="219"/>
                          <a:pt x="59" y="173"/>
                          <a:pt x="32" y="117"/>
                        </a:cubicBezTo>
                        <a:cubicBezTo>
                          <a:pt x="0" y="47"/>
                          <a:pt x="43" y="0"/>
                          <a:pt x="43" y="0"/>
                        </a:cubicBezTo>
                        <a:cubicBezTo>
                          <a:pt x="154" y="219"/>
                          <a:pt x="154" y="219"/>
                          <a:pt x="154" y="219"/>
                        </a:cubicBezTo>
                      </a:path>
                    </a:pathLst>
                  </a:custGeom>
                  <a:solidFill>
                    <a:srgbClr val="9FCDD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" name="Freeform 240">
                    <a:extLst>
                      <a:ext uri="{FF2B5EF4-FFF2-40B4-BE49-F238E27FC236}">
                        <a16:creationId xmlns:a16="http://schemas.microsoft.com/office/drawing/2014/main" id="{EDA00D40-1807-E3EA-941D-BE66C825451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18800" y="666750"/>
                    <a:ext cx="525463" cy="481013"/>
                  </a:xfrm>
                  <a:custGeom>
                    <a:avLst/>
                    <a:gdLst>
                      <a:gd name="T0" fmla="*/ 135 w 283"/>
                      <a:gd name="T1" fmla="*/ 260 h 260"/>
                      <a:gd name="T2" fmla="*/ 32 w 283"/>
                      <a:gd name="T3" fmla="*/ 116 h 260"/>
                      <a:gd name="T4" fmla="*/ 13 w 283"/>
                      <a:gd name="T5" fmla="*/ 25 h 260"/>
                      <a:gd name="T6" fmla="*/ 45 w 283"/>
                      <a:gd name="T7" fmla="*/ 0 h 260"/>
                      <a:gd name="T8" fmla="*/ 174 w 283"/>
                      <a:gd name="T9" fmla="*/ 74 h 260"/>
                      <a:gd name="T10" fmla="*/ 283 w 283"/>
                      <a:gd name="T11" fmla="*/ 245 h 260"/>
                      <a:gd name="T12" fmla="*/ 135 w 283"/>
                      <a:gd name="T13" fmla="*/ 26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3" h="260">
                        <a:moveTo>
                          <a:pt x="135" y="260"/>
                        </a:moveTo>
                        <a:cubicBezTo>
                          <a:pt x="135" y="260"/>
                          <a:pt x="85" y="180"/>
                          <a:pt x="32" y="116"/>
                        </a:cubicBezTo>
                        <a:cubicBezTo>
                          <a:pt x="0" y="76"/>
                          <a:pt x="13" y="25"/>
                          <a:pt x="13" y="25"/>
                        </a:cubicBezTo>
                        <a:cubicBezTo>
                          <a:pt x="13" y="25"/>
                          <a:pt x="30" y="1"/>
                          <a:pt x="45" y="0"/>
                        </a:cubicBezTo>
                        <a:cubicBezTo>
                          <a:pt x="71" y="7"/>
                          <a:pt x="133" y="22"/>
                          <a:pt x="174" y="74"/>
                        </a:cubicBezTo>
                        <a:cubicBezTo>
                          <a:pt x="232" y="148"/>
                          <a:pt x="283" y="245"/>
                          <a:pt x="283" y="245"/>
                        </a:cubicBezTo>
                        <a:cubicBezTo>
                          <a:pt x="135" y="260"/>
                          <a:pt x="135" y="260"/>
                          <a:pt x="135" y="260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" name="Freeform 241">
                    <a:extLst>
                      <a:ext uri="{FF2B5EF4-FFF2-40B4-BE49-F238E27FC236}">
                        <a16:creationId xmlns:a16="http://schemas.microsoft.com/office/drawing/2014/main" id="{3807ABD8-FC80-6A8C-90D2-E785C2F5BED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01350" y="911225"/>
                    <a:ext cx="23813" cy="30163"/>
                  </a:xfrm>
                  <a:custGeom>
                    <a:avLst/>
                    <a:gdLst>
                      <a:gd name="T0" fmla="*/ 0 w 13"/>
                      <a:gd name="T1" fmla="*/ 0 h 16"/>
                      <a:gd name="T2" fmla="*/ 13 w 13"/>
                      <a:gd name="T3" fmla="*/ 16 h 16"/>
                      <a:gd name="T4" fmla="*/ 6 w 13"/>
                      <a:gd name="T5" fmla="*/ 5 h 16"/>
                      <a:gd name="T6" fmla="*/ 0 w 13"/>
                      <a:gd name="T7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3" h="16">
                        <a:moveTo>
                          <a:pt x="0" y="0"/>
                        </a:moveTo>
                        <a:cubicBezTo>
                          <a:pt x="0" y="0"/>
                          <a:pt x="5" y="7"/>
                          <a:pt x="13" y="16"/>
                        </a:cubicBezTo>
                        <a:cubicBezTo>
                          <a:pt x="11" y="12"/>
                          <a:pt x="8" y="9"/>
                          <a:pt x="6" y="5"/>
                        </a:cubicBezTo>
                        <a:cubicBezTo>
                          <a:pt x="2" y="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" name="Freeform 242">
                    <a:extLst>
                      <a:ext uri="{FF2B5EF4-FFF2-40B4-BE49-F238E27FC236}">
                        <a16:creationId xmlns:a16="http://schemas.microsoft.com/office/drawing/2014/main" id="{3C849B4F-5AAA-3613-C347-A80553DDCF8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2463" y="920750"/>
                    <a:ext cx="252413" cy="200025"/>
                  </a:xfrm>
                  <a:custGeom>
                    <a:avLst/>
                    <a:gdLst>
                      <a:gd name="T0" fmla="*/ 0 w 136"/>
                      <a:gd name="T1" fmla="*/ 0 h 108"/>
                      <a:gd name="T2" fmla="*/ 7 w 136"/>
                      <a:gd name="T3" fmla="*/ 11 h 108"/>
                      <a:gd name="T4" fmla="*/ 63 w 136"/>
                      <a:gd name="T5" fmla="*/ 48 h 108"/>
                      <a:gd name="T6" fmla="*/ 124 w 136"/>
                      <a:gd name="T7" fmla="*/ 107 h 108"/>
                      <a:gd name="T8" fmla="*/ 136 w 136"/>
                      <a:gd name="T9" fmla="*/ 108 h 108"/>
                      <a:gd name="T10" fmla="*/ 62 w 136"/>
                      <a:gd name="T11" fmla="*/ 43 h 108"/>
                      <a:gd name="T12" fmla="*/ 0 w 136"/>
                      <a:gd name="T13" fmla="*/ 0 h 1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36" h="108">
                        <a:moveTo>
                          <a:pt x="0" y="0"/>
                        </a:moveTo>
                        <a:cubicBezTo>
                          <a:pt x="2" y="4"/>
                          <a:pt x="5" y="7"/>
                          <a:pt x="7" y="11"/>
                        </a:cubicBezTo>
                        <a:cubicBezTo>
                          <a:pt x="20" y="24"/>
                          <a:pt x="40" y="41"/>
                          <a:pt x="63" y="48"/>
                        </a:cubicBezTo>
                        <a:cubicBezTo>
                          <a:pt x="97" y="58"/>
                          <a:pt x="124" y="107"/>
                          <a:pt x="124" y="107"/>
                        </a:cubicBezTo>
                        <a:cubicBezTo>
                          <a:pt x="136" y="108"/>
                          <a:pt x="136" y="108"/>
                          <a:pt x="136" y="108"/>
                        </a:cubicBezTo>
                        <a:cubicBezTo>
                          <a:pt x="136" y="108"/>
                          <a:pt x="100" y="63"/>
                          <a:pt x="62" y="43"/>
                        </a:cubicBezTo>
                        <a:cubicBezTo>
                          <a:pt x="33" y="29"/>
                          <a:pt x="10" y="1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" name="Freeform 243">
                    <a:extLst>
                      <a:ext uri="{FF2B5EF4-FFF2-40B4-BE49-F238E27FC236}">
                        <a16:creationId xmlns:a16="http://schemas.microsoft.com/office/drawing/2014/main" id="{3EA1FD35-F649-8AE6-1229-2CD3C46E056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9438" y="730250"/>
                    <a:ext cx="211138" cy="368300"/>
                  </a:xfrm>
                  <a:custGeom>
                    <a:avLst/>
                    <a:gdLst>
                      <a:gd name="T0" fmla="*/ 5 w 114"/>
                      <a:gd name="T1" fmla="*/ 0 h 199"/>
                      <a:gd name="T2" fmla="*/ 2 w 114"/>
                      <a:gd name="T3" fmla="*/ 9 h 199"/>
                      <a:gd name="T4" fmla="*/ 8 w 114"/>
                      <a:gd name="T5" fmla="*/ 18 h 199"/>
                      <a:gd name="T6" fmla="*/ 17 w 114"/>
                      <a:gd name="T7" fmla="*/ 94 h 199"/>
                      <a:gd name="T8" fmla="*/ 83 w 114"/>
                      <a:gd name="T9" fmla="*/ 194 h 199"/>
                      <a:gd name="T10" fmla="*/ 114 w 114"/>
                      <a:gd name="T11" fmla="*/ 199 h 199"/>
                      <a:gd name="T12" fmla="*/ 111 w 114"/>
                      <a:gd name="T13" fmla="*/ 166 h 199"/>
                      <a:gd name="T14" fmla="*/ 33 w 114"/>
                      <a:gd name="T15" fmla="*/ 84 h 199"/>
                      <a:gd name="T16" fmla="*/ 14 w 114"/>
                      <a:gd name="T17" fmla="*/ 17 h 199"/>
                      <a:gd name="T18" fmla="*/ 17 w 114"/>
                      <a:gd name="T19" fmla="*/ 7 h 199"/>
                      <a:gd name="T20" fmla="*/ 5 w 114"/>
                      <a:gd name="T21" fmla="*/ 0 h 1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14" h="199">
                        <a:moveTo>
                          <a:pt x="5" y="0"/>
                        </a:moveTo>
                        <a:cubicBezTo>
                          <a:pt x="5" y="0"/>
                          <a:pt x="2" y="4"/>
                          <a:pt x="2" y="9"/>
                        </a:cubicBezTo>
                        <a:cubicBezTo>
                          <a:pt x="3" y="14"/>
                          <a:pt x="8" y="18"/>
                          <a:pt x="8" y="18"/>
                        </a:cubicBezTo>
                        <a:cubicBezTo>
                          <a:pt x="8" y="18"/>
                          <a:pt x="0" y="55"/>
                          <a:pt x="17" y="94"/>
                        </a:cubicBezTo>
                        <a:cubicBezTo>
                          <a:pt x="43" y="154"/>
                          <a:pt x="83" y="194"/>
                          <a:pt x="83" y="194"/>
                        </a:cubicBezTo>
                        <a:cubicBezTo>
                          <a:pt x="114" y="199"/>
                          <a:pt x="114" y="199"/>
                          <a:pt x="114" y="199"/>
                        </a:cubicBezTo>
                        <a:cubicBezTo>
                          <a:pt x="111" y="166"/>
                          <a:pt x="111" y="166"/>
                          <a:pt x="111" y="166"/>
                        </a:cubicBezTo>
                        <a:cubicBezTo>
                          <a:pt x="111" y="166"/>
                          <a:pt x="65" y="139"/>
                          <a:pt x="33" y="84"/>
                        </a:cubicBezTo>
                        <a:cubicBezTo>
                          <a:pt x="11" y="46"/>
                          <a:pt x="14" y="17"/>
                          <a:pt x="14" y="17"/>
                        </a:cubicBezTo>
                        <a:cubicBezTo>
                          <a:pt x="14" y="17"/>
                          <a:pt x="15" y="12"/>
                          <a:pt x="17" y="7"/>
                        </a:cubicBezTo>
                        <a:cubicBezTo>
                          <a:pt x="9" y="4"/>
                          <a:pt x="5" y="0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" name="Freeform 244">
                    <a:extLst>
                      <a:ext uri="{FF2B5EF4-FFF2-40B4-BE49-F238E27FC236}">
                        <a16:creationId xmlns:a16="http://schemas.microsoft.com/office/drawing/2014/main" id="{29A9BA67-F94F-9D34-2637-F68C50E528D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80700" y="617538"/>
                    <a:ext cx="131763" cy="107950"/>
                  </a:xfrm>
                  <a:custGeom>
                    <a:avLst/>
                    <a:gdLst>
                      <a:gd name="T0" fmla="*/ 70 w 71"/>
                      <a:gd name="T1" fmla="*/ 28 h 59"/>
                      <a:gd name="T2" fmla="*/ 71 w 71"/>
                      <a:gd name="T3" fmla="*/ 24 h 59"/>
                      <a:gd name="T4" fmla="*/ 62 w 71"/>
                      <a:gd name="T5" fmla="*/ 0 h 59"/>
                      <a:gd name="T6" fmla="*/ 42 w 71"/>
                      <a:gd name="T7" fmla="*/ 17 h 59"/>
                      <a:gd name="T8" fmla="*/ 21 w 71"/>
                      <a:gd name="T9" fmla="*/ 23 h 59"/>
                      <a:gd name="T10" fmla="*/ 0 w 71"/>
                      <a:gd name="T11" fmla="*/ 11 h 59"/>
                      <a:gd name="T12" fmla="*/ 36 w 71"/>
                      <a:gd name="T13" fmla="*/ 59 h 59"/>
                      <a:gd name="T14" fmla="*/ 70 w 71"/>
                      <a:gd name="T15" fmla="*/ 28 h 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1" h="59">
                        <a:moveTo>
                          <a:pt x="70" y="28"/>
                        </a:moveTo>
                        <a:cubicBezTo>
                          <a:pt x="69" y="26"/>
                          <a:pt x="71" y="24"/>
                          <a:pt x="71" y="24"/>
                        </a:cubicBezTo>
                        <a:cubicBezTo>
                          <a:pt x="62" y="0"/>
                          <a:pt x="62" y="0"/>
                          <a:pt x="62" y="0"/>
                        </a:cubicBezTo>
                        <a:cubicBezTo>
                          <a:pt x="62" y="0"/>
                          <a:pt x="48" y="10"/>
                          <a:pt x="42" y="17"/>
                        </a:cubicBezTo>
                        <a:cubicBezTo>
                          <a:pt x="36" y="24"/>
                          <a:pt x="25" y="24"/>
                          <a:pt x="21" y="23"/>
                        </a:cubicBezTo>
                        <a:cubicBezTo>
                          <a:pt x="13" y="19"/>
                          <a:pt x="0" y="11"/>
                          <a:pt x="0" y="11"/>
                        </a:cubicBezTo>
                        <a:cubicBezTo>
                          <a:pt x="0" y="11"/>
                          <a:pt x="24" y="28"/>
                          <a:pt x="36" y="59"/>
                        </a:cubicBezTo>
                        <a:cubicBezTo>
                          <a:pt x="60" y="44"/>
                          <a:pt x="67" y="33"/>
                          <a:pt x="70" y="2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5" name="Freeform 245">
                    <a:extLst>
                      <a:ext uri="{FF2B5EF4-FFF2-40B4-BE49-F238E27FC236}">
                        <a16:creationId xmlns:a16="http://schemas.microsoft.com/office/drawing/2014/main" id="{F74F7D5C-3F9B-B2A1-F6BE-6B63E841BA4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9113" y="541338"/>
                    <a:ext cx="138113" cy="127000"/>
                  </a:xfrm>
                  <a:custGeom>
                    <a:avLst/>
                    <a:gdLst>
                      <a:gd name="T0" fmla="*/ 1 w 75"/>
                      <a:gd name="T1" fmla="*/ 52 h 69"/>
                      <a:gd name="T2" fmla="*/ 25 w 75"/>
                      <a:gd name="T3" fmla="*/ 65 h 69"/>
                      <a:gd name="T4" fmla="*/ 39 w 75"/>
                      <a:gd name="T5" fmla="*/ 62 h 69"/>
                      <a:gd name="T6" fmla="*/ 52 w 75"/>
                      <a:gd name="T7" fmla="*/ 51 h 69"/>
                      <a:gd name="T8" fmla="*/ 60 w 75"/>
                      <a:gd name="T9" fmla="*/ 50 h 69"/>
                      <a:gd name="T10" fmla="*/ 62 w 75"/>
                      <a:gd name="T11" fmla="*/ 39 h 69"/>
                      <a:gd name="T12" fmla="*/ 75 w 75"/>
                      <a:gd name="T13" fmla="*/ 12 h 69"/>
                      <a:gd name="T14" fmla="*/ 65 w 75"/>
                      <a:gd name="T15" fmla="*/ 1 h 69"/>
                      <a:gd name="T16" fmla="*/ 50 w 75"/>
                      <a:gd name="T17" fmla="*/ 0 h 69"/>
                      <a:gd name="T18" fmla="*/ 12 w 75"/>
                      <a:gd name="T19" fmla="*/ 20 h 69"/>
                      <a:gd name="T20" fmla="*/ 13 w 75"/>
                      <a:gd name="T21" fmla="*/ 23 h 69"/>
                      <a:gd name="T22" fmla="*/ 18 w 75"/>
                      <a:gd name="T23" fmla="*/ 27 h 69"/>
                      <a:gd name="T24" fmla="*/ 1 w 75"/>
                      <a:gd name="T25" fmla="*/ 51 h 69"/>
                      <a:gd name="T26" fmla="*/ 1 w 75"/>
                      <a:gd name="T27" fmla="*/ 52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75" h="69">
                        <a:moveTo>
                          <a:pt x="1" y="52"/>
                        </a:moveTo>
                        <a:cubicBezTo>
                          <a:pt x="7" y="56"/>
                          <a:pt x="19" y="63"/>
                          <a:pt x="25" y="65"/>
                        </a:cubicBezTo>
                        <a:cubicBezTo>
                          <a:pt x="33" y="69"/>
                          <a:pt x="39" y="62"/>
                          <a:pt x="39" y="62"/>
                        </a:cubicBezTo>
                        <a:cubicBezTo>
                          <a:pt x="52" y="51"/>
                          <a:pt x="52" y="51"/>
                          <a:pt x="52" y="51"/>
                        </a:cubicBezTo>
                        <a:cubicBezTo>
                          <a:pt x="52" y="51"/>
                          <a:pt x="56" y="51"/>
                          <a:pt x="60" y="50"/>
                        </a:cubicBezTo>
                        <a:cubicBezTo>
                          <a:pt x="62" y="49"/>
                          <a:pt x="66" y="45"/>
                          <a:pt x="62" y="39"/>
                        </a:cubicBezTo>
                        <a:cubicBezTo>
                          <a:pt x="54" y="30"/>
                          <a:pt x="75" y="12"/>
                          <a:pt x="75" y="12"/>
                        </a:cubicBezTo>
                        <a:cubicBezTo>
                          <a:pt x="65" y="1"/>
                          <a:pt x="65" y="1"/>
                          <a:pt x="65" y="1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12" y="20"/>
                          <a:pt x="12" y="20"/>
                          <a:pt x="12" y="20"/>
                        </a:cubicBezTo>
                        <a:cubicBezTo>
                          <a:pt x="12" y="20"/>
                          <a:pt x="11" y="22"/>
                          <a:pt x="13" y="23"/>
                        </a:cubicBezTo>
                        <a:cubicBezTo>
                          <a:pt x="15" y="25"/>
                          <a:pt x="18" y="27"/>
                          <a:pt x="18" y="27"/>
                        </a:cubicBezTo>
                        <a:cubicBezTo>
                          <a:pt x="18" y="27"/>
                          <a:pt x="2" y="50"/>
                          <a:pt x="1" y="51"/>
                        </a:cubicBezTo>
                        <a:cubicBezTo>
                          <a:pt x="0" y="52"/>
                          <a:pt x="1" y="52"/>
                          <a:pt x="1" y="52"/>
                        </a:cubicBezTo>
                        <a:close/>
                      </a:path>
                    </a:pathLst>
                  </a:custGeom>
                  <a:solidFill>
                    <a:srgbClr val="E9F6F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" name="Freeform 246">
                    <a:extLst>
                      <a:ext uri="{FF2B5EF4-FFF2-40B4-BE49-F238E27FC236}">
                        <a16:creationId xmlns:a16="http://schemas.microsoft.com/office/drawing/2014/main" id="{D68ABC6E-C106-AE8C-00FC-7FEE1955EA7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6263" y="563563"/>
                    <a:ext cx="19050" cy="22225"/>
                  </a:xfrm>
                  <a:custGeom>
                    <a:avLst/>
                    <a:gdLst>
                      <a:gd name="T0" fmla="*/ 1 w 10"/>
                      <a:gd name="T1" fmla="*/ 4 h 12"/>
                      <a:gd name="T2" fmla="*/ 2 w 10"/>
                      <a:gd name="T3" fmla="*/ 7 h 12"/>
                      <a:gd name="T4" fmla="*/ 9 w 10"/>
                      <a:gd name="T5" fmla="*/ 11 h 12"/>
                      <a:gd name="T6" fmla="*/ 4 w 10"/>
                      <a:gd name="T7" fmla="*/ 2 h 12"/>
                      <a:gd name="T8" fmla="*/ 1 w 10"/>
                      <a:gd name="T9" fmla="*/ 4 h 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" h="12">
                        <a:moveTo>
                          <a:pt x="1" y="4"/>
                        </a:moveTo>
                        <a:cubicBezTo>
                          <a:pt x="0" y="6"/>
                          <a:pt x="1" y="6"/>
                          <a:pt x="2" y="7"/>
                        </a:cubicBezTo>
                        <a:cubicBezTo>
                          <a:pt x="4" y="8"/>
                          <a:pt x="10" y="12"/>
                          <a:pt x="9" y="11"/>
                        </a:cubicBezTo>
                        <a:cubicBezTo>
                          <a:pt x="9" y="10"/>
                          <a:pt x="7" y="7"/>
                          <a:pt x="4" y="2"/>
                        </a:cubicBezTo>
                        <a:cubicBezTo>
                          <a:pt x="3" y="0"/>
                          <a:pt x="2" y="2"/>
                          <a:pt x="1" y="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7" name="Freeform 247">
                    <a:extLst>
                      <a:ext uri="{FF2B5EF4-FFF2-40B4-BE49-F238E27FC236}">
                        <a16:creationId xmlns:a16="http://schemas.microsoft.com/office/drawing/2014/main" id="{345EA617-D23B-DC79-663F-F2148069840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514350"/>
                    <a:ext cx="103188" cy="147638"/>
                  </a:xfrm>
                  <a:custGeom>
                    <a:avLst/>
                    <a:gdLst>
                      <a:gd name="T0" fmla="*/ 56 w 56"/>
                      <a:gd name="T1" fmla="*/ 44 h 79"/>
                      <a:gd name="T2" fmla="*/ 15 w 56"/>
                      <a:gd name="T3" fmla="*/ 6 h 79"/>
                      <a:gd name="T4" fmla="*/ 12 w 56"/>
                      <a:gd name="T5" fmla="*/ 14 h 79"/>
                      <a:gd name="T6" fmla="*/ 26 w 56"/>
                      <a:gd name="T7" fmla="*/ 30 h 79"/>
                      <a:gd name="T8" fmla="*/ 8 w 56"/>
                      <a:gd name="T9" fmla="*/ 55 h 79"/>
                      <a:gd name="T10" fmla="*/ 25 w 56"/>
                      <a:gd name="T11" fmla="*/ 55 h 79"/>
                      <a:gd name="T12" fmla="*/ 34 w 56"/>
                      <a:gd name="T13" fmla="*/ 79 h 79"/>
                      <a:gd name="T14" fmla="*/ 56 w 56"/>
                      <a:gd name="T15" fmla="*/ 44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6" h="79">
                        <a:moveTo>
                          <a:pt x="56" y="44"/>
                        </a:moveTo>
                        <a:cubicBezTo>
                          <a:pt x="35" y="8"/>
                          <a:pt x="23" y="0"/>
                          <a:pt x="15" y="6"/>
                        </a:cubicBezTo>
                        <a:cubicBezTo>
                          <a:pt x="13" y="7"/>
                          <a:pt x="11" y="11"/>
                          <a:pt x="12" y="14"/>
                        </a:cubicBezTo>
                        <a:cubicBezTo>
                          <a:pt x="23" y="19"/>
                          <a:pt x="33" y="25"/>
                          <a:pt x="26" y="30"/>
                        </a:cubicBezTo>
                        <a:cubicBezTo>
                          <a:pt x="24" y="32"/>
                          <a:pt x="0" y="50"/>
                          <a:pt x="8" y="55"/>
                        </a:cubicBezTo>
                        <a:cubicBezTo>
                          <a:pt x="12" y="53"/>
                          <a:pt x="21" y="48"/>
                          <a:pt x="25" y="55"/>
                        </a:cubicBezTo>
                        <a:cubicBezTo>
                          <a:pt x="28" y="60"/>
                          <a:pt x="19" y="66"/>
                          <a:pt x="34" y="79"/>
                        </a:cubicBezTo>
                        <a:cubicBezTo>
                          <a:pt x="43" y="66"/>
                          <a:pt x="55" y="51"/>
                          <a:pt x="56" y="4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8" name="Freeform 248">
                    <a:extLst>
                      <a:ext uri="{FF2B5EF4-FFF2-40B4-BE49-F238E27FC236}">
                        <a16:creationId xmlns:a16="http://schemas.microsoft.com/office/drawing/2014/main" id="{379446FD-9814-A83F-29CF-294676E1451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87038" y="1652588"/>
                    <a:ext cx="85725" cy="28575"/>
                  </a:xfrm>
                  <a:custGeom>
                    <a:avLst/>
                    <a:gdLst>
                      <a:gd name="T0" fmla="*/ 46 w 46"/>
                      <a:gd name="T1" fmla="*/ 0 h 16"/>
                      <a:gd name="T2" fmla="*/ 46 w 46"/>
                      <a:gd name="T3" fmla="*/ 15 h 16"/>
                      <a:gd name="T4" fmla="*/ 33 w 46"/>
                      <a:gd name="T5" fmla="*/ 15 h 16"/>
                      <a:gd name="T6" fmla="*/ 32 w 46"/>
                      <a:gd name="T7" fmla="*/ 10 h 16"/>
                      <a:gd name="T8" fmla="*/ 14 w 46"/>
                      <a:gd name="T9" fmla="*/ 16 h 16"/>
                      <a:gd name="T10" fmla="*/ 2 w 46"/>
                      <a:gd name="T11" fmla="*/ 15 h 16"/>
                      <a:gd name="T12" fmla="*/ 3 w 46"/>
                      <a:gd name="T13" fmla="*/ 11 h 16"/>
                      <a:gd name="T14" fmla="*/ 15 w 46"/>
                      <a:gd name="T15" fmla="*/ 7 h 16"/>
                      <a:gd name="T16" fmla="*/ 28 w 46"/>
                      <a:gd name="T17" fmla="*/ 0 h 16"/>
                      <a:gd name="T18" fmla="*/ 46 w 46"/>
                      <a:gd name="T19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6" h="16">
                        <a:moveTo>
                          <a:pt x="46" y="0"/>
                        </a:moveTo>
                        <a:cubicBezTo>
                          <a:pt x="46" y="15"/>
                          <a:pt x="46" y="15"/>
                          <a:pt x="46" y="15"/>
                        </a:cubicBezTo>
                        <a:cubicBezTo>
                          <a:pt x="33" y="15"/>
                          <a:pt x="33" y="15"/>
                          <a:pt x="33" y="15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14" y="16"/>
                          <a:pt x="14" y="16"/>
                          <a:pt x="14" y="16"/>
                        </a:cubicBezTo>
                        <a:cubicBezTo>
                          <a:pt x="2" y="15"/>
                          <a:pt x="2" y="15"/>
                          <a:pt x="2" y="15"/>
                        </a:cubicBezTo>
                        <a:cubicBezTo>
                          <a:pt x="2" y="15"/>
                          <a:pt x="0" y="12"/>
                          <a:pt x="3" y="11"/>
                        </a:cubicBezTo>
                        <a:cubicBezTo>
                          <a:pt x="4" y="11"/>
                          <a:pt x="15" y="7"/>
                          <a:pt x="15" y="7"/>
                        </a:cubicBezTo>
                        <a:cubicBezTo>
                          <a:pt x="28" y="0"/>
                          <a:pt x="28" y="0"/>
                          <a:pt x="28" y="0"/>
                        </a:cubicBez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9" name="Freeform 249">
                    <a:extLst>
                      <a:ext uri="{FF2B5EF4-FFF2-40B4-BE49-F238E27FC236}">
                        <a16:creationId xmlns:a16="http://schemas.microsoft.com/office/drawing/2014/main" id="{C502407B-103A-F1FD-D7B7-8AC15B31C86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31488" y="1119188"/>
                    <a:ext cx="693738" cy="533400"/>
                  </a:xfrm>
                  <a:custGeom>
                    <a:avLst/>
                    <a:gdLst>
                      <a:gd name="T0" fmla="*/ 0 w 374"/>
                      <a:gd name="T1" fmla="*/ 285 h 288"/>
                      <a:gd name="T2" fmla="*/ 1 w 374"/>
                      <a:gd name="T3" fmla="*/ 52 h 288"/>
                      <a:gd name="T4" fmla="*/ 50 w 374"/>
                      <a:gd name="T5" fmla="*/ 0 h 288"/>
                      <a:gd name="T6" fmla="*/ 330 w 374"/>
                      <a:gd name="T7" fmla="*/ 1 h 288"/>
                      <a:gd name="T8" fmla="*/ 207 w 374"/>
                      <a:gd name="T9" fmla="*/ 81 h 288"/>
                      <a:gd name="T10" fmla="*/ 56 w 374"/>
                      <a:gd name="T11" fmla="*/ 59 h 288"/>
                      <a:gd name="T12" fmla="*/ 22 w 374"/>
                      <a:gd name="T13" fmla="*/ 288 h 288"/>
                      <a:gd name="T14" fmla="*/ 0 w 374"/>
                      <a:gd name="T15" fmla="*/ 285 h 2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74" h="288">
                        <a:moveTo>
                          <a:pt x="0" y="285"/>
                        </a:moveTo>
                        <a:cubicBezTo>
                          <a:pt x="1" y="52"/>
                          <a:pt x="1" y="52"/>
                          <a:pt x="1" y="52"/>
                        </a:cubicBezTo>
                        <a:cubicBezTo>
                          <a:pt x="0" y="11"/>
                          <a:pt x="39" y="0"/>
                          <a:pt x="50" y="0"/>
                        </a:cubicBezTo>
                        <a:cubicBezTo>
                          <a:pt x="61" y="0"/>
                          <a:pt x="330" y="1"/>
                          <a:pt x="330" y="1"/>
                        </a:cubicBezTo>
                        <a:cubicBezTo>
                          <a:pt x="330" y="1"/>
                          <a:pt x="374" y="98"/>
                          <a:pt x="207" y="81"/>
                        </a:cubicBezTo>
                        <a:cubicBezTo>
                          <a:pt x="166" y="77"/>
                          <a:pt x="165" y="71"/>
                          <a:pt x="56" y="59"/>
                        </a:cubicBezTo>
                        <a:cubicBezTo>
                          <a:pt x="72" y="103"/>
                          <a:pt x="22" y="288"/>
                          <a:pt x="22" y="288"/>
                        </a:cubicBezTo>
                        <a:lnTo>
                          <a:pt x="0" y="28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0" name="Freeform 250">
                    <a:extLst>
                      <a:ext uri="{FF2B5EF4-FFF2-40B4-BE49-F238E27FC236}">
                        <a16:creationId xmlns:a16="http://schemas.microsoft.com/office/drawing/2014/main" id="{88CAA8E9-E28D-418D-53F8-4A7F0C758BA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668338"/>
                    <a:ext cx="65088" cy="76200"/>
                  </a:xfrm>
                  <a:custGeom>
                    <a:avLst/>
                    <a:gdLst>
                      <a:gd name="T0" fmla="*/ 33 w 35"/>
                      <a:gd name="T1" fmla="*/ 0 h 41"/>
                      <a:gd name="T2" fmla="*/ 35 w 35"/>
                      <a:gd name="T3" fmla="*/ 1 h 41"/>
                      <a:gd name="T4" fmla="*/ 21 w 35"/>
                      <a:gd name="T5" fmla="*/ 41 h 41"/>
                      <a:gd name="T6" fmla="*/ 0 w 35"/>
                      <a:gd name="T7" fmla="*/ 31 h 41"/>
                      <a:gd name="T8" fmla="*/ 33 w 35"/>
                      <a:gd name="T9" fmla="*/ 0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5" h="41">
                        <a:moveTo>
                          <a:pt x="33" y="0"/>
                        </a:moveTo>
                        <a:cubicBezTo>
                          <a:pt x="35" y="1"/>
                          <a:pt x="35" y="1"/>
                          <a:pt x="35" y="1"/>
                        </a:cubicBezTo>
                        <a:cubicBezTo>
                          <a:pt x="21" y="41"/>
                          <a:pt x="21" y="41"/>
                          <a:pt x="21" y="41"/>
                        </a:cubicBezTo>
                        <a:cubicBezTo>
                          <a:pt x="21" y="41"/>
                          <a:pt x="11" y="41"/>
                          <a:pt x="0" y="31"/>
                        </a:cubicBezTo>
                        <a:cubicBezTo>
                          <a:pt x="28" y="12"/>
                          <a:pt x="33" y="0"/>
                          <a:pt x="33" y="0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1" name="Freeform 251">
                    <a:extLst>
                      <a:ext uri="{FF2B5EF4-FFF2-40B4-BE49-F238E27FC236}">
                        <a16:creationId xmlns:a16="http://schemas.microsoft.com/office/drawing/2014/main" id="{0FE44592-9BA3-D224-52FD-588B94BFA43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8813" y="673100"/>
                    <a:ext cx="574675" cy="481013"/>
                  </a:xfrm>
                  <a:custGeom>
                    <a:avLst/>
                    <a:gdLst>
                      <a:gd name="T0" fmla="*/ 0 w 310"/>
                      <a:gd name="T1" fmla="*/ 0 h 260"/>
                      <a:gd name="T2" fmla="*/ 134 w 310"/>
                      <a:gd name="T3" fmla="*/ 182 h 260"/>
                      <a:gd name="T4" fmla="*/ 274 w 310"/>
                      <a:gd name="T5" fmla="*/ 260 h 260"/>
                      <a:gd name="T6" fmla="*/ 194 w 310"/>
                      <a:gd name="T7" fmla="*/ 161 h 260"/>
                      <a:gd name="T8" fmla="*/ 0 w 310"/>
                      <a:gd name="T9" fmla="*/ 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10" h="260">
                        <a:moveTo>
                          <a:pt x="0" y="0"/>
                        </a:moveTo>
                        <a:cubicBezTo>
                          <a:pt x="0" y="0"/>
                          <a:pt x="14" y="153"/>
                          <a:pt x="134" y="182"/>
                        </a:cubicBezTo>
                        <a:cubicBezTo>
                          <a:pt x="250" y="210"/>
                          <a:pt x="274" y="260"/>
                          <a:pt x="274" y="260"/>
                        </a:cubicBezTo>
                        <a:cubicBezTo>
                          <a:pt x="274" y="260"/>
                          <a:pt x="310" y="203"/>
                          <a:pt x="194" y="161"/>
                        </a:cubicBezTo>
                        <a:cubicBezTo>
                          <a:pt x="77" y="118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2" name="Freeform 252">
                    <a:extLst>
                      <a:ext uri="{FF2B5EF4-FFF2-40B4-BE49-F238E27FC236}">
                        <a16:creationId xmlns:a16="http://schemas.microsoft.com/office/drawing/2014/main" id="{86241E8F-7D7D-EFBD-DFC1-E894442002D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93413" y="666750"/>
                    <a:ext cx="369888" cy="306388"/>
                  </a:xfrm>
                  <a:custGeom>
                    <a:avLst/>
                    <a:gdLst>
                      <a:gd name="T0" fmla="*/ 199 w 199"/>
                      <a:gd name="T1" fmla="*/ 165 h 165"/>
                      <a:gd name="T2" fmla="*/ 108 w 199"/>
                      <a:gd name="T3" fmla="*/ 43 h 165"/>
                      <a:gd name="T4" fmla="*/ 9 w 199"/>
                      <a:gd name="T5" fmla="*/ 0 h 165"/>
                      <a:gd name="T6" fmla="*/ 75 w 199"/>
                      <a:gd name="T7" fmla="*/ 119 h 165"/>
                      <a:gd name="T8" fmla="*/ 199 w 199"/>
                      <a:gd name="T9" fmla="*/ 165 h 1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99" h="165">
                        <a:moveTo>
                          <a:pt x="199" y="165"/>
                        </a:moveTo>
                        <a:cubicBezTo>
                          <a:pt x="199" y="165"/>
                          <a:pt x="134" y="65"/>
                          <a:pt x="108" y="43"/>
                        </a:cubicBezTo>
                        <a:cubicBezTo>
                          <a:pt x="82" y="21"/>
                          <a:pt x="9" y="0"/>
                          <a:pt x="9" y="0"/>
                        </a:cubicBezTo>
                        <a:cubicBezTo>
                          <a:pt x="9" y="0"/>
                          <a:pt x="0" y="87"/>
                          <a:pt x="75" y="119"/>
                        </a:cubicBezTo>
                        <a:cubicBezTo>
                          <a:pt x="150" y="151"/>
                          <a:pt x="199" y="165"/>
                          <a:pt x="199" y="165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3" name="Freeform 253">
                    <a:extLst>
                      <a:ext uri="{FF2B5EF4-FFF2-40B4-BE49-F238E27FC236}">
                        <a16:creationId xmlns:a16="http://schemas.microsoft.com/office/drawing/2014/main" id="{8F611516-E8DB-A7A0-BE61-CF37E551285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91763" y="669925"/>
                    <a:ext cx="630238" cy="344488"/>
                  </a:xfrm>
                  <a:custGeom>
                    <a:avLst/>
                    <a:gdLst>
                      <a:gd name="T0" fmla="*/ 337 w 340"/>
                      <a:gd name="T1" fmla="*/ 78 h 186"/>
                      <a:gd name="T2" fmla="*/ 196 w 340"/>
                      <a:gd name="T3" fmla="*/ 184 h 186"/>
                      <a:gd name="T4" fmla="*/ 2 w 340"/>
                      <a:gd name="T5" fmla="*/ 166 h 186"/>
                      <a:gd name="T6" fmla="*/ 0 w 340"/>
                      <a:gd name="T7" fmla="*/ 151 h 186"/>
                      <a:gd name="T8" fmla="*/ 189 w 340"/>
                      <a:gd name="T9" fmla="*/ 144 h 186"/>
                      <a:gd name="T10" fmla="*/ 266 w 340"/>
                      <a:gd name="T11" fmla="*/ 49 h 186"/>
                      <a:gd name="T12" fmla="*/ 337 w 340"/>
                      <a:gd name="T13" fmla="*/ 78 h 1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0" h="186">
                        <a:moveTo>
                          <a:pt x="337" y="78"/>
                        </a:moveTo>
                        <a:cubicBezTo>
                          <a:pt x="301" y="123"/>
                          <a:pt x="230" y="173"/>
                          <a:pt x="196" y="184"/>
                        </a:cubicBezTo>
                        <a:cubicBezTo>
                          <a:pt x="125" y="186"/>
                          <a:pt x="2" y="166"/>
                          <a:pt x="2" y="166"/>
                        </a:cubicBezTo>
                        <a:cubicBezTo>
                          <a:pt x="2" y="166"/>
                          <a:pt x="0" y="159"/>
                          <a:pt x="0" y="151"/>
                        </a:cubicBezTo>
                        <a:cubicBezTo>
                          <a:pt x="52" y="147"/>
                          <a:pt x="159" y="142"/>
                          <a:pt x="189" y="144"/>
                        </a:cubicBezTo>
                        <a:cubicBezTo>
                          <a:pt x="223" y="116"/>
                          <a:pt x="255" y="98"/>
                          <a:pt x="266" y="49"/>
                        </a:cubicBezTo>
                        <a:cubicBezTo>
                          <a:pt x="278" y="0"/>
                          <a:pt x="340" y="16"/>
                          <a:pt x="337" y="78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4" name="Freeform 255">
                    <a:extLst>
                      <a:ext uri="{FF2B5EF4-FFF2-40B4-BE49-F238E27FC236}">
                        <a16:creationId xmlns:a16="http://schemas.microsoft.com/office/drawing/2014/main" id="{74D6AAB8-EC2A-81C0-D90D-8B52EB89D7A5}"/>
                      </a:ext>
                    </a:extLst>
                  </p:cNvPr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10396538" y="666750"/>
                    <a:ext cx="66675" cy="95250"/>
                  </a:xfrm>
                  <a:custGeom>
                    <a:avLst/>
                    <a:gdLst>
                      <a:gd name="T0" fmla="*/ 34 w 36"/>
                      <a:gd name="T1" fmla="*/ 42 h 51"/>
                      <a:gd name="T2" fmla="*/ 30 w 36"/>
                      <a:gd name="T3" fmla="*/ 30 h 51"/>
                      <a:gd name="T4" fmla="*/ 29 w 36"/>
                      <a:gd name="T5" fmla="*/ 20 h 51"/>
                      <a:gd name="T6" fmla="*/ 34 w 36"/>
                      <a:gd name="T7" fmla="*/ 11 h 51"/>
                      <a:gd name="T8" fmla="*/ 30 w 36"/>
                      <a:gd name="T9" fmla="*/ 6 h 51"/>
                      <a:gd name="T10" fmla="*/ 32 w 36"/>
                      <a:gd name="T11" fmla="*/ 1 h 51"/>
                      <a:gd name="T12" fmla="*/ 27 w 36"/>
                      <a:gd name="T13" fmla="*/ 3 h 51"/>
                      <a:gd name="T14" fmla="*/ 19 w 36"/>
                      <a:gd name="T15" fmla="*/ 16 h 51"/>
                      <a:gd name="T16" fmla="*/ 16 w 36"/>
                      <a:gd name="T17" fmla="*/ 31 h 51"/>
                      <a:gd name="T18" fmla="*/ 8 w 36"/>
                      <a:gd name="T19" fmla="*/ 30 h 51"/>
                      <a:gd name="T20" fmla="*/ 0 w 36"/>
                      <a:gd name="T21" fmla="*/ 31 h 51"/>
                      <a:gd name="T22" fmla="*/ 21 w 36"/>
                      <a:gd name="T23" fmla="*/ 46 h 51"/>
                      <a:gd name="T24" fmla="*/ 28 w 36"/>
                      <a:gd name="T25" fmla="*/ 51 h 51"/>
                      <a:gd name="T26" fmla="*/ 36 w 36"/>
                      <a:gd name="T27" fmla="*/ 44 h 51"/>
                      <a:gd name="T28" fmla="*/ 34 w 36"/>
                      <a:gd name="T29" fmla="*/ 42 h 51"/>
                      <a:gd name="T30" fmla="*/ 29 w 36"/>
                      <a:gd name="T31" fmla="*/ 9 h 51"/>
                      <a:gd name="T32" fmla="*/ 31 w 36"/>
                      <a:gd name="T33" fmla="*/ 12 h 51"/>
                      <a:gd name="T34" fmla="*/ 29 w 36"/>
                      <a:gd name="T35" fmla="*/ 14 h 51"/>
                      <a:gd name="T36" fmla="*/ 29 w 36"/>
                      <a:gd name="T37" fmla="*/ 9 h 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36" h="51">
                        <a:moveTo>
                          <a:pt x="34" y="42"/>
                        </a:moveTo>
                        <a:cubicBezTo>
                          <a:pt x="34" y="42"/>
                          <a:pt x="31" y="36"/>
                          <a:pt x="30" y="30"/>
                        </a:cubicBezTo>
                        <a:cubicBezTo>
                          <a:pt x="29" y="25"/>
                          <a:pt x="29" y="20"/>
                          <a:pt x="29" y="20"/>
                        </a:cubicBezTo>
                        <a:cubicBezTo>
                          <a:pt x="29" y="20"/>
                          <a:pt x="36" y="13"/>
                          <a:pt x="34" y="11"/>
                        </a:cubicBezTo>
                        <a:cubicBezTo>
                          <a:pt x="33" y="9"/>
                          <a:pt x="30" y="6"/>
                          <a:pt x="30" y="6"/>
                        </a:cubicBezTo>
                        <a:cubicBezTo>
                          <a:pt x="30" y="6"/>
                          <a:pt x="33" y="1"/>
                          <a:pt x="32" y="1"/>
                        </a:cubicBezTo>
                        <a:cubicBezTo>
                          <a:pt x="32" y="1"/>
                          <a:pt x="29" y="0"/>
                          <a:pt x="27" y="3"/>
                        </a:cubicBezTo>
                        <a:cubicBezTo>
                          <a:pt x="26" y="4"/>
                          <a:pt x="21" y="12"/>
                          <a:pt x="19" y="16"/>
                        </a:cubicBezTo>
                        <a:cubicBezTo>
                          <a:pt x="17" y="20"/>
                          <a:pt x="16" y="31"/>
                          <a:pt x="16" y="31"/>
                        </a:cubicBezTo>
                        <a:cubicBezTo>
                          <a:pt x="16" y="31"/>
                          <a:pt x="11" y="32"/>
                          <a:pt x="8" y="30"/>
                        </a:cubicBezTo>
                        <a:cubicBezTo>
                          <a:pt x="5" y="28"/>
                          <a:pt x="0" y="31"/>
                          <a:pt x="0" y="31"/>
                        </a:cubicBezTo>
                        <a:cubicBezTo>
                          <a:pt x="0" y="31"/>
                          <a:pt x="8" y="35"/>
                          <a:pt x="21" y="46"/>
                        </a:cubicBezTo>
                        <a:cubicBezTo>
                          <a:pt x="23" y="48"/>
                          <a:pt x="28" y="51"/>
                          <a:pt x="28" y="51"/>
                        </a:cubicBezTo>
                        <a:cubicBezTo>
                          <a:pt x="36" y="44"/>
                          <a:pt x="36" y="44"/>
                          <a:pt x="36" y="44"/>
                        </a:cubicBezTo>
                        <a:lnTo>
                          <a:pt x="34" y="42"/>
                        </a:lnTo>
                        <a:close/>
                        <a:moveTo>
                          <a:pt x="29" y="9"/>
                        </a:moveTo>
                        <a:cubicBezTo>
                          <a:pt x="31" y="12"/>
                          <a:pt x="31" y="12"/>
                          <a:pt x="31" y="12"/>
                        </a:cubicBezTo>
                        <a:cubicBezTo>
                          <a:pt x="29" y="14"/>
                          <a:pt x="29" y="14"/>
                          <a:pt x="29" y="14"/>
                        </a:cubicBezTo>
                        <a:lnTo>
                          <a:pt x="29" y="9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0" name="Group 4">
                <a:extLst>
                  <a:ext uri="{FF2B5EF4-FFF2-40B4-BE49-F238E27FC236}">
                    <a16:creationId xmlns:a16="http://schemas.microsoft.com/office/drawing/2014/main" id="{BB35D925-F78B-EEBA-A1E4-2E08302CA891}"/>
                  </a:ext>
                </a:extLst>
              </p:cNvPr>
              <p:cNvGrpSpPr/>
              <p:nvPr/>
            </p:nvGrpSpPr>
            <p:grpSpPr>
              <a:xfrm>
                <a:off x="2494061" y="3997897"/>
                <a:ext cx="1127759" cy="1089959"/>
                <a:chOff x="2494061" y="3997897"/>
                <a:chExt cx="1127759" cy="1089959"/>
              </a:xfrm>
            </p:grpSpPr>
            <p:grpSp>
              <p:nvGrpSpPr>
                <p:cNvPr id="53" name="Group 1068">
                  <a:extLst>
                    <a:ext uri="{FF2B5EF4-FFF2-40B4-BE49-F238E27FC236}">
                      <a16:creationId xmlns:a16="http://schemas.microsoft.com/office/drawing/2014/main" id="{E9ADB69A-4750-233D-21E7-494C50B0CFA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2494061" y="3997897"/>
                  <a:ext cx="1127759" cy="815248"/>
                  <a:chOff x="10001250" y="2782888"/>
                  <a:chExt cx="1449388" cy="1047750"/>
                </a:xfrm>
              </p:grpSpPr>
              <p:sp>
                <p:nvSpPr>
                  <p:cNvPr id="55" name="Freeform 217">
                    <a:extLst>
                      <a:ext uri="{FF2B5EF4-FFF2-40B4-BE49-F238E27FC236}">
                        <a16:creationId xmlns:a16="http://schemas.microsoft.com/office/drawing/2014/main" id="{6BAC3567-AEF6-D548-7188-8E474EA077D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5425" y="3303588"/>
                    <a:ext cx="728663" cy="525463"/>
                  </a:xfrm>
                  <a:custGeom>
                    <a:avLst/>
                    <a:gdLst>
                      <a:gd name="T0" fmla="*/ 3 w 393"/>
                      <a:gd name="T1" fmla="*/ 279 h 283"/>
                      <a:gd name="T2" fmla="*/ 12 w 393"/>
                      <a:gd name="T3" fmla="*/ 275 h 283"/>
                      <a:gd name="T4" fmla="*/ 25 w 393"/>
                      <a:gd name="T5" fmla="*/ 258 h 283"/>
                      <a:gd name="T6" fmla="*/ 22 w 393"/>
                      <a:gd name="T7" fmla="*/ 42 h 283"/>
                      <a:gd name="T8" fmla="*/ 22 w 393"/>
                      <a:gd name="T9" fmla="*/ 42 h 283"/>
                      <a:gd name="T10" fmla="*/ 61 w 393"/>
                      <a:gd name="T11" fmla="*/ 0 h 283"/>
                      <a:gd name="T12" fmla="*/ 319 w 393"/>
                      <a:gd name="T13" fmla="*/ 3 h 283"/>
                      <a:gd name="T14" fmla="*/ 236 w 393"/>
                      <a:gd name="T15" fmla="*/ 79 h 283"/>
                      <a:gd name="T16" fmla="*/ 65 w 393"/>
                      <a:gd name="T17" fmla="*/ 46 h 283"/>
                      <a:gd name="T18" fmla="*/ 37 w 393"/>
                      <a:gd name="T19" fmla="*/ 259 h 283"/>
                      <a:gd name="T20" fmla="*/ 37 w 393"/>
                      <a:gd name="T21" fmla="*/ 267 h 283"/>
                      <a:gd name="T22" fmla="*/ 34 w 393"/>
                      <a:gd name="T23" fmla="*/ 283 h 283"/>
                      <a:gd name="T24" fmla="*/ 29 w 393"/>
                      <a:gd name="T25" fmla="*/ 283 h 283"/>
                      <a:gd name="T26" fmla="*/ 28 w 393"/>
                      <a:gd name="T27" fmla="*/ 274 h 283"/>
                      <a:gd name="T28" fmla="*/ 15 w 393"/>
                      <a:gd name="T29" fmla="*/ 283 h 283"/>
                      <a:gd name="T30" fmla="*/ 2 w 393"/>
                      <a:gd name="T31" fmla="*/ 283 h 283"/>
                      <a:gd name="T32" fmla="*/ 3 w 393"/>
                      <a:gd name="T33" fmla="*/ 279 h 2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93" h="283">
                        <a:moveTo>
                          <a:pt x="3" y="279"/>
                        </a:moveTo>
                        <a:cubicBezTo>
                          <a:pt x="4" y="279"/>
                          <a:pt x="12" y="275"/>
                          <a:pt x="12" y="275"/>
                        </a:cubicBezTo>
                        <a:cubicBezTo>
                          <a:pt x="25" y="258"/>
                          <a:pt x="25" y="258"/>
                          <a:pt x="25" y="258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0" y="5"/>
                          <a:pt x="61" y="0"/>
                          <a:pt x="61" y="0"/>
                        </a:cubicBezTo>
                        <a:cubicBezTo>
                          <a:pt x="319" y="3"/>
                          <a:pt x="319" y="3"/>
                          <a:pt x="319" y="3"/>
                        </a:cubicBezTo>
                        <a:cubicBezTo>
                          <a:pt x="319" y="3"/>
                          <a:pt x="393" y="97"/>
                          <a:pt x="236" y="79"/>
                        </a:cubicBezTo>
                        <a:cubicBezTo>
                          <a:pt x="197" y="74"/>
                          <a:pt x="167" y="59"/>
                          <a:pt x="65" y="46"/>
                        </a:cubicBezTo>
                        <a:cubicBezTo>
                          <a:pt x="79" y="87"/>
                          <a:pt x="37" y="259"/>
                          <a:pt x="37" y="259"/>
                        </a:cubicBezTo>
                        <a:cubicBezTo>
                          <a:pt x="37" y="267"/>
                          <a:pt x="37" y="267"/>
                          <a:pt x="37" y="267"/>
                        </a:cubicBezTo>
                        <a:cubicBezTo>
                          <a:pt x="34" y="283"/>
                          <a:pt x="34" y="283"/>
                          <a:pt x="34" y="283"/>
                        </a:cubicBezTo>
                        <a:cubicBezTo>
                          <a:pt x="29" y="283"/>
                          <a:pt x="29" y="283"/>
                          <a:pt x="29" y="283"/>
                        </a:cubicBezTo>
                        <a:cubicBezTo>
                          <a:pt x="28" y="274"/>
                          <a:pt x="28" y="274"/>
                          <a:pt x="28" y="274"/>
                        </a:cubicBezTo>
                        <a:cubicBezTo>
                          <a:pt x="15" y="283"/>
                          <a:pt x="15" y="283"/>
                          <a:pt x="15" y="283"/>
                        </a:cubicBezTo>
                        <a:cubicBezTo>
                          <a:pt x="2" y="283"/>
                          <a:pt x="2" y="283"/>
                          <a:pt x="2" y="283"/>
                        </a:cubicBezTo>
                        <a:cubicBezTo>
                          <a:pt x="2" y="283"/>
                          <a:pt x="0" y="280"/>
                          <a:pt x="3" y="27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" name="Freeform 218">
                    <a:extLst>
                      <a:ext uri="{FF2B5EF4-FFF2-40B4-BE49-F238E27FC236}">
                        <a16:creationId xmlns:a16="http://schemas.microsoft.com/office/drawing/2014/main" id="{EDEA1612-4EE3-D69C-0BFC-C39C898B03C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3838" y="3784600"/>
                    <a:ext cx="71438" cy="46038"/>
                  </a:xfrm>
                  <a:custGeom>
                    <a:avLst/>
                    <a:gdLst>
                      <a:gd name="T0" fmla="*/ 13 w 38"/>
                      <a:gd name="T1" fmla="*/ 16 h 25"/>
                      <a:gd name="T2" fmla="*/ 3 w 38"/>
                      <a:gd name="T3" fmla="*/ 20 h 25"/>
                      <a:gd name="T4" fmla="*/ 2 w 38"/>
                      <a:gd name="T5" fmla="*/ 24 h 25"/>
                      <a:gd name="T6" fmla="*/ 18 w 38"/>
                      <a:gd name="T7" fmla="*/ 24 h 25"/>
                      <a:gd name="T8" fmla="*/ 29 w 38"/>
                      <a:gd name="T9" fmla="*/ 15 h 25"/>
                      <a:gd name="T10" fmla="*/ 30 w 38"/>
                      <a:gd name="T11" fmla="*/ 25 h 25"/>
                      <a:gd name="T12" fmla="*/ 35 w 38"/>
                      <a:gd name="T13" fmla="*/ 25 h 25"/>
                      <a:gd name="T14" fmla="*/ 38 w 38"/>
                      <a:gd name="T15" fmla="*/ 8 h 25"/>
                      <a:gd name="T16" fmla="*/ 38 w 38"/>
                      <a:gd name="T17" fmla="*/ 0 h 25"/>
                      <a:gd name="T18" fmla="*/ 28 w 38"/>
                      <a:gd name="T19" fmla="*/ 8 h 25"/>
                      <a:gd name="T20" fmla="*/ 13 w 38"/>
                      <a:gd name="T21" fmla="*/ 16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8" h="25">
                        <a:moveTo>
                          <a:pt x="13" y="16"/>
                        </a:moveTo>
                        <a:cubicBezTo>
                          <a:pt x="11" y="17"/>
                          <a:pt x="4" y="20"/>
                          <a:pt x="3" y="20"/>
                        </a:cubicBezTo>
                        <a:cubicBezTo>
                          <a:pt x="0" y="21"/>
                          <a:pt x="2" y="24"/>
                          <a:pt x="2" y="24"/>
                        </a:cubicBezTo>
                        <a:cubicBezTo>
                          <a:pt x="2" y="24"/>
                          <a:pt x="15" y="24"/>
                          <a:pt x="18" y="24"/>
                        </a:cubicBezTo>
                        <a:cubicBezTo>
                          <a:pt x="21" y="24"/>
                          <a:pt x="29" y="15"/>
                          <a:pt x="29" y="15"/>
                        </a:cubicBezTo>
                        <a:cubicBezTo>
                          <a:pt x="30" y="25"/>
                          <a:pt x="30" y="25"/>
                          <a:pt x="30" y="25"/>
                        </a:cubicBezTo>
                        <a:cubicBezTo>
                          <a:pt x="35" y="25"/>
                          <a:pt x="35" y="25"/>
                          <a:pt x="35" y="25"/>
                        </a:cubicBezTo>
                        <a:cubicBezTo>
                          <a:pt x="35" y="25"/>
                          <a:pt x="36" y="15"/>
                          <a:pt x="38" y="8"/>
                        </a:cubicBezTo>
                        <a:cubicBezTo>
                          <a:pt x="38" y="4"/>
                          <a:pt x="38" y="0"/>
                          <a:pt x="38" y="0"/>
                        </a:cubicBezTo>
                        <a:cubicBezTo>
                          <a:pt x="38" y="0"/>
                          <a:pt x="35" y="0"/>
                          <a:pt x="28" y="8"/>
                        </a:cubicBezTo>
                        <a:cubicBezTo>
                          <a:pt x="22" y="17"/>
                          <a:pt x="16" y="16"/>
                          <a:pt x="13" y="16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" name="Freeform 219">
                    <a:extLst>
                      <a:ext uri="{FF2B5EF4-FFF2-40B4-BE49-F238E27FC236}">
                        <a16:creationId xmlns:a16="http://schemas.microsoft.com/office/drawing/2014/main" id="{01A3088F-4804-DC76-09AD-3404D02EB8B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58488" y="3311525"/>
                    <a:ext cx="692150" cy="390525"/>
                  </a:xfrm>
                  <a:custGeom>
                    <a:avLst/>
                    <a:gdLst>
                      <a:gd name="T0" fmla="*/ 371 w 373"/>
                      <a:gd name="T1" fmla="*/ 182 h 211"/>
                      <a:gd name="T2" fmla="*/ 360 w 373"/>
                      <a:gd name="T3" fmla="*/ 170 h 211"/>
                      <a:gd name="T4" fmla="*/ 370 w 373"/>
                      <a:gd name="T5" fmla="*/ 168 h 211"/>
                      <a:gd name="T6" fmla="*/ 369 w 373"/>
                      <a:gd name="T7" fmla="*/ 164 h 211"/>
                      <a:gd name="T8" fmla="*/ 353 w 373"/>
                      <a:gd name="T9" fmla="*/ 163 h 211"/>
                      <a:gd name="T10" fmla="*/ 345 w 373"/>
                      <a:gd name="T11" fmla="*/ 164 h 211"/>
                      <a:gd name="T12" fmla="*/ 142 w 373"/>
                      <a:gd name="T13" fmla="*/ 172 h 211"/>
                      <a:gd name="T14" fmla="*/ 115 w 373"/>
                      <a:gd name="T15" fmla="*/ 25 h 211"/>
                      <a:gd name="T16" fmla="*/ 0 w 373"/>
                      <a:gd name="T17" fmla="*/ 15 h 211"/>
                      <a:gd name="T18" fmla="*/ 107 w 373"/>
                      <a:gd name="T19" fmla="*/ 191 h 211"/>
                      <a:gd name="T20" fmla="*/ 142 w 373"/>
                      <a:gd name="T21" fmla="*/ 211 h 211"/>
                      <a:gd name="T22" fmla="*/ 211 w 373"/>
                      <a:gd name="T23" fmla="*/ 198 h 211"/>
                      <a:gd name="T24" fmla="*/ 346 w 373"/>
                      <a:gd name="T25" fmla="*/ 176 h 211"/>
                      <a:gd name="T26" fmla="*/ 363 w 373"/>
                      <a:gd name="T27" fmla="*/ 186 h 211"/>
                      <a:gd name="T28" fmla="*/ 369 w 373"/>
                      <a:gd name="T29" fmla="*/ 195 h 211"/>
                      <a:gd name="T30" fmla="*/ 373 w 373"/>
                      <a:gd name="T31" fmla="*/ 196 h 211"/>
                      <a:gd name="T32" fmla="*/ 371 w 373"/>
                      <a:gd name="T33" fmla="*/ 182 h 2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73" h="211">
                        <a:moveTo>
                          <a:pt x="371" y="182"/>
                        </a:moveTo>
                        <a:cubicBezTo>
                          <a:pt x="360" y="170"/>
                          <a:pt x="360" y="170"/>
                          <a:pt x="360" y="170"/>
                        </a:cubicBezTo>
                        <a:cubicBezTo>
                          <a:pt x="370" y="168"/>
                          <a:pt x="370" y="168"/>
                          <a:pt x="370" y="168"/>
                        </a:cubicBezTo>
                        <a:cubicBezTo>
                          <a:pt x="369" y="164"/>
                          <a:pt x="369" y="164"/>
                          <a:pt x="369" y="164"/>
                        </a:cubicBezTo>
                        <a:cubicBezTo>
                          <a:pt x="353" y="163"/>
                          <a:pt x="353" y="163"/>
                          <a:pt x="353" y="163"/>
                        </a:cubicBezTo>
                        <a:cubicBezTo>
                          <a:pt x="353" y="163"/>
                          <a:pt x="348" y="164"/>
                          <a:pt x="345" y="164"/>
                        </a:cubicBezTo>
                        <a:cubicBezTo>
                          <a:pt x="274" y="167"/>
                          <a:pt x="157" y="159"/>
                          <a:pt x="142" y="172"/>
                        </a:cubicBezTo>
                        <a:cubicBezTo>
                          <a:pt x="140" y="136"/>
                          <a:pt x="136" y="58"/>
                          <a:pt x="115" y="25"/>
                        </a:cubicBezTo>
                        <a:cubicBezTo>
                          <a:pt x="100" y="0"/>
                          <a:pt x="0" y="15"/>
                          <a:pt x="0" y="15"/>
                        </a:cubicBezTo>
                        <a:cubicBezTo>
                          <a:pt x="0" y="15"/>
                          <a:pt x="102" y="185"/>
                          <a:pt x="107" y="191"/>
                        </a:cubicBezTo>
                        <a:cubicBezTo>
                          <a:pt x="121" y="210"/>
                          <a:pt x="142" y="211"/>
                          <a:pt x="142" y="211"/>
                        </a:cubicBezTo>
                        <a:cubicBezTo>
                          <a:pt x="211" y="198"/>
                          <a:pt x="211" y="198"/>
                          <a:pt x="211" y="198"/>
                        </a:cubicBezTo>
                        <a:cubicBezTo>
                          <a:pt x="346" y="176"/>
                          <a:pt x="346" y="176"/>
                          <a:pt x="346" y="176"/>
                        </a:cubicBezTo>
                        <a:cubicBezTo>
                          <a:pt x="363" y="186"/>
                          <a:pt x="363" y="186"/>
                          <a:pt x="363" y="186"/>
                        </a:cubicBezTo>
                        <a:cubicBezTo>
                          <a:pt x="363" y="186"/>
                          <a:pt x="369" y="194"/>
                          <a:pt x="369" y="195"/>
                        </a:cubicBezTo>
                        <a:cubicBezTo>
                          <a:pt x="370" y="198"/>
                          <a:pt x="373" y="196"/>
                          <a:pt x="373" y="196"/>
                        </a:cubicBezTo>
                        <a:lnTo>
                          <a:pt x="371" y="182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" name="Freeform 221">
                    <a:extLst>
                      <a:ext uri="{FF2B5EF4-FFF2-40B4-BE49-F238E27FC236}">
                        <a16:creationId xmlns:a16="http://schemas.microsoft.com/office/drawing/2014/main" id="{88F81B16-D3D5-2AF2-2500-9ABAFEEBA0A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61600" y="2940050"/>
                    <a:ext cx="304800" cy="269875"/>
                  </a:xfrm>
                  <a:custGeom>
                    <a:avLst/>
                    <a:gdLst>
                      <a:gd name="T0" fmla="*/ 0 w 164"/>
                      <a:gd name="T1" fmla="*/ 113 h 146"/>
                      <a:gd name="T2" fmla="*/ 37 w 164"/>
                      <a:gd name="T3" fmla="*/ 114 h 146"/>
                      <a:gd name="T4" fmla="*/ 66 w 164"/>
                      <a:gd name="T5" fmla="*/ 77 h 146"/>
                      <a:gd name="T6" fmla="*/ 97 w 164"/>
                      <a:gd name="T7" fmla="*/ 41 h 146"/>
                      <a:gd name="T8" fmla="*/ 164 w 164"/>
                      <a:gd name="T9" fmla="*/ 11 h 146"/>
                      <a:gd name="T10" fmla="*/ 133 w 164"/>
                      <a:gd name="T11" fmla="*/ 72 h 146"/>
                      <a:gd name="T12" fmla="*/ 67 w 164"/>
                      <a:gd name="T13" fmla="*/ 130 h 146"/>
                      <a:gd name="T14" fmla="*/ 23 w 164"/>
                      <a:gd name="T15" fmla="*/ 141 h 146"/>
                      <a:gd name="T16" fmla="*/ 0 w 164"/>
                      <a:gd name="T17" fmla="*/ 113 h 1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64" h="146">
                        <a:moveTo>
                          <a:pt x="0" y="113"/>
                        </a:moveTo>
                        <a:cubicBezTo>
                          <a:pt x="37" y="114"/>
                          <a:pt x="37" y="114"/>
                          <a:pt x="37" y="114"/>
                        </a:cubicBezTo>
                        <a:cubicBezTo>
                          <a:pt x="37" y="114"/>
                          <a:pt x="47" y="99"/>
                          <a:pt x="66" y="77"/>
                        </a:cubicBezTo>
                        <a:cubicBezTo>
                          <a:pt x="127" y="79"/>
                          <a:pt x="85" y="55"/>
                          <a:pt x="97" y="41"/>
                        </a:cubicBezTo>
                        <a:cubicBezTo>
                          <a:pt x="135" y="0"/>
                          <a:pt x="164" y="11"/>
                          <a:pt x="164" y="11"/>
                        </a:cubicBezTo>
                        <a:cubicBezTo>
                          <a:pt x="133" y="72"/>
                          <a:pt x="133" y="72"/>
                          <a:pt x="133" y="72"/>
                        </a:cubicBezTo>
                        <a:cubicBezTo>
                          <a:pt x="133" y="72"/>
                          <a:pt x="76" y="122"/>
                          <a:pt x="67" y="130"/>
                        </a:cubicBezTo>
                        <a:cubicBezTo>
                          <a:pt x="58" y="137"/>
                          <a:pt x="46" y="146"/>
                          <a:pt x="23" y="141"/>
                        </a:cubicBezTo>
                        <a:cubicBezTo>
                          <a:pt x="19" y="126"/>
                          <a:pt x="0" y="113"/>
                          <a:pt x="0" y="11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" name="Freeform 222">
                    <a:extLst>
                      <a:ext uri="{FF2B5EF4-FFF2-40B4-BE49-F238E27FC236}">
                        <a16:creationId xmlns:a16="http://schemas.microsoft.com/office/drawing/2014/main" id="{1D4084FB-A2B8-F4DC-2746-C2CB8C8199F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4638" y="2954338"/>
                    <a:ext cx="317500" cy="319088"/>
                  </a:xfrm>
                  <a:custGeom>
                    <a:avLst/>
                    <a:gdLst>
                      <a:gd name="T0" fmla="*/ 171 w 171"/>
                      <a:gd name="T1" fmla="*/ 172 h 172"/>
                      <a:gd name="T2" fmla="*/ 29 w 171"/>
                      <a:gd name="T3" fmla="*/ 97 h 172"/>
                      <a:gd name="T4" fmla="*/ 33 w 171"/>
                      <a:gd name="T5" fmla="*/ 0 h 172"/>
                      <a:gd name="T6" fmla="*/ 171 w 171"/>
                      <a:gd name="T7" fmla="*/ 172 h 1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71" h="172">
                        <a:moveTo>
                          <a:pt x="171" y="172"/>
                        </a:moveTo>
                        <a:cubicBezTo>
                          <a:pt x="171" y="172"/>
                          <a:pt x="57" y="148"/>
                          <a:pt x="29" y="97"/>
                        </a:cubicBezTo>
                        <a:cubicBezTo>
                          <a:pt x="0" y="43"/>
                          <a:pt x="33" y="0"/>
                          <a:pt x="33" y="0"/>
                        </a:cubicBezTo>
                        <a:lnTo>
                          <a:pt x="171" y="17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" name="Freeform 223">
                    <a:extLst>
                      <a:ext uri="{FF2B5EF4-FFF2-40B4-BE49-F238E27FC236}">
                        <a16:creationId xmlns:a16="http://schemas.microsoft.com/office/drawing/2014/main" id="{5C508FA5-026B-D2A8-C0C1-E779B3C99E2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67975" y="2906713"/>
                    <a:ext cx="520700" cy="411163"/>
                  </a:xfrm>
                  <a:custGeom>
                    <a:avLst/>
                    <a:gdLst>
                      <a:gd name="T0" fmla="*/ 153 w 281"/>
                      <a:gd name="T1" fmla="*/ 222 h 222"/>
                      <a:gd name="T2" fmla="*/ 62 w 281"/>
                      <a:gd name="T3" fmla="*/ 147 h 222"/>
                      <a:gd name="T4" fmla="*/ 0 w 281"/>
                      <a:gd name="T5" fmla="*/ 23 h 222"/>
                      <a:gd name="T6" fmla="*/ 31 w 281"/>
                      <a:gd name="T7" fmla="*/ 8 h 222"/>
                      <a:gd name="T8" fmla="*/ 158 w 281"/>
                      <a:gd name="T9" fmla="*/ 64 h 222"/>
                      <a:gd name="T10" fmla="*/ 281 w 281"/>
                      <a:gd name="T11" fmla="*/ 219 h 222"/>
                      <a:gd name="T12" fmla="*/ 153 w 281"/>
                      <a:gd name="T13" fmla="*/ 222 h 2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1" h="222">
                        <a:moveTo>
                          <a:pt x="153" y="222"/>
                        </a:moveTo>
                        <a:cubicBezTo>
                          <a:pt x="153" y="222"/>
                          <a:pt x="136" y="170"/>
                          <a:pt x="62" y="147"/>
                        </a:cubicBezTo>
                        <a:cubicBezTo>
                          <a:pt x="16" y="134"/>
                          <a:pt x="0" y="23"/>
                          <a:pt x="0" y="23"/>
                        </a:cubicBezTo>
                        <a:cubicBezTo>
                          <a:pt x="0" y="23"/>
                          <a:pt x="17" y="10"/>
                          <a:pt x="31" y="8"/>
                        </a:cubicBezTo>
                        <a:cubicBezTo>
                          <a:pt x="64" y="0"/>
                          <a:pt x="115" y="18"/>
                          <a:pt x="158" y="64"/>
                        </a:cubicBezTo>
                        <a:cubicBezTo>
                          <a:pt x="219" y="128"/>
                          <a:pt x="281" y="219"/>
                          <a:pt x="281" y="219"/>
                        </a:cubicBezTo>
                        <a:lnTo>
                          <a:pt x="153" y="222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" name="Freeform 224">
                    <a:extLst>
                      <a:ext uri="{FF2B5EF4-FFF2-40B4-BE49-F238E27FC236}">
                        <a16:creationId xmlns:a16="http://schemas.microsoft.com/office/drawing/2014/main" id="{944AA2B0-E64A-9BA6-362B-260974B5CF2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9413" y="3076575"/>
                    <a:ext cx="247650" cy="242888"/>
                  </a:xfrm>
                  <a:custGeom>
                    <a:avLst/>
                    <a:gdLst>
                      <a:gd name="T0" fmla="*/ 121 w 133"/>
                      <a:gd name="T1" fmla="*/ 129 h 131"/>
                      <a:gd name="T2" fmla="*/ 64 w 133"/>
                      <a:gd name="T3" fmla="*/ 62 h 131"/>
                      <a:gd name="T4" fmla="*/ 0 w 133"/>
                      <a:gd name="T5" fmla="*/ 0 h 131"/>
                      <a:gd name="T6" fmla="*/ 64 w 133"/>
                      <a:gd name="T7" fmla="*/ 57 h 131"/>
                      <a:gd name="T8" fmla="*/ 133 w 133"/>
                      <a:gd name="T9" fmla="*/ 131 h 131"/>
                      <a:gd name="T10" fmla="*/ 121 w 133"/>
                      <a:gd name="T11" fmla="*/ 129 h 1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33" h="131">
                        <a:moveTo>
                          <a:pt x="121" y="129"/>
                        </a:moveTo>
                        <a:cubicBezTo>
                          <a:pt x="121" y="129"/>
                          <a:pt x="99" y="76"/>
                          <a:pt x="64" y="62"/>
                        </a:cubicBezTo>
                        <a:cubicBezTo>
                          <a:pt x="27" y="47"/>
                          <a:pt x="0" y="0"/>
                          <a:pt x="0" y="0"/>
                        </a:cubicBezTo>
                        <a:cubicBezTo>
                          <a:pt x="0" y="0"/>
                          <a:pt x="27" y="33"/>
                          <a:pt x="64" y="57"/>
                        </a:cubicBezTo>
                        <a:cubicBezTo>
                          <a:pt x="101" y="81"/>
                          <a:pt x="133" y="131"/>
                          <a:pt x="133" y="131"/>
                        </a:cubicBezTo>
                        <a:lnTo>
                          <a:pt x="121" y="129"/>
                        </a:ln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Freeform 225">
                    <a:extLst>
                      <a:ext uri="{FF2B5EF4-FFF2-40B4-BE49-F238E27FC236}">
                        <a16:creationId xmlns:a16="http://schemas.microsoft.com/office/drawing/2014/main" id="{79B12963-76F3-B0FD-C39D-411C4281B1D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3063" y="2906713"/>
                    <a:ext cx="430213" cy="357188"/>
                  </a:xfrm>
                  <a:custGeom>
                    <a:avLst/>
                    <a:gdLst>
                      <a:gd name="T0" fmla="*/ 232 w 232"/>
                      <a:gd name="T1" fmla="*/ 182 h 193"/>
                      <a:gd name="T2" fmla="*/ 59 w 232"/>
                      <a:gd name="T3" fmla="*/ 13 h 193"/>
                      <a:gd name="T4" fmla="*/ 3 w 232"/>
                      <a:gd name="T5" fmla="*/ 6 h 193"/>
                      <a:gd name="T6" fmla="*/ 129 w 232"/>
                      <a:gd name="T7" fmla="*/ 156 h 193"/>
                      <a:gd name="T8" fmla="*/ 232 w 232"/>
                      <a:gd name="T9" fmla="*/ 182 h 1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2" h="193">
                        <a:moveTo>
                          <a:pt x="232" y="182"/>
                        </a:moveTo>
                        <a:cubicBezTo>
                          <a:pt x="232" y="182"/>
                          <a:pt x="112" y="25"/>
                          <a:pt x="59" y="13"/>
                        </a:cubicBezTo>
                        <a:cubicBezTo>
                          <a:pt x="7" y="0"/>
                          <a:pt x="3" y="6"/>
                          <a:pt x="3" y="6"/>
                        </a:cubicBezTo>
                        <a:cubicBezTo>
                          <a:pt x="3" y="6"/>
                          <a:pt x="0" y="89"/>
                          <a:pt x="129" y="156"/>
                        </a:cubicBezTo>
                        <a:cubicBezTo>
                          <a:pt x="203" y="193"/>
                          <a:pt x="232" y="182"/>
                          <a:pt x="232" y="182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" name="Freeform 226">
                    <a:extLst>
                      <a:ext uri="{FF2B5EF4-FFF2-40B4-BE49-F238E27FC236}">
                        <a16:creationId xmlns:a16="http://schemas.microsoft.com/office/drawing/2014/main" id="{821F9A0C-8B2A-5275-8D9A-C54960F5BCD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2413" y="2862263"/>
                    <a:ext cx="125413" cy="106363"/>
                  </a:xfrm>
                  <a:custGeom>
                    <a:avLst/>
                    <a:gdLst>
                      <a:gd name="T0" fmla="*/ 68 w 68"/>
                      <a:gd name="T1" fmla="*/ 30 h 58"/>
                      <a:gd name="T2" fmla="*/ 58 w 68"/>
                      <a:gd name="T3" fmla="*/ 14 h 58"/>
                      <a:gd name="T4" fmla="*/ 39 w 68"/>
                      <a:gd name="T5" fmla="*/ 0 h 58"/>
                      <a:gd name="T6" fmla="*/ 31 w 68"/>
                      <a:gd name="T7" fmla="*/ 24 h 58"/>
                      <a:gd name="T8" fmla="*/ 18 w 68"/>
                      <a:gd name="T9" fmla="*/ 37 h 58"/>
                      <a:gd name="T10" fmla="*/ 0 w 68"/>
                      <a:gd name="T11" fmla="*/ 38 h 58"/>
                      <a:gd name="T12" fmla="*/ 36 w 68"/>
                      <a:gd name="T13" fmla="*/ 55 h 58"/>
                      <a:gd name="T14" fmla="*/ 68 w 68"/>
                      <a:gd name="T15" fmla="*/ 30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8" h="58">
                        <a:moveTo>
                          <a:pt x="68" y="30"/>
                        </a:moveTo>
                        <a:cubicBezTo>
                          <a:pt x="58" y="14"/>
                          <a:pt x="58" y="14"/>
                          <a:pt x="58" y="14"/>
                        </a:cubicBezTo>
                        <a:cubicBezTo>
                          <a:pt x="39" y="0"/>
                          <a:pt x="39" y="0"/>
                          <a:pt x="39" y="0"/>
                        </a:cubicBezTo>
                        <a:cubicBezTo>
                          <a:pt x="39" y="0"/>
                          <a:pt x="33" y="15"/>
                          <a:pt x="31" y="24"/>
                        </a:cubicBezTo>
                        <a:cubicBezTo>
                          <a:pt x="30" y="32"/>
                          <a:pt x="21" y="37"/>
                          <a:pt x="18" y="37"/>
                        </a:cubicBezTo>
                        <a:cubicBezTo>
                          <a:pt x="10" y="39"/>
                          <a:pt x="0" y="38"/>
                          <a:pt x="0" y="38"/>
                        </a:cubicBezTo>
                        <a:cubicBezTo>
                          <a:pt x="0" y="38"/>
                          <a:pt x="32" y="50"/>
                          <a:pt x="36" y="55"/>
                        </a:cubicBezTo>
                        <a:cubicBezTo>
                          <a:pt x="41" y="58"/>
                          <a:pt x="68" y="30"/>
                          <a:pt x="68" y="30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4" name="Freeform 227">
                    <a:extLst>
                      <a:ext uri="{FF2B5EF4-FFF2-40B4-BE49-F238E27FC236}">
                        <a16:creationId xmlns:a16="http://schemas.microsoft.com/office/drawing/2014/main" id="{DB5FBF64-36E8-F9F4-ECE3-59A8310B149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3363" y="2800350"/>
                    <a:ext cx="100013" cy="131763"/>
                  </a:xfrm>
                  <a:custGeom>
                    <a:avLst/>
                    <a:gdLst>
                      <a:gd name="T0" fmla="*/ 13 w 54"/>
                      <a:gd name="T1" fmla="*/ 71 h 71"/>
                      <a:gd name="T2" fmla="*/ 31 w 54"/>
                      <a:gd name="T3" fmla="*/ 70 h 71"/>
                      <a:gd name="T4" fmla="*/ 41 w 54"/>
                      <a:gd name="T5" fmla="*/ 61 h 71"/>
                      <a:gd name="T6" fmla="*/ 45 w 54"/>
                      <a:gd name="T7" fmla="*/ 46 h 71"/>
                      <a:gd name="T8" fmla="*/ 51 w 54"/>
                      <a:gd name="T9" fmla="*/ 41 h 71"/>
                      <a:gd name="T10" fmla="*/ 47 w 54"/>
                      <a:gd name="T11" fmla="*/ 32 h 71"/>
                      <a:gd name="T12" fmla="*/ 44 w 54"/>
                      <a:gd name="T13" fmla="*/ 3 h 71"/>
                      <a:gd name="T14" fmla="*/ 30 w 54"/>
                      <a:gd name="T15" fmla="*/ 0 h 71"/>
                      <a:gd name="T16" fmla="*/ 18 w 54"/>
                      <a:gd name="T17" fmla="*/ 7 h 71"/>
                      <a:gd name="T18" fmla="*/ 0 w 54"/>
                      <a:gd name="T19" fmla="*/ 40 h 71"/>
                      <a:gd name="T20" fmla="*/ 3 w 54"/>
                      <a:gd name="T21" fmla="*/ 42 h 71"/>
                      <a:gd name="T22" fmla="*/ 7 w 54"/>
                      <a:gd name="T23" fmla="*/ 43 h 71"/>
                      <a:gd name="T24" fmla="*/ 8 w 54"/>
                      <a:gd name="T25" fmla="*/ 70 h 71"/>
                      <a:gd name="T26" fmla="*/ 13 w 54"/>
                      <a:gd name="T27" fmla="*/ 71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54" h="71">
                        <a:moveTo>
                          <a:pt x="13" y="71"/>
                        </a:moveTo>
                        <a:cubicBezTo>
                          <a:pt x="17" y="71"/>
                          <a:pt x="25" y="71"/>
                          <a:pt x="31" y="70"/>
                        </a:cubicBezTo>
                        <a:cubicBezTo>
                          <a:pt x="40" y="69"/>
                          <a:pt x="41" y="61"/>
                          <a:pt x="41" y="61"/>
                        </a:cubicBezTo>
                        <a:cubicBezTo>
                          <a:pt x="45" y="46"/>
                          <a:pt x="45" y="46"/>
                          <a:pt x="45" y="46"/>
                        </a:cubicBezTo>
                        <a:cubicBezTo>
                          <a:pt x="45" y="46"/>
                          <a:pt x="48" y="44"/>
                          <a:pt x="51" y="41"/>
                        </a:cubicBezTo>
                        <a:cubicBezTo>
                          <a:pt x="52" y="40"/>
                          <a:pt x="54" y="34"/>
                          <a:pt x="47" y="32"/>
                        </a:cubicBezTo>
                        <a:cubicBezTo>
                          <a:pt x="37" y="28"/>
                          <a:pt x="44" y="3"/>
                          <a:pt x="44" y="3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18" y="7"/>
                          <a:pt x="18" y="7"/>
                          <a:pt x="18" y="7"/>
                        </a:cubicBezTo>
                        <a:cubicBezTo>
                          <a:pt x="0" y="40"/>
                          <a:pt x="0" y="40"/>
                          <a:pt x="0" y="40"/>
                        </a:cubicBezTo>
                        <a:cubicBezTo>
                          <a:pt x="0" y="40"/>
                          <a:pt x="1" y="42"/>
                          <a:pt x="3" y="42"/>
                        </a:cubicBezTo>
                        <a:cubicBezTo>
                          <a:pt x="6" y="42"/>
                          <a:pt x="7" y="43"/>
                          <a:pt x="7" y="43"/>
                        </a:cubicBezTo>
                        <a:cubicBezTo>
                          <a:pt x="7" y="43"/>
                          <a:pt x="8" y="69"/>
                          <a:pt x="8" y="70"/>
                        </a:cubicBezTo>
                        <a:cubicBezTo>
                          <a:pt x="9" y="71"/>
                          <a:pt x="10" y="71"/>
                          <a:pt x="13" y="71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" name="Freeform 228">
                    <a:extLst>
                      <a:ext uri="{FF2B5EF4-FFF2-40B4-BE49-F238E27FC236}">
                        <a16:creationId xmlns:a16="http://schemas.microsoft.com/office/drawing/2014/main" id="{D9E59903-E3E1-9DFE-9509-A084A0BC36F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5588" y="2849563"/>
                    <a:ext cx="20638" cy="7938"/>
                  </a:xfrm>
                  <a:custGeom>
                    <a:avLst/>
                    <a:gdLst>
                      <a:gd name="T0" fmla="*/ 1 w 11"/>
                      <a:gd name="T1" fmla="*/ 3 h 5"/>
                      <a:gd name="T2" fmla="*/ 3 w 11"/>
                      <a:gd name="T3" fmla="*/ 5 h 5"/>
                      <a:gd name="T4" fmla="*/ 10 w 11"/>
                      <a:gd name="T5" fmla="*/ 5 h 5"/>
                      <a:gd name="T6" fmla="*/ 2 w 11"/>
                      <a:gd name="T7" fmla="*/ 1 h 5"/>
                      <a:gd name="T8" fmla="*/ 1 w 11"/>
                      <a:gd name="T9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" h="5">
                        <a:moveTo>
                          <a:pt x="1" y="3"/>
                        </a:moveTo>
                        <a:cubicBezTo>
                          <a:pt x="1" y="5"/>
                          <a:pt x="1" y="5"/>
                          <a:pt x="3" y="5"/>
                        </a:cubicBezTo>
                        <a:cubicBezTo>
                          <a:pt x="5" y="5"/>
                          <a:pt x="8" y="5"/>
                          <a:pt x="10" y="5"/>
                        </a:cubicBezTo>
                        <a:cubicBezTo>
                          <a:pt x="11" y="5"/>
                          <a:pt x="7" y="3"/>
                          <a:pt x="2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" name="Freeform 229">
                    <a:extLst>
                      <a:ext uri="{FF2B5EF4-FFF2-40B4-BE49-F238E27FC236}">
                        <a16:creationId xmlns:a16="http://schemas.microsoft.com/office/drawing/2014/main" id="{0C036DED-A64D-AC20-54D9-754F8E0B49B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2263" y="2951163"/>
                    <a:ext cx="44450" cy="104775"/>
                  </a:xfrm>
                  <a:custGeom>
                    <a:avLst/>
                    <a:gdLst>
                      <a:gd name="T0" fmla="*/ 24 w 24"/>
                      <a:gd name="T1" fmla="*/ 57 h 57"/>
                      <a:gd name="T2" fmla="*/ 22 w 24"/>
                      <a:gd name="T3" fmla="*/ 0 h 57"/>
                      <a:gd name="T4" fmla="*/ 0 w 24"/>
                      <a:gd name="T5" fmla="*/ 8 h 57"/>
                      <a:gd name="T6" fmla="*/ 24 w 24"/>
                      <a:gd name="T7" fmla="*/ 57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4" h="57">
                        <a:moveTo>
                          <a:pt x="24" y="57"/>
                        </a:moveTo>
                        <a:cubicBezTo>
                          <a:pt x="24" y="57"/>
                          <a:pt x="8" y="28"/>
                          <a:pt x="22" y="0"/>
                        </a:cubicBezTo>
                        <a:cubicBezTo>
                          <a:pt x="17" y="5"/>
                          <a:pt x="6" y="6"/>
                          <a:pt x="0" y="8"/>
                        </a:cubicBezTo>
                        <a:cubicBezTo>
                          <a:pt x="0" y="32"/>
                          <a:pt x="24" y="57"/>
                          <a:pt x="24" y="57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Freeform 230">
                    <a:extLst>
                      <a:ext uri="{FF2B5EF4-FFF2-40B4-BE49-F238E27FC236}">
                        <a16:creationId xmlns:a16="http://schemas.microsoft.com/office/drawing/2014/main" id="{E19B0CD0-93D8-4E41-7534-69323EC0D50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72688" y="2957513"/>
                    <a:ext cx="188913" cy="74613"/>
                  </a:xfrm>
                  <a:custGeom>
                    <a:avLst/>
                    <a:gdLst>
                      <a:gd name="T0" fmla="*/ 94 w 119"/>
                      <a:gd name="T1" fmla="*/ 47 h 47"/>
                      <a:gd name="T2" fmla="*/ 0 w 119"/>
                      <a:gd name="T3" fmla="*/ 12 h 47"/>
                      <a:gd name="T4" fmla="*/ 2 w 119"/>
                      <a:gd name="T5" fmla="*/ 0 h 47"/>
                      <a:gd name="T6" fmla="*/ 119 w 119"/>
                      <a:gd name="T7" fmla="*/ 23 h 47"/>
                      <a:gd name="T8" fmla="*/ 94 w 119"/>
                      <a:gd name="T9" fmla="*/ 47 h 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9" h="47">
                        <a:moveTo>
                          <a:pt x="94" y="47"/>
                        </a:moveTo>
                        <a:lnTo>
                          <a:pt x="0" y="12"/>
                        </a:lnTo>
                        <a:lnTo>
                          <a:pt x="2" y="0"/>
                        </a:lnTo>
                        <a:lnTo>
                          <a:pt x="119" y="23"/>
                        </a:lnTo>
                        <a:lnTo>
                          <a:pt x="94" y="47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" name="Freeform 231">
                    <a:extLst>
                      <a:ext uri="{FF2B5EF4-FFF2-40B4-BE49-F238E27FC236}">
                        <a16:creationId xmlns:a16="http://schemas.microsoft.com/office/drawing/2014/main" id="{67FFC57D-565C-AB92-C8C3-EBCB58AE31A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15563" y="2954338"/>
                    <a:ext cx="434975" cy="128588"/>
                  </a:xfrm>
                  <a:custGeom>
                    <a:avLst/>
                    <a:gdLst>
                      <a:gd name="T0" fmla="*/ 2 w 235"/>
                      <a:gd name="T1" fmla="*/ 16 h 69"/>
                      <a:gd name="T2" fmla="*/ 82 w 235"/>
                      <a:gd name="T3" fmla="*/ 33 h 69"/>
                      <a:gd name="T4" fmla="*/ 201 w 235"/>
                      <a:gd name="T5" fmla="*/ 0 h 69"/>
                      <a:gd name="T6" fmla="*/ 235 w 235"/>
                      <a:gd name="T7" fmla="*/ 35 h 69"/>
                      <a:gd name="T8" fmla="*/ 120 w 235"/>
                      <a:gd name="T9" fmla="*/ 65 h 69"/>
                      <a:gd name="T10" fmla="*/ 59 w 235"/>
                      <a:gd name="T11" fmla="*/ 61 h 69"/>
                      <a:gd name="T12" fmla="*/ 0 w 235"/>
                      <a:gd name="T13" fmla="*/ 42 h 69"/>
                      <a:gd name="T14" fmla="*/ 2 w 235"/>
                      <a:gd name="T15" fmla="*/ 16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35" h="69">
                        <a:moveTo>
                          <a:pt x="2" y="16"/>
                        </a:moveTo>
                        <a:cubicBezTo>
                          <a:pt x="82" y="33"/>
                          <a:pt x="82" y="33"/>
                          <a:pt x="82" y="33"/>
                        </a:cubicBezTo>
                        <a:cubicBezTo>
                          <a:pt x="201" y="0"/>
                          <a:pt x="201" y="0"/>
                          <a:pt x="201" y="0"/>
                        </a:cubicBezTo>
                        <a:cubicBezTo>
                          <a:pt x="235" y="35"/>
                          <a:pt x="235" y="35"/>
                          <a:pt x="235" y="35"/>
                        </a:cubicBezTo>
                        <a:cubicBezTo>
                          <a:pt x="235" y="35"/>
                          <a:pt x="132" y="62"/>
                          <a:pt x="120" y="65"/>
                        </a:cubicBezTo>
                        <a:cubicBezTo>
                          <a:pt x="108" y="67"/>
                          <a:pt x="84" y="69"/>
                          <a:pt x="59" y="61"/>
                        </a:cubicBezTo>
                        <a:cubicBezTo>
                          <a:pt x="42" y="56"/>
                          <a:pt x="24" y="50"/>
                          <a:pt x="0" y="42"/>
                        </a:cubicBezTo>
                        <a:lnTo>
                          <a:pt x="2" y="16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" name="Freeform 232">
                    <a:extLst>
                      <a:ext uri="{FF2B5EF4-FFF2-40B4-BE49-F238E27FC236}">
                        <a16:creationId xmlns:a16="http://schemas.microsoft.com/office/drawing/2014/main" id="{0BE3FF39-B030-1385-F1E5-ED6A0EBFC0A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3525" y="2782888"/>
                    <a:ext cx="134938" cy="225425"/>
                  </a:xfrm>
                  <a:custGeom>
                    <a:avLst/>
                    <a:gdLst>
                      <a:gd name="T0" fmla="*/ 52 w 73"/>
                      <a:gd name="T1" fmla="*/ 19 h 122"/>
                      <a:gd name="T2" fmla="*/ 0 w 73"/>
                      <a:gd name="T3" fmla="*/ 9 h 122"/>
                      <a:gd name="T4" fmla="*/ 2 w 73"/>
                      <a:gd name="T5" fmla="*/ 17 h 122"/>
                      <a:gd name="T6" fmla="*/ 19 w 73"/>
                      <a:gd name="T7" fmla="*/ 56 h 122"/>
                      <a:gd name="T8" fmla="*/ 6 w 73"/>
                      <a:gd name="T9" fmla="*/ 107 h 122"/>
                      <a:gd name="T10" fmla="*/ 70 w 73"/>
                      <a:gd name="T11" fmla="*/ 76 h 122"/>
                      <a:gd name="T12" fmla="*/ 52 w 73"/>
                      <a:gd name="T13" fmla="*/ 19 h 1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3" h="122">
                        <a:moveTo>
                          <a:pt x="52" y="19"/>
                        </a:moveTo>
                        <a:cubicBezTo>
                          <a:pt x="17" y="1"/>
                          <a:pt x="4" y="0"/>
                          <a:pt x="0" y="9"/>
                        </a:cubicBezTo>
                        <a:cubicBezTo>
                          <a:pt x="0" y="11"/>
                          <a:pt x="0" y="15"/>
                          <a:pt x="2" y="17"/>
                        </a:cubicBezTo>
                        <a:cubicBezTo>
                          <a:pt x="12" y="17"/>
                          <a:pt x="19" y="36"/>
                          <a:pt x="19" y="56"/>
                        </a:cubicBezTo>
                        <a:cubicBezTo>
                          <a:pt x="17" y="75"/>
                          <a:pt x="16" y="102"/>
                          <a:pt x="6" y="107"/>
                        </a:cubicBezTo>
                        <a:cubicBezTo>
                          <a:pt x="34" y="117"/>
                          <a:pt x="73" y="122"/>
                          <a:pt x="70" y="76"/>
                        </a:cubicBezTo>
                        <a:cubicBezTo>
                          <a:pt x="70" y="62"/>
                          <a:pt x="55" y="24"/>
                          <a:pt x="52" y="19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0" name="Freeform 233">
                    <a:extLst>
                      <a:ext uri="{FF2B5EF4-FFF2-40B4-BE49-F238E27FC236}">
                        <a16:creationId xmlns:a16="http://schemas.microsoft.com/office/drawing/2014/main" id="{2A167822-465B-63EE-EC81-4AB721198EB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8613" y="3302000"/>
                    <a:ext cx="563563" cy="241300"/>
                  </a:xfrm>
                  <a:custGeom>
                    <a:avLst/>
                    <a:gdLst>
                      <a:gd name="T0" fmla="*/ 267 w 304"/>
                      <a:gd name="T1" fmla="*/ 0 h 130"/>
                      <a:gd name="T2" fmla="*/ 304 w 304"/>
                      <a:gd name="T3" fmla="*/ 118 h 130"/>
                      <a:gd name="T4" fmla="*/ 26 w 304"/>
                      <a:gd name="T5" fmla="*/ 54 h 130"/>
                      <a:gd name="T6" fmla="*/ 1 w 304"/>
                      <a:gd name="T7" fmla="*/ 1 h 130"/>
                      <a:gd name="T8" fmla="*/ 267 w 304"/>
                      <a:gd name="T9" fmla="*/ 0 h 1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4" h="130">
                        <a:moveTo>
                          <a:pt x="267" y="0"/>
                        </a:moveTo>
                        <a:cubicBezTo>
                          <a:pt x="295" y="26"/>
                          <a:pt x="269" y="75"/>
                          <a:pt x="304" y="118"/>
                        </a:cubicBezTo>
                        <a:cubicBezTo>
                          <a:pt x="264" y="130"/>
                          <a:pt x="87" y="102"/>
                          <a:pt x="26" y="54"/>
                        </a:cubicBezTo>
                        <a:cubicBezTo>
                          <a:pt x="0" y="33"/>
                          <a:pt x="1" y="1"/>
                          <a:pt x="1" y="1"/>
                        </a:cubicBezTo>
                        <a:cubicBezTo>
                          <a:pt x="1" y="1"/>
                          <a:pt x="229" y="1"/>
                          <a:pt x="267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" name="Freeform 234">
                    <a:extLst>
                      <a:ext uri="{FF2B5EF4-FFF2-40B4-BE49-F238E27FC236}">
                        <a16:creationId xmlns:a16="http://schemas.microsoft.com/office/drawing/2014/main" id="{BFF38665-69E5-A82F-9E6B-05B1343C52D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01250" y="2922588"/>
                    <a:ext cx="79375" cy="60325"/>
                  </a:xfrm>
                  <a:custGeom>
                    <a:avLst/>
                    <a:gdLst>
                      <a:gd name="T0" fmla="*/ 43 w 43"/>
                      <a:gd name="T1" fmla="*/ 20 h 32"/>
                      <a:gd name="T2" fmla="*/ 34 w 43"/>
                      <a:gd name="T3" fmla="*/ 16 h 32"/>
                      <a:gd name="T4" fmla="*/ 26 w 43"/>
                      <a:gd name="T5" fmla="*/ 10 h 32"/>
                      <a:gd name="T6" fmla="*/ 23 w 43"/>
                      <a:gd name="T7" fmla="*/ 7 h 32"/>
                      <a:gd name="T8" fmla="*/ 6 w 43"/>
                      <a:gd name="T9" fmla="*/ 0 h 32"/>
                      <a:gd name="T10" fmla="*/ 7 w 43"/>
                      <a:gd name="T11" fmla="*/ 4 h 32"/>
                      <a:gd name="T12" fmla="*/ 15 w 43"/>
                      <a:gd name="T13" fmla="*/ 9 h 32"/>
                      <a:gd name="T14" fmla="*/ 0 w 43"/>
                      <a:gd name="T15" fmla="*/ 13 h 32"/>
                      <a:gd name="T16" fmla="*/ 2 w 43"/>
                      <a:gd name="T17" fmla="*/ 16 h 32"/>
                      <a:gd name="T18" fmla="*/ 12 w 43"/>
                      <a:gd name="T19" fmla="*/ 15 h 32"/>
                      <a:gd name="T20" fmla="*/ 27 w 43"/>
                      <a:gd name="T21" fmla="*/ 27 h 32"/>
                      <a:gd name="T22" fmla="*/ 24 w 43"/>
                      <a:gd name="T23" fmla="*/ 28 h 32"/>
                      <a:gd name="T24" fmla="*/ 27 w 43"/>
                      <a:gd name="T25" fmla="*/ 32 h 32"/>
                      <a:gd name="T26" fmla="*/ 42 w 43"/>
                      <a:gd name="T27" fmla="*/ 30 h 32"/>
                      <a:gd name="T28" fmla="*/ 43 w 43"/>
                      <a:gd name="T29" fmla="*/ 20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3" h="32">
                        <a:moveTo>
                          <a:pt x="43" y="20"/>
                        </a:moveTo>
                        <a:cubicBezTo>
                          <a:pt x="43" y="20"/>
                          <a:pt x="38" y="18"/>
                          <a:pt x="34" y="16"/>
                        </a:cubicBezTo>
                        <a:cubicBezTo>
                          <a:pt x="30" y="13"/>
                          <a:pt x="26" y="10"/>
                          <a:pt x="26" y="10"/>
                        </a:cubicBezTo>
                        <a:cubicBezTo>
                          <a:pt x="26" y="10"/>
                          <a:pt x="24" y="8"/>
                          <a:pt x="23" y="7"/>
                        </a:cubicBezTo>
                        <a:cubicBezTo>
                          <a:pt x="22" y="7"/>
                          <a:pt x="13" y="3"/>
                          <a:pt x="6" y="0"/>
                        </a:cubicBezTo>
                        <a:cubicBezTo>
                          <a:pt x="5" y="0"/>
                          <a:pt x="6" y="3"/>
                          <a:pt x="7" y="4"/>
                        </a:cubicBezTo>
                        <a:cubicBezTo>
                          <a:pt x="8" y="5"/>
                          <a:pt x="15" y="9"/>
                          <a:pt x="15" y="9"/>
                        </a:cubicBezTo>
                        <a:cubicBezTo>
                          <a:pt x="15" y="9"/>
                          <a:pt x="3" y="12"/>
                          <a:pt x="0" y="13"/>
                        </a:cubicBezTo>
                        <a:cubicBezTo>
                          <a:pt x="0" y="13"/>
                          <a:pt x="1" y="15"/>
                          <a:pt x="2" y="16"/>
                        </a:cubicBezTo>
                        <a:cubicBezTo>
                          <a:pt x="4" y="16"/>
                          <a:pt x="12" y="15"/>
                          <a:pt x="12" y="15"/>
                        </a:cubicBezTo>
                        <a:cubicBezTo>
                          <a:pt x="27" y="27"/>
                          <a:pt x="27" y="27"/>
                          <a:pt x="27" y="27"/>
                        </a:cubicBezTo>
                        <a:cubicBezTo>
                          <a:pt x="24" y="28"/>
                          <a:pt x="24" y="28"/>
                          <a:pt x="24" y="28"/>
                        </a:cubicBezTo>
                        <a:cubicBezTo>
                          <a:pt x="27" y="32"/>
                          <a:pt x="27" y="32"/>
                          <a:pt x="27" y="32"/>
                        </a:cubicBezTo>
                        <a:cubicBezTo>
                          <a:pt x="27" y="32"/>
                          <a:pt x="33" y="32"/>
                          <a:pt x="42" y="30"/>
                        </a:cubicBezTo>
                        <a:lnTo>
                          <a:pt x="43" y="2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54" name="Freeform 180">
                  <a:extLst>
                    <a:ext uri="{FF2B5EF4-FFF2-40B4-BE49-F238E27FC236}">
                      <a16:creationId xmlns:a16="http://schemas.microsoft.com/office/drawing/2014/main" id="{1BA11B64-571F-3953-E872-0871136572F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532353" y="4827346"/>
                  <a:ext cx="357122" cy="260510"/>
                </a:xfrm>
                <a:custGeom>
                  <a:avLst/>
                  <a:gdLst>
                    <a:gd name="T0" fmla="*/ 308 w 354"/>
                    <a:gd name="T1" fmla="*/ 0 h 259"/>
                    <a:gd name="T2" fmla="*/ 300 w 354"/>
                    <a:gd name="T3" fmla="*/ 0 h 259"/>
                    <a:gd name="T4" fmla="*/ 300 w 354"/>
                    <a:gd name="T5" fmla="*/ 14 h 259"/>
                    <a:gd name="T6" fmla="*/ 283 w 354"/>
                    <a:gd name="T7" fmla="*/ 0 h 259"/>
                    <a:gd name="T8" fmla="*/ 283 w 354"/>
                    <a:gd name="T9" fmla="*/ 0 h 259"/>
                    <a:gd name="T10" fmla="*/ 261 w 354"/>
                    <a:gd name="T11" fmla="*/ 0 h 259"/>
                    <a:gd name="T12" fmla="*/ 262 w 354"/>
                    <a:gd name="T13" fmla="*/ 6 h 259"/>
                    <a:gd name="T14" fmla="*/ 277 w 354"/>
                    <a:gd name="T15" fmla="*/ 12 h 259"/>
                    <a:gd name="T16" fmla="*/ 295 w 354"/>
                    <a:gd name="T17" fmla="*/ 36 h 259"/>
                    <a:gd name="T18" fmla="*/ 292 w 354"/>
                    <a:gd name="T19" fmla="*/ 237 h 259"/>
                    <a:gd name="T20" fmla="*/ 182 w 354"/>
                    <a:gd name="T21" fmla="*/ 111 h 259"/>
                    <a:gd name="T22" fmla="*/ 133 w 354"/>
                    <a:gd name="T23" fmla="*/ 84 h 259"/>
                    <a:gd name="T24" fmla="*/ 84 w 354"/>
                    <a:gd name="T25" fmla="*/ 117 h 259"/>
                    <a:gd name="T26" fmla="*/ 0 w 354"/>
                    <a:gd name="T27" fmla="*/ 259 h 259"/>
                    <a:gd name="T28" fmla="*/ 140 w 354"/>
                    <a:gd name="T29" fmla="*/ 259 h 259"/>
                    <a:gd name="T30" fmla="*/ 147 w 354"/>
                    <a:gd name="T31" fmla="*/ 188 h 259"/>
                    <a:gd name="T32" fmla="*/ 230 w 354"/>
                    <a:gd name="T33" fmla="*/ 259 h 259"/>
                    <a:gd name="T34" fmla="*/ 354 w 354"/>
                    <a:gd name="T35" fmla="*/ 259 h 259"/>
                    <a:gd name="T36" fmla="*/ 312 w 354"/>
                    <a:gd name="T37" fmla="*/ 35 h 259"/>
                    <a:gd name="T38" fmla="*/ 312 w 354"/>
                    <a:gd name="T39" fmla="*/ 24 h 259"/>
                    <a:gd name="T40" fmla="*/ 308 w 354"/>
                    <a:gd name="T41" fmla="*/ 0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4" h="259">
                      <a:moveTo>
                        <a:pt x="308" y="0"/>
                      </a:moveTo>
                      <a:cubicBezTo>
                        <a:pt x="300" y="0"/>
                        <a:pt x="300" y="0"/>
                        <a:pt x="300" y="0"/>
                      </a:cubicBezTo>
                      <a:cubicBezTo>
                        <a:pt x="300" y="14"/>
                        <a:pt x="300" y="14"/>
                        <a:pt x="300" y="14"/>
                      </a:cubicBezTo>
                      <a:cubicBezTo>
                        <a:pt x="300" y="14"/>
                        <a:pt x="288" y="0"/>
                        <a:pt x="283" y="0"/>
                      </a:cubicBezTo>
                      <a:cubicBezTo>
                        <a:pt x="283" y="0"/>
                        <a:pt x="283" y="0"/>
                        <a:pt x="283" y="0"/>
                      </a:cubicBezTo>
                      <a:cubicBezTo>
                        <a:pt x="279" y="0"/>
                        <a:pt x="261" y="0"/>
                        <a:pt x="261" y="0"/>
                      </a:cubicBezTo>
                      <a:cubicBezTo>
                        <a:pt x="261" y="0"/>
                        <a:pt x="258" y="5"/>
                        <a:pt x="262" y="6"/>
                      </a:cubicBezTo>
                      <a:cubicBezTo>
                        <a:pt x="263" y="6"/>
                        <a:pt x="273" y="10"/>
                        <a:pt x="277" y="12"/>
                      </a:cubicBezTo>
                      <a:cubicBezTo>
                        <a:pt x="295" y="36"/>
                        <a:pt x="295" y="36"/>
                        <a:pt x="295" y="36"/>
                      </a:cubicBezTo>
                      <a:cubicBezTo>
                        <a:pt x="292" y="237"/>
                        <a:pt x="292" y="237"/>
                        <a:pt x="292" y="237"/>
                      </a:cubicBezTo>
                      <a:cubicBezTo>
                        <a:pt x="241" y="180"/>
                        <a:pt x="189" y="121"/>
                        <a:pt x="182" y="111"/>
                      </a:cubicBezTo>
                      <a:cubicBezTo>
                        <a:pt x="174" y="99"/>
                        <a:pt x="155" y="84"/>
                        <a:pt x="133" y="84"/>
                      </a:cubicBezTo>
                      <a:cubicBezTo>
                        <a:pt x="117" y="84"/>
                        <a:pt x="99" y="93"/>
                        <a:pt x="84" y="117"/>
                      </a:cubicBezTo>
                      <a:cubicBezTo>
                        <a:pt x="61" y="155"/>
                        <a:pt x="26" y="213"/>
                        <a:pt x="0" y="259"/>
                      </a:cubicBezTo>
                      <a:cubicBezTo>
                        <a:pt x="140" y="259"/>
                        <a:pt x="140" y="259"/>
                        <a:pt x="140" y="259"/>
                      </a:cubicBezTo>
                      <a:cubicBezTo>
                        <a:pt x="144" y="231"/>
                        <a:pt x="146" y="205"/>
                        <a:pt x="147" y="188"/>
                      </a:cubicBezTo>
                      <a:cubicBezTo>
                        <a:pt x="230" y="259"/>
                        <a:pt x="230" y="259"/>
                        <a:pt x="230" y="259"/>
                      </a:cubicBezTo>
                      <a:cubicBezTo>
                        <a:pt x="354" y="259"/>
                        <a:pt x="354" y="259"/>
                        <a:pt x="354" y="259"/>
                      </a:cubicBezTo>
                      <a:cubicBezTo>
                        <a:pt x="345" y="166"/>
                        <a:pt x="312" y="35"/>
                        <a:pt x="312" y="35"/>
                      </a:cubicBezTo>
                      <a:cubicBezTo>
                        <a:pt x="312" y="35"/>
                        <a:pt x="313" y="29"/>
                        <a:pt x="312" y="24"/>
                      </a:cubicBezTo>
                      <a:cubicBezTo>
                        <a:pt x="310" y="13"/>
                        <a:pt x="308" y="0"/>
                        <a:pt x="308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11" name="Group 5">
                <a:extLst>
                  <a:ext uri="{FF2B5EF4-FFF2-40B4-BE49-F238E27FC236}">
                    <a16:creationId xmlns:a16="http://schemas.microsoft.com/office/drawing/2014/main" id="{BDB25678-4D6B-F4D5-123D-1DC5852EAB81}"/>
                  </a:ext>
                </a:extLst>
              </p:cNvPr>
              <p:cNvGrpSpPr/>
              <p:nvPr/>
            </p:nvGrpSpPr>
            <p:grpSpPr>
              <a:xfrm>
                <a:off x="3081113" y="3935198"/>
                <a:ext cx="1695948" cy="1162398"/>
                <a:chOff x="3081113" y="3935198"/>
                <a:chExt cx="1695948" cy="1162398"/>
              </a:xfrm>
            </p:grpSpPr>
            <p:grpSp>
              <p:nvGrpSpPr>
                <p:cNvPr id="12" name="Group 1051">
                  <a:extLst>
                    <a:ext uri="{FF2B5EF4-FFF2-40B4-BE49-F238E27FC236}">
                      <a16:creationId xmlns:a16="http://schemas.microsoft.com/office/drawing/2014/main" id="{991B5663-6B51-EE08-4DC3-E36B6B7BB330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096850" y="3935198"/>
                  <a:ext cx="947456" cy="851698"/>
                  <a:chOff x="6978651" y="4723607"/>
                  <a:chExt cx="1931987" cy="1736725"/>
                </a:xfrm>
              </p:grpSpPr>
              <p:sp>
                <p:nvSpPr>
                  <p:cNvPr id="38" name="Freeform 280">
                    <a:extLst>
                      <a:ext uri="{FF2B5EF4-FFF2-40B4-BE49-F238E27FC236}">
                        <a16:creationId xmlns:a16="http://schemas.microsoft.com/office/drawing/2014/main" id="{77C1C8CE-3857-C9DD-87C3-732245CF717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075488" y="5322095"/>
                    <a:ext cx="139700" cy="82550"/>
                  </a:xfrm>
                  <a:custGeom>
                    <a:avLst/>
                    <a:gdLst>
                      <a:gd name="T0" fmla="*/ 71 w 71"/>
                      <a:gd name="T1" fmla="*/ 40 h 42"/>
                      <a:gd name="T2" fmla="*/ 60 w 71"/>
                      <a:gd name="T3" fmla="*/ 42 h 42"/>
                      <a:gd name="T4" fmla="*/ 47 w 71"/>
                      <a:gd name="T5" fmla="*/ 39 h 42"/>
                      <a:gd name="T6" fmla="*/ 42 w 71"/>
                      <a:gd name="T7" fmla="*/ 33 h 42"/>
                      <a:gd name="T8" fmla="*/ 45 w 71"/>
                      <a:gd name="T9" fmla="*/ 31 h 42"/>
                      <a:gd name="T10" fmla="*/ 19 w 71"/>
                      <a:gd name="T11" fmla="*/ 13 h 42"/>
                      <a:gd name="T12" fmla="*/ 4 w 71"/>
                      <a:gd name="T13" fmla="*/ 14 h 42"/>
                      <a:gd name="T14" fmla="*/ 1 w 71"/>
                      <a:gd name="T15" fmla="*/ 11 h 42"/>
                      <a:gd name="T16" fmla="*/ 21 w 71"/>
                      <a:gd name="T17" fmla="*/ 5 h 42"/>
                      <a:gd name="T18" fmla="*/ 35 w 71"/>
                      <a:gd name="T19" fmla="*/ 2 h 42"/>
                      <a:gd name="T20" fmla="*/ 40 w 71"/>
                      <a:gd name="T21" fmla="*/ 6 h 42"/>
                      <a:gd name="T22" fmla="*/ 68 w 71"/>
                      <a:gd name="T23" fmla="*/ 21 h 42"/>
                      <a:gd name="T24" fmla="*/ 71 w 71"/>
                      <a:gd name="T25" fmla="*/ 40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71" h="42">
                        <a:moveTo>
                          <a:pt x="71" y="40"/>
                        </a:moveTo>
                        <a:cubicBezTo>
                          <a:pt x="71" y="40"/>
                          <a:pt x="63" y="42"/>
                          <a:pt x="60" y="42"/>
                        </a:cubicBezTo>
                        <a:cubicBezTo>
                          <a:pt x="49" y="42"/>
                          <a:pt x="47" y="39"/>
                          <a:pt x="47" y="39"/>
                        </a:cubicBezTo>
                        <a:cubicBezTo>
                          <a:pt x="42" y="33"/>
                          <a:pt x="42" y="33"/>
                          <a:pt x="42" y="33"/>
                        </a:cubicBezTo>
                        <a:cubicBezTo>
                          <a:pt x="45" y="31"/>
                          <a:pt x="45" y="31"/>
                          <a:pt x="45" y="31"/>
                        </a:cubicBezTo>
                        <a:cubicBezTo>
                          <a:pt x="19" y="13"/>
                          <a:pt x="19" y="13"/>
                          <a:pt x="19" y="13"/>
                        </a:cubicBezTo>
                        <a:cubicBezTo>
                          <a:pt x="19" y="13"/>
                          <a:pt x="6" y="15"/>
                          <a:pt x="4" y="14"/>
                        </a:cubicBezTo>
                        <a:cubicBezTo>
                          <a:pt x="2" y="14"/>
                          <a:pt x="0" y="11"/>
                          <a:pt x="1" y="11"/>
                        </a:cubicBezTo>
                        <a:cubicBezTo>
                          <a:pt x="5" y="9"/>
                          <a:pt x="21" y="5"/>
                          <a:pt x="21" y="5"/>
                        </a:cubicBezTo>
                        <a:cubicBezTo>
                          <a:pt x="21" y="5"/>
                          <a:pt x="32" y="0"/>
                          <a:pt x="35" y="2"/>
                        </a:cubicBezTo>
                        <a:cubicBezTo>
                          <a:pt x="38" y="3"/>
                          <a:pt x="40" y="6"/>
                          <a:pt x="40" y="6"/>
                        </a:cubicBezTo>
                        <a:cubicBezTo>
                          <a:pt x="68" y="21"/>
                          <a:pt x="68" y="21"/>
                          <a:pt x="68" y="21"/>
                        </a:cubicBezTo>
                        <a:lnTo>
                          <a:pt x="71" y="4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" name="Freeform 281">
                    <a:extLst>
                      <a:ext uri="{FF2B5EF4-FFF2-40B4-BE49-F238E27FC236}">
                        <a16:creationId xmlns:a16="http://schemas.microsoft.com/office/drawing/2014/main" id="{6BF52682-2A15-B85A-05D1-9E0127EDE5D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978651" y="4955382"/>
                    <a:ext cx="785813" cy="319088"/>
                  </a:xfrm>
                  <a:custGeom>
                    <a:avLst/>
                    <a:gdLst>
                      <a:gd name="T0" fmla="*/ 400 w 400"/>
                      <a:gd name="T1" fmla="*/ 96 h 163"/>
                      <a:gd name="T2" fmla="*/ 199 w 400"/>
                      <a:gd name="T3" fmla="*/ 146 h 163"/>
                      <a:gd name="T4" fmla="*/ 21 w 400"/>
                      <a:gd name="T5" fmla="*/ 163 h 163"/>
                      <a:gd name="T6" fmla="*/ 0 w 400"/>
                      <a:gd name="T7" fmla="*/ 142 h 163"/>
                      <a:gd name="T8" fmla="*/ 188 w 400"/>
                      <a:gd name="T9" fmla="*/ 100 h 163"/>
                      <a:gd name="T10" fmla="*/ 342 w 400"/>
                      <a:gd name="T11" fmla="*/ 0 h 163"/>
                      <a:gd name="T12" fmla="*/ 400 w 400"/>
                      <a:gd name="T13" fmla="*/ 96 h 1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00" h="163">
                        <a:moveTo>
                          <a:pt x="400" y="96"/>
                        </a:moveTo>
                        <a:cubicBezTo>
                          <a:pt x="400" y="96"/>
                          <a:pt x="268" y="137"/>
                          <a:pt x="199" y="146"/>
                        </a:cubicBezTo>
                        <a:cubicBezTo>
                          <a:pt x="130" y="154"/>
                          <a:pt x="21" y="163"/>
                          <a:pt x="21" y="163"/>
                        </a:cubicBezTo>
                        <a:cubicBezTo>
                          <a:pt x="21" y="163"/>
                          <a:pt x="0" y="151"/>
                          <a:pt x="0" y="142"/>
                        </a:cubicBezTo>
                        <a:cubicBezTo>
                          <a:pt x="59" y="127"/>
                          <a:pt x="141" y="104"/>
                          <a:pt x="188" y="100"/>
                        </a:cubicBezTo>
                        <a:cubicBezTo>
                          <a:pt x="246" y="73"/>
                          <a:pt x="342" y="0"/>
                          <a:pt x="342" y="0"/>
                        </a:cubicBezTo>
                        <a:lnTo>
                          <a:pt x="400" y="96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" name="Freeform 282">
                    <a:extLst>
                      <a:ext uri="{FF2B5EF4-FFF2-40B4-BE49-F238E27FC236}">
                        <a16:creationId xmlns:a16="http://schemas.microsoft.com/office/drawing/2014/main" id="{599A015E-9044-1F8E-521C-FD8D641B89C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135938" y="5620545"/>
                    <a:ext cx="774700" cy="719138"/>
                  </a:xfrm>
                  <a:custGeom>
                    <a:avLst/>
                    <a:gdLst>
                      <a:gd name="T0" fmla="*/ 17 w 394"/>
                      <a:gd name="T1" fmla="*/ 40 h 367"/>
                      <a:gd name="T2" fmla="*/ 146 w 394"/>
                      <a:gd name="T3" fmla="*/ 44 h 367"/>
                      <a:gd name="T4" fmla="*/ 173 w 394"/>
                      <a:gd name="T5" fmla="*/ 241 h 367"/>
                      <a:gd name="T6" fmla="*/ 349 w 394"/>
                      <a:gd name="T7" fmla="*/ 73 h 367"/>
                      <a:gd name="T8" fmla="*/ 391 w 394"/>
                      <a:gd name="T9" fmla="*/ 85 h 367"/>
                      <a:gd name="T10" fmla="*/ 206 w 394"/>
                      <a:gd name="T11" fmla="*/ 317 h 367"/>
                      <a:gd name="T12" fmla="*/ 106 w 394"/>
                      <a:gd name="T13" fmla="*/ 306 h 367"/>
                      <a:gd name="T14" fmla="*/ 0 w 394"/>
                      <a:gd name="T15" fmla="*/ 104 h 367"/>
                      <a:gd name="T16" fmla="*/ 17 w 394"/>
                      <a:gd name="T17" fmla="*/ 40 h 3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394" h="367">
                        <a:moveTo>
                          <a:pt x="17" y="40"/>
                        </a:moveTo>
                        <a:cubicBezTo>
                          <a:pt x="17" y="40"/>
                          <a:pt x="130" y="0"/>
                          <a:pt x="146" y="44"/>
                        </a:cubicBezTo>
                        <a:cubicBezTo>
                          <a:pt x="163" y="91"/>
                          <a:pt x="172" y="182"/>
                          <a:pt x="173" y="241"/>
                        </a:cubicBezTo>
                        <a:cubicBezTo>
                          <a:pt x="349" y="73"/>
                          <a:pt x="349" y="73"/>
                          <a:pt x="349" y="73"/>
                        </a:cubicBezTo>
                        <a:cubicBezTo>
                          <a:pt x="349" y="73"/>
                          <a:pt x="394" y="80"/>
                          <a:pt x="391" y="85"/>
                        </a:cubicBezTo>
                        <a:cubicBezTo>
                          <a:pt x="342" y="150"/>
                          <a:pt x="218" y="300"/>
                          <a:pt x="206" y="317"/>
                        </a:cubicBezTo>
                        <a:cubicBezTo>
                          <a:pt x="191" y="337"/>
                          <a:pt x="140" y="367"/>
                          <a:pt x="106" y="306"/>
                        </a:cubicBezTo>
                        <a:cubicBezTo>
                          <a:pt x="72" y="246"/>
                          <a:pt x="20" y="143"/>
                          <a:pt x="0" y="104"/>
                        </a:cubicBezTo>
                        <a:cubicBezTo>
                          <a:pt x="151" y="97"/>
                          <a:pt x="17" y="40"/>
                          <a:pt x="17" y="4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" name="Freeform 283">
                    <a:extLst>
                      <a:ext uri="{FF2B5EF4-FFF2-40B4-BE49-F238E27FC236}">
                        <a16:creationId xmlns:a16="http://schemas.microsoft.com/office/drawing/2014/main" id="{5FA18A4F-5247-20D5-A8A0-812A48AF831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6813" y="4979195"/>
                    <a:ext cx="476250" cy="577850"/>
                  </a:xfrm>
                  <a:custGeom>
                    <a:avLst/>
                    <a:gdLst>
                      <a:gd name="T0" fmla="*/ 242 w 242"/>
                      <a:gd name="T1" fmla="*/ 295 h 295"/>
                      <a:gd name="T2" fmla="*/ 171 w 242"/>
                      <a:gd name="T3" fmla="*/ 242 h 295"/>
                      <a:gd name="T4" fmla="*/ 64 w 242"/>
                      <a:gd name="T5" fmla="*/ 159 h 295"/>
                      <a:gd name="T6" fmla="*/ 35 w 242"/>
                      <a:gd name="T7" fmla="*/ 0 h 295"/>
                      <a:gd name="T8" fmla="*/ 242 w 242"/>
                      <a:gd name="T9" fmla="*/ 295 h 2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2" h="295">
                        <a:moveTo>
                          <a:pt x="242" y="295"/>
                        </a:moveTo>
                        <a:cubicBezTo>
                          <a:pt x="242" y="295"/>
                          <a:pt x="196" y="254"/>
                          <a:pt x="171" y="242"/>
                        </a:cubicBezTo>
                        <a:cubicBezTo>
                          <a:pt x="130" y="221"/>
                          <a:pt x="93" y="197"/>
                          <a:pt x="64" y="159"/>
                        </a:cubicBezTo>
                        <a:cubicBezTo>
                          <a:pt x="0" y="74"/>
                          <a:pt x="35" y="0"/>
                          <a:pt x="35" y="0"/>
                        </a:cubicBezTo>
                        <a:cubicBezTo>
                          <a:pt x="242" y="295"/>
                          <a:pt x="242" y="295"/>
                          <a:pt x="242" y="295"/>
                        </a:cubicBezTo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2" name="Freeform 284">
                    <a:extLst>
                      <a:ext uri="{FF2B5EF4-FFF2-40B4-BE49-F238E27FC236}">
                        <a16:creationId xmlns:a16="http://schemas.microsoft.com/office/drawing/2014/main" id="{E860F700-CBA0-6D6B-C0C4-AC0960E1BA4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66026" y="4920457"/>
                    <a:ext cx="841375" cy="669925"/>
                  </a:xfrm>
                  <a:custGeom>
                    <a:avLst/>
                    <a:gdLst>
                      <a:gd name="T0" fmla="*/ 231 w 428"/>
                      <a:gd name="T1" fmla="*/ 342 h 342"/>
                      <a:gd name="T2" fmla="*/ 52 w 428"/>
                      <a:gd name="T3" fmla="*/ 161 h 342"/>
                      <a:gd name="T4" fmla="*/ 7 w 428"/>
                      <a:gd name="T5" fmla="*/ 36 h 342"/>
                      <a:gd name="T6" fmla="*/ 46 w 428"/>
                      <a:gd name="T7" fmla="*/ 0 h 342"/>
                      <a:gd name="T8" fmla="*/ 238 w 428"/>
                      <a:gd name="T9" fmla="*/ 76 h 342"/>
                      <a:gd name="T10" fmla="*/ 428 w 428"/>
                      <a:gd name="T11" fmla="*/ 295 h 342"/>
                      <a:gd name="T12" fmla="*/ 231 w 428"/>
                      <a:gd name="T13" fmla="*/ 342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28" h="342">
                        <a:moveTo>
                          <a:pt x="231" y="342"/>
                        </a:moveTo>
                        <a:cubicBezTo>
                          <a:pt x="231" y="342"/>
                          <a:pt x="137" y="240"/>
                          <a:pt x="52" y="161"/>
                        </a:cubicBezTo>
                        <a:cubicBezTo>
                          <a:pt x="0" y="114"/>
                          <a:pt x="7" y="36"/>
                          <a:pt x="7" y="36"/>
                        </a:cubicBezTo>
                        <a:cubicBezTo>
                          <a:pt x="7" y="36"/>
                          <a:pt x="26" y="6"/>
                          <a:pt x="46" y="0"/>
                        </a:cubicBezTo>
                        <a:cubicBezTo>
                          <a:pt x="83" y="5"/>
                          <a:pt x="171" y="13"/>
                          <a:pt x="238" y="76"/>
                        </a:cubicBezTo>
                        <a:cubicBezTo>
                          <a:pt x="333" y="166"/>
                          <a:pt x="428" y="295"/>
                          <a:pt x="428" y="295"/>
                        </a:cubicBezTo>
                        <a:cubicBezTo>
                          <a:pt x="231" y="342"/>
                          <a:pt x="231" y="342"/>
                          <a:pt x="231" y="342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3" name="Freeform 285">
                    <a:extLst>
                      <a:ext uri="{FF2B5EF4-FFF2-40B4-BE49-F238E27FC236}">
                        <a16:creationId xmlns:a16="http://schemas.microsoft.com/office/drawing/2014/main" id="{BE581FC3-B236-8DBA-0E69-7734FD6EEBD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704138" y="5168107"/>
                    <a:ext cx="355600" cy="409575"/>
                  </a:xfrm>
                  <a:custGeom>
                    <a:avLst/>
                    <a:gdLst>
                      <a:gd name="T0" fmla="*/ 0 w 181"/>
                      <a:gd name="T1" fmla="*/ 0 h 208"/>
                      <a:gd name="T2" fmla="*/ 88 w 181"/>
                      <a:gd name="T3" fmla="*/ 99 h 208"/>
                      <a:gd name="T4" fmla="*/ 164 w 181"/>
                      <a:gd name="T5" fmla="*/ 205 h 208"/>
                      <a:gd name="T6" fmla="*/ 181 w 181"/>
                      <a:gd name="T7" fmla="*/ 208 h 208"/>
                      <a:gd name="T8" fmla="*/ 88 w 181"/>
                      <a:gd name="T9" fmla="*/ 91 h 208"/>
                      <a:gd name="T10" fmla="*/ 0 w 181"/>
                      <a:gd name="T11" fmla="*/ 0 h 2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81" h="208">
                        <a:moveTo>
                          <a:pt x="0" y="0"/>
                        </a:moveTo>
                        <a:cubicBezTo>
                          <a:pt x="0" y="0"/>
                          <a:pt x="35" y="72"/>
                          <a:pt x="88" y="99"/>
                        </a:cubicBezTo>
                        <a:cubicBezTo>
                          <a:pt x="137" y="123"/>
                          <a:pt x="164" y="205"/>
                          <a:pt x="164" y="205"/>
                        </a:cubicBezTo>
                        <a:cubicBezTo>
                          <a:pt x="181" y="208"/>
                          <a:pt x="181" y="208"/>
                          <a:pt x="181" y="208"/>
                        </a:cubicBezTo>
                        <a:cubicBezTo>
                          <a:pt x="181" y="208"/>
                          <a:pt x="140" y="131"/>
                          <a:pt x="88" y="91"/>
                        </a:cubicBezTo>
                        <a:cubicBezTo>
                          <a:pt x="36" y="5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A0C9DC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4" name="Freeform 286">
                    <a:extLst>
                      <a:ext uri="{FF2B5EF4-FFF2-40B4-BE49-F238E27FC236}">
                        <a16:creationId xmlns:a16="http://schemas.microsoft.com/office/drawing/2014/main" id="{17A9F91E-0F82-36C1-1330-6CDABE4B3C5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602538" y="4922045"/>
                    <a:ext cx="82550" cy="117475"/>
                  </a:xfrm>
                  <a:custGeom>
                    <a:avLst/>
                    <a:gdLst>
                      <a:gd name="T0" fmla="*/ 36 w 42"/>
                      <a:gd name="T1" fmla="*/ 0 h 60"/>
                      <a:gd name="T2" fmla="*/ 42 w 42"/>
                      <a:gd name="T3" fmla="*/ 4 h 60"/>
                      <a:gd name="T4" fmla="*/ 36 w 42"/>
                      <a:gd name="T5" fmla="*/ 52 h 60"/>
                      <a:gd name="T6" fmla="*/ 0 w 42"/>
                      <a:gd name="T7" fmla="*/ 47 h 60"/>
                      <a:gd name="T8" fmla="*/ 36 w 42"/>
                      <a:gd name="T9" fmla="*/ 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2" h="60">
                        <a:moveTo>
                          <a:pt x="36" y="0"/>
                        </a:moveTo>
                        <a:cubicBezTo>
                          <a:pt x="42" y="4"/>
                          <a:pt x="42" y="4"/>
                          <a:pt x="42" y="4"/>
                        </a:cubicBezTo>
                        <a:cubicBezTo>
                          <a:pt x="36" y="52"/>
                          <a:pt x="36" y="52"/>
                          <a:pt x="36" y="52"/>
                        </a:cubicBezTo>
                        <a:cubicBezTo>
                          <a:pt x="36" y="52"/>
                          <a:pt x="23" y="60"/>
                          <a:pt x="0" y="47"/>
                        </a:cubicBezTo>
                        <a:cubicBezTo>
                          <a:pt x="21" y="35"/>
                          <a:pt x="36" y="0"/>
                          <a:pt x="36" y="0"/>
                        </a:cubicBezTo>
                        <a:close/>
                      </a:path>
                    </a:pathLst>
                  </a:custGeom>
                  <a:solidFill>
                    <a:srgbClr val="1D99B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5" name="Freeform 287">
                    <a:extLst>
                      <a:ext uri="{FF2B5EF4-FFF2-40B4-BE49-F238E27FC236}">
                        <a16:creationId xmlns:a16="http://schemas.microsoft.com/office/drawing/2014/main" id="{9C75BAF5-7D8C-77F3-B4B3-E2ED7F2EA6E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89838" y="5015707"/>
                    <a:ext cx="503238" cy="488950"/>
                  </a:xfrm>
                  <a:custGeom>
                    <a:avLst/>
                    <a:gdLst>
                      <a:gd name="T0" fmla="*/ 6 w 256"/>
                      <a:gd name="T1" fmla="*/ 0 h 249"/>
                      <a:gd name="T2" fmla="*/ 0 w 256"/>
                      <a:gd name="T3" fmla="*/ 10 h 249"/>
                      <a:gd name="T4" fmla="*/ 10 w 256"/>
                      <a:gd name="T5" fmla="*/ 24 h 249"/>
                      <a:gd name="T6" fmla="*/ 37 w 256"/>
                      <a:gd name="T7" fmla="*/ 123 h 249"/>
                      <a:gd name="T8" fmla="*/ 222 w 256"/>
                      <a:gd name="T9" fmla="*/ 249 h 249"/>
                      <a:gd name="T10" fmla="*/ 256 w 256"/>
                      <a:gd name="T11" fmla="*/ 231 h 249"/>
                      <a:gd name="T12" fmla="*/ 235 w 256"/>
                      <a:gd name="T13" fmla="*/ 193 h 249"/>
                      <a:gd name="T14" fmla="*/ 56 w 256"/>
                      <a:gd name="T15" fmla="*/ 106 h 249"/>
                      <a:gd name="T16" fmla="*/ 18 w 256"/>
                      <a:gd name="T17" fmla="*/ 21 h 249"/>
                      <a:gd name="T18" fmla="*/ 27 w 256"/>
                      <a:gd name="T19" fmla="*/ 6 h 249"/>
                      <a:gd name="T20" fmla="*/ 6 w 256"/>
                      <a:gd name="T21" fmla="*/ 0 h 2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56" h="249">
                        <a:moveTo>
                          <a:pt x="6" y="0"/>
                        </a:moveTo>
                        <a:cubicBezTo>
                          <a:pt x="6" y="0"/>
                          <a:pt x="2" y="4"/>
                          <a:pt x="0" y="10"/>
                        </a:cubicBezTo>
                        <a:cubicBezTo>
                          <a:pt x="3" y="16"/>
                          <a:pt x="10" y="24"/>
                          <a:pt x="10" y="24"/>
                        </a:cubicBezTo>
                        <a:cubicBezTo>
                          <a:pt x="10" y="24"/>
                          <a:pt x="6" y="73"/>
                          <a:pt x="37" y="123"/>
                        </a:cubicBezTo>
                        <a:cubicBezTo>
                          <a:pt x="84" y="200"/>
                          <a:pt x="222" y="249"/>
                          <a:pt x="222" y="249"/>
                        </a:cubicBezTo>
                        <a:cubicBezTo>
                          <a:pt x="256" y="231"/>
                          <a:pt x="256" y="231"/>
                          <a:pt x="256" y="231"/>
                        </a:cubicBezTo>
                        <a:cubicBezTo>
                          <a:pt x="235" y="193"/>
                          <a:pt x="235" y="193"/>
                          <a:pt x="235" y="193"/>
                        </a:cubicBezTo>
                        <a:cubicBezTo>
                          <a:pt x="235" y="193"/>
                          <a:pt x="111" y="175"/>
                          <a:pt x="56" y="106"/>
                        </a:cubicBezTo>
                        <a:cubicBezTo>
                          <a:pt x="18" y="58"/>
                          <a:pt x="18" y="21"/>
                          <a:pt x="18" y="21"/>
                        </a:cubicBezTo>
                        <a:cubicBezTo>
                          <a:pt x="18" y="21"/>
                          <a:pt x="24" y="13"/>
                          <a:pt x="27" y="6"/>
                        </a:cubicBezTo>
                        <a:cubicBezTo>
                          <a:pt x="15" y="5"/>
                          <a:pt x="6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6" name="Freeform 288">
                    <a:extLst>
                      <a:ext uri="{FF2B5EF4-FFF2-40B4-BE49-F238E27FC236}">
                        <a16:creationId xmlns:a16="http://schemas.microsoft.com/office/drawing/2014/main" id="{C806C77F-95F5-9641-3C7D-0D9875EA7BD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67601" y="4853782"/>
                    <a:ext cx="206375" cy="160338"/>
                  </a:xfrm>
                  <a:custGeom>
                    <a:avLst/>
                    <a:gdLst>
                      <a:gd name="T0" fmla="*/ 105 w 105"/>
                      <a:gd name="T1" fmla="*/ 35 h 82"/>
                      <a:gd name="T2" fmla="*/ 93 w 105"/>
                      <a:gd name="T3" fmla="*/ 22 h 82"/>
                      <a:gd name="T4" fmla="*/ 67 w 105"/>
                      <a:gd name="T5" fmla="*/ 0 h 82"/>
                      <a:gd name="T6" fmla="*/ 54 w 105"/>
                      <a:gd name="T7" fmla="*/ 34 h 82"/>
                      <a:gd name="T8" fmla="*/ 34 w 105"/>
                      <a:gd name="T9" fmla="*/ 55 h 82"/>
                      <a:gd name="T10" fmla="*/ 0 w 105"/>
                      <a:gd name="T11" fmla="*/ 56 h 82"/>
                      <a:gd name="T12" fmla="*/ 69 w 105"/>
                      <a:gd name="T13" fmla="*/ 82 h 82"/>
                      <a:gd name="T14" fmla="*/ 105 w 105"/>
                      <a:gd name="T15" fmla="*/ 35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5" h="82">
                        <a:moveTo>
                          <a:pt x="105" y="35"/>
                        </a:moveTo>
                        <a:cubicBezTo>
                          <a:pt x="99" y="32"/>
                          <a:pt x="93" y="22"/>
                          <a:pt x="93" y="22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67" y="0"/>
                          <a:pt x="57" y="21"/>
                          <a:pt x="54" y="34"/>
                        </a:cubicBezTo>
                        <a:cubicBezTo>
                          <a:pt x="52" y="46"/>
                          <a:pt x="39" y="54"/>
                          <a:pt x="34" y="55"/>
                        </a:cubicBezTo>
                        <a:cubicBezTo>
                          <a:pt x="22" y="56"/>
                          <a:pt x="0" y="56"/>
                          <a:pt x="0" y="56"/>
                        </a:cubicBezTo>
                        <a:cubicBezTo>
                          <a:pt x="0" y="56"/>
                          <a:pt x="50" y="69"/>
                          <a:pt x="69" y="82"/>
                        </a:cubicBezTo>
                        <a:cubicBezTo>
                          <a:pt x="91" y="67"/>
                          <a:pt x="101" y="42"/>
                          <a:pt x="105" y="35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7" name="Freeform 289">
                    <a:extLst>
                      <a:ext uri="{FF2B5EF4-FFF2-40B4-BE49-F238E27FC236}">
                        <a16:creationId xmlns:a16="http://schemas.microsoft.com/office/drawing/2014/main" id="{3F782550-A406-80F0-9398-84E9EA1ADCF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50138" y="4755357"/>
                    <a:ext cx="163513" cy="207963"/>
                  </a:xfrm>
                  <a:custGeom>
                    <a:avLst/>
                    <a:gdLst>
                      <a:gd name="T0" fmla="*/ 9 w 83"/>
                      <a:gd name="T1" fmla="*/ 106 h 106"/>
                      <a:gd name="T2" fmla="*/ 47 w 83"/>
                      <a:gd name="T3" fmla="*/ 105 h 106"/>
                      <a:gd name="T4" fmla="*/ 62 w 83"/>
                      <a:gd name="T5" fmla="*/ 91 h 106"/>
                      <a:gd name="T6" fmla="*/ 69 w 83"/>
                      <a:gd name="T7" fmla="*/ 69 h 106"/>
                      <a:gd name="T8" fmla="*/ 78 w 83"/>
                      <a:gd name="T9" fmla="*/ 62 h 106"/>
                      <a:gd name="T10" fmla="*/ 73 w 83"/>
                      <a:gd name="T11" fmla="*/ 48 h 106"/>
                      <a:gd name="T12" fmla="*/ 70 w 83"/>
                      <a:gd name="T13" fmla="*/ 6 h 106"/>
                      <a:gd name="T14" fmla="*/ 50 w 83"/>
                      <a:gd name="T15" fmla="*/ 0 h 106"/>
                      <a:gd name="T16" fmla="*/ 32 w 83"/>
                      <a:gd name="T17" fmla="*/ 10 h 106"/>
                      <a:gd name="T18" fmla="*/ 0 w 83"/>
                      <a:gd name="T19" fmla="*/ 60 h 106"/>
                      <a:gd name="T20" fmla="*/ 4 w 83"/>
                      <a:gd name="T21" fmla="*/ 63 h 106"/>
                      <a:gd name="T22" fmla="*/ 12 w 83"/>
                      <a:gd name="T23" fmla="*/ 65 h 106"/>
                      <a:gd name="T24" fmla="*/ 8 w 83"/>
                      <a:gd name="T25" fmla="*/ 105 h 106"/>
                      <a:gd name="T26" fmla="*/ 9 w 83"/>
                      <a:gd name="T27" fmla="*/ 106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83" h="106">
                        <a:moveTo>
                          <a:pt x="9" y="106"/>
                        </a:moveTo>
                        <a:cubicBezTo>
                          <a:pt x="19" y="106"/>
                          <a:pt x="38" y="106"/>
                          <a:pt x="47" y="105"/>
                        </a:cubicBezTo>
                        <a:cubicBezTo>
                          <a:pt x="60" y="104"/>
                          <a:pt x="62" y="91"/>
                          <a:pt x="62" y="91"/>
                        </a:cubicBezTo>
                        <a:cubicBezTo>
                          <a:pt x="69" y="69"/>
                          <a:pt x="69" y="69"/>
                          <a:pt x="69" y="69"/>
                        </a:cubicBezTo>
                        <a:cubicBezTo>
                          <a:pt x="69" y="69"/>
                          <a:pt x="74" y="67"/>
                          <a:pt x="78" y="62"/>
                        </a:cubicBezTo>
                        <a:cubicBezTo>
                          <a:pt x="80" y="60"/>
                          <a:pt x="83" y="52"/>
                          <a:pt x="73" y="48"/>
                        </a:cubicBezTo>
                        <a:cubicBezTo>
                          <a:pt x="58" y="42"/>
                          <a:pt x="70" y="6"/>
                          <a:pt x="70" y="6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0" y="60"/>
                          <a:pt x="0" y="63"/>
                          <a:pt x="4" y="63"/>
                        </a:cubicBezTo>
                        <a:cubicBezTo>
                          <a:pt x="7" y="63"/>
                          <a:pt x="12" y="65"/>
                          <a:pt x="12" y="65"/>
                        </a:cubicBezTo>
                        <a:cubicBezTo>
                          <a:pt x="12" y="65"/>
                          <a:pt x="8" y="102"/>
                          <a:pt x="8" y="105"/>
                        </a:cubicBezTo>
                        <a:cubicBezTo>
                          <a:pt x="8" y="106"/>
                          <a:pt x="9" y="106"/>
                          <a:pt x="9" y="106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8" name="Freeform 290">
                    <a:extLst>
                      <a:ext uri="{FF2B5EF4-FFF2-40B4-BE49-F238E27FC236}">
                        <a16:creationId xmlns:a16="http://schemas.microsoft.com/office/drawing/2014/main" id="{5D0BE2C0-F56A-56B2-1194-211FA07251D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91413" y="4823620"/>
                    <a:ext cx="33338" cy="17463"/>
                  </a:xfrm>
                  <a:custGeom>
                    <a:avLst/>
                    <a:gdLst>
                      <a:gd name="T0" fmla="*/ 1 w 17"/>
                      <a:gd name="T1" fmla="*/ 6 h 9"/>
                      <a:gd name="T2" fmla="*/ 4 w 17"/>
                      <a:gd name="T3" fmla="*/ 9 h 9"/>
                      <a:gd name="T4" fmla="*/ 15 w 17"/>
                      <a:gd name="T5" fmla="*/ 8 h 9"/>
                      <a:gd name="T6" fmla="*/ 2 w 17"/>
                      <a:gd name="T7" fmla="*/ 2 h 9"/>
                      <a:gd name="T8" fmla="*/ 1 w 17"/>
                      <a:gd name="T9" fmla="*/ 6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7" h="9">
                        <a:moveTo>
                          <a:pt x="1" y="6"/>
                        </a:moveTo>
                        <a:cubicBezTo>
                          <a:pt x="1" y="9"/>
                          <a:pt x="1" y="9"/>
                          <a:pt x="4" y="9"/>
                        </a:cubicBezTo>
                        <a:cubicBezTo>
                          <a:pt x="7" y="9"/>
                          <a:pt x="17" y="9"/>
                          <a:pt x="15" y="8"/>
                        </a:cubicBezTo>
                        <a:cubicBezTo>
                          <a:pt x="14" y="8"/>
                          <a:pt x="10" y="6"/>
                          <a:pt x="2" y="2"/>
                        </a:cubicBezTo>
                        <a:cubicBezTo>
                          <a:pt x="0" y="0"/>
                          <a:pt x="1" y="3"/>
                          <a:pt x="1" y="6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" name="Freeform 291">
                    <a:extLst>
                      <a:ext uri="{FF2B5EF4-FFF2-40B4-BE49-F238E27FC236}">
                        <a16:creationId xmlns:a16="http://schemas.microsoft.com/office/drawing/2014/main" id="{3181EC3D-AC47-C5DE-DC5F-98C2FB2E18D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07288" y="4723607"/>
                    <a:ext cx="157163" cy="173038"/>
                  </a:xfrm>
                  <a:custGeom>
                    <a:avLst/>
                    <a:gdLst>
                      <a:gd name="T0" fmla="*/ 76 w 80"/>
                      <a:gd name="T1" fmla="*/ 31 h 88"/>
                      <a:gd name="T2" fmla="*/ 1 w 80"/>
                      <a:gd name="T3" fmla="*/ 14 h 88"/>
                      <a:gd name="T4" fmla="*/ 3 w 80"/>
                      <a:gd name="T5" fmla="*/ 26 h 88"/>
                      <a:gd name="T6" fmla="*/ 31 w 80"/>
                      <a:gd name="T7" fmla="*/ 35 h 88"/>
                      <a:gd name="T8" fmla="*/ 27 w 80"/>
                      <a:gd name="T9" fmla="*/ 78 h 88"/>
                      <a:gd name="T10" fmla="*/ 47 w 80"/>
                      <a:gd name="T11" fmla="*/ 66 h 88"/>
                      <a:gd name="T12" fmla="*/ 74 w 80"/>
                      <a:gd name="T13" fmla="*/ 88 h 88"/>
                      <a:gd name="T14" fmla="*/ 76 w 80"/>
                      <a:gd name="T15" fmla="*/ 31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0" h="88">
                        <a:moveTo>
                          <a:pt x="76" y="31"/>
                        </a:moveTo>
                        <a:cubicBezTo>
                          <a:pt x="26" y="2"/>
                          <a:pt x="6" y="0"/>
                          <a:pt x="1" y="14"/>
                        </a:cubicBezTo>
                        <a:cubicBezTo>
                          <a:pt x="0" y="17"/>
                          <a:pt x="0" y="22"/>
                          <a:pt x="3" y="26"/>
                        </a:cubicBezTo>
                        <a:cubicBezTo>
                          <a:pt x="19" y="24"/>
                          <a:pt x="35" y="24"/>
                          <a:pt x="31" y="35"/>
                        </a:cubicBezTo>
                        <a:cubicBezTo>
                          <a:pt x="30" y="39"/>
                          <a:pt x="13" y="76"/>
                          <a:pt x="27" y="78"/>
                        </a:cubicBezTo>
                        <a:cubicBezTo>
                          <a:pt x="30" y="73"/>
                          <a:pt x="37" y="60"/>
                          <a:pt x="47" y="66"/>
                        </a:cubicBezTo>
                        <a:cubicBezTo>
                          <a:pt x="53" y="69"/>
                          <a:pt x="47" y="83"/>
                          <a:pt x="74" y="88"/>
                        </a:cubicBezTo>
                        <a:cubicBezTo>
                          <a:pt x="76" y="66"/>
                          <a:pt x="80" y="39"/>
                          <a:pt x="76" y="31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" name="Freeform 292">
                    <a:extLst>
                      <a:ext uri="{FF2B5EF4-FFF2-40B4-BE49-F238E27FC236}">
                        <a16:creationId xmlns:a16="http://schemas.microsoft.com/office/drawing/2014/main" id="{5F14320F-DDDD-3BE0-F871-5336B09828A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215188" y="4896645"/>
                    <a:ext cx="711200" cy="517525"/>
                  </a:xfrm>
                  <a:custGeom>
                    <a:avLst/>
                    <a:gdLst>
                      <a:gd name="T0" fmla="*/ 339 w 362"/>
                      <a:gd name="T1" fmla="*/ 123 h 264"/>
                      <a:gd name="T2" fmla="*/ 256 w 362"/>
                      <a:gd name="T3" fmla="*/ 236 h 264"/>
                      <a:gd name="T4" fmla="*/ 191 w 362"/>
                      <a:gd name="T5" fmla="*/ 262 h 264"/>
                      <a:gd name="T6" fmla="*/ 3 w 362"/>
                      <a:gd name="T7" fmla="*/ 259 h 264"/>
                      <a:gd name="T8" fmla="*/ 0 w 362"/>
                      <a:gd name="T9" fmla="*/ 236 h 264"/>
                      <a:gd name="T10" fmla="*/ 200 w 362"/>
                      <a:gd name="T11" fmla="*/ 220 h 264"/>
                      <a:gd name="T12" fmla="*/ 268 w 362"/>
                      <a:gd name="T13" fmla="*/ 58 h 264"/>
                      <a:gd name="T14" fmla="*/ 339 w 362"/>
                      <a:gd name="T15" fmla="*/ 123 h 2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62" h="264">
                        <a:moveTo>
                          <a:pt x="339" y="123"/>
                        </a:moveTo>
                        <a:cubicBezTo>
                          <a:pt x="316" y="156"/>
                          <a:pt x="262" y="228"/>
                          <a:pt x="256" y="236"/>
                        </a:cubicBezTo>
                        <a:cubicBezTo>
                          <a:pt x="249" y="243"/>
                          <a:pt x="241" y="262"/>
                          <a:pt x="191" y="262"/>
                        </a:cubicBezTo>
                        <a:cubicBezTo>
                          <a:pt x="126" y="264"/>
                          <a:pt x="3" y="259"/>
                          <a:pt x="3" y="259"/>
                        </a:cubicBezTo>
                        <a:cubicBezTo>
                          <a:pt x="3" y="259"/>
                          <a:pt x="1" y="247"/>
                          <a:pt x="0" y="236"/>
                        </a:cubicBezTo>
                        <a:cubicBezTo>
                          <a:pt x="71" y="229"/>
                          <a:pt x="200" y="220"/>
                          <a:pt x="200" y="220"/>
                        </a:cubicBezTo>
                        <a:cubicBezTo>
                          <a:pt x="200" y="220"/>
                          <a:pt x="250" y="92"/>
                          <a:pt x="268" y="58"/>
                        </a:cubicBezTo>
                        <a:cubicBezTo>
                          <a:pt x="315" y="0"/>
                          <a:pt x="362" y="89"/>
                          <a:pt x="339" y="123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" name="Freeform 293">
                    <a:extLst>
                      <a:ext uri="{FF2B5EF4-FFF2-40B4-BE49-F238E27FC236}">
                        <a16:creationId xmlns:a16="http://schemas.microsoft.com/office/drawing/2014/main" id="{BC27E250-62B8-13C2-7995-2DA7090789E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26326" y="6409532"/>
                    <a:ext cx="142875" cy="50800"/>
                  </a:xfrm>
                  <a:custGeom>
                    <a:avLst/>
                    <a:gdLst>
                      <a:gd name="T0" fmla="*/ 72 w 72"/>
                      <a:gd name="T1" fmla="*/ 4 h 26"/>
                      <a:gd name="T2" fmla="*/ 72 w 72"/>
                      <a:gd name="T3" fmla="*/ 26 h 26"/>
                      <a:gd name="T4" fmla="*/ 53 w 72"/>
                      <a:gd name="T5" fmla="*/ 26 h 26"/>
                      <a:gd name="T6" fmla="*/ 53 w 72"/>
                      <a:gd name="T7" fmla="*/ 18 h 26"/>
                      <a:gd name="T8" fmla="*/ 27 w 72"/>
                      <a:gd name="T9" fmla="*/ 26 h 26"/>
                      <a:gd name="T10" fmla="*/ 3 w 72"/>
                      <a:gd name="T11" fmla="*/ 25 h 26"/>
                      <a:gd name="T12" fmla="*/ 4 w 72"/>
                      <a:gd name="T13" fmla="*/ 20 h 26"/>
                      <a:gd name="T14" fmla="*/ 29 w 72"/>
                      <a:gd name="T15" fmla="*/ 13 h 26"/>
                      <a:gd name="T16" fmla="*/ 48 w 72"/>
                      <a:gd name="T17" fmla="*/ 0 h 26"/>
                      <a:gd name="T18" fmla="*/ 72 w 72"/>
                      <a:gd name="T19" fmla="*/ 4 h 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2" h="26">
                        <a:moveTo>
                          <a:pt x="72" y="4"/>
                        </a:moveTo>
                        <a:cubicBezTo>
                          <a:pt x="72" y="26"/>
                          <a:pt x="72" y="26"/>
                          <a:pt x="72" y="26"/>
                        </a:cubicBez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18"/>
                          <a:pt x="53" y="18"/>
                          <a:pt x="53" y="18"/>
                        </a:cubicBezTo>
                        <a:cubicBezTo>
                          <a:pt x="27" y="26"/>
                          <a:pt x="27" y="26"/>
                          <a:pt x="27" y="26"/>
                        </a:cubicBezTo>
                        <a:cubicBezTo>
                          <a:pt x="3" y="25"/>
                          <a:pt x="3" y="25"/>
                          <a:pt x="3" y="25"/>
                        </a:cubicBezTo>
                        <a:cubicBezTo>
                          <a:pt x="3" y="25"/>
                          <a:pt x="0" y="21"/>
                          <a:pt x="4" y="20"/>
                        </a:cubicBezTo>
                        <a:cubicBezTo>
                          <a:pt x="5" y="20"/>
                          <a:pt x="29" y="13"/>
                          <a:pt x="29" y="13"/>
                        </a:cubicBezTo>
                        <a:cubicBezTo>
                          <a:pt x="48" y="0"/>
                          <a:pt x="48" y="0"/>
                          <a:pt x="48" y="0"/>
                        </a:cubicBezTo>
                        <a:lnTo>
                          <a:pt x="72" y="4"/>
                        </a:lnTo>
                        <a:close/>
                      </a:path>
                    </a:pathLst>
                  </a:custGeom>
                  <a:solidFill>
                    <a:srgbClr val="17235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Freeform 294">
                    <a:extLst>
                      <a:ext uri="{FF2B5EF4-FFF2-40B4-BE49-F238E27FC236}">
                        <a16:creationId xmlns:a16="http://schemas.microsoft.com/office/drawing/2014/main" id="{B6DF4E24-E3DA-9665-F52C-B0D9C3624EA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2051" y="5498307"/>
                    <a:ext cx="1069975" cy="912813"/>
                  </a:xfrm>
                  <a:custGeom>
                    <a:avLst/>
                    <a:gdLst>
                      <a:gd name="T0" fmla="*/ 4 w 545"/>
                      <a:gd name="T1" fmla="*/ 465 h 465"/>
                      <a:gd name="T2" fmla="*/ 0 w 545"/>
                      <a:gd name="T3" fmla="*/ 147 h 465"/>
                      <a:gd name="T4" fmla="*/ 0 w 545"/>
                      <a:gd name="T5" fmla="*/ 147 h 465"/>
                      <a:gd name="T6" fmla="*/ 51 w 545"/>
                      <a:gd name="T7" fmla="*/ 77 h 465"/>
                      <a:gd name="T8" fmla="*/ 456 w 545"/>
                      <a:gd name="T9" fmla="*/ 0 h 465"/>
                      <a:gd name="T10" fmla="*/ 313 w 545"/>
                      <a:gd name="T11" fmla="*/ 160 h 465"/>
                      <a:gd name="T12" fmla="*/ 83 w 545"/>
                      <a:gd name="T13" fmla="*/ 160 h 465"/>
                      <a:gd name="T14" fmla="*/ 38 w 545"/>
                      <a:gd name="T15" fmla="*/ 463 h 465"/>
                      <a:gd name="T16" fmla="*/ 4 w 545"/>
                      <a:gd name="T17" fmla="*/ 465 h 4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545" h="465">
                        <a:moveTo>
                          <a:pt x="4" y="465"/>
                        </a:move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3" y="93"/>
                          <a:pt x="38" y="80"/>
                          <a:pt x="51" y="77"/>
                        </a:cubicBezTo>
                        <a:cubicBezTo>
                          <a:pt x="64" y="74"/>
                          <a:pt x="456" y="0"/>
                          <a:pt x="456" y="0"/>
                        </a:cubicBezTo>
                        <a:cubicBezTo>
                          <a:pt x="456" y="0"/>
                          <a:pt x="545" y="149"/>
                          <a:pt x="313" y="160"/>
                        </a:cubicBezTo>
                        <a:cubicBezTo>
                          <a:pt x="255" y="163"/>
                          <a:pt x="234" y="154"/>
                          <a:pt x="83" y="160"/>
                        </a:cubicBezTo>
                        <a:cubicBezTo>
                          <a:pt x="113" y="217"/>
                          <a:pt x="38" y="463"/>
                          <a:pt x="38" y="463"/>
                        </a:cubicBezTo>
                        <a:lnTo>
                          <a:pt x="4" y="46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3" name="Group 1028">
                  <a:extLst>
                    <a:ext uri="{FF2B5EF4-FFF2-40B4-BE49-F238E27FC236}">
                      <a16:creationId xmlns:a16="http://schemas.microsoft.com/office/drawing/2014/main" id="{972118A7-AFEC-C7F9-D39F-E35DCA2FE435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683568" y="4089209"/>
                  <a:ext cx="936299" cy="705312"/>
                  <a:chOff x="9990467" y="4838701"/>
                  <a:chExt cx="1203326" cy="906463"/>
                </a:xfrm>
              </p:grpSpPr>
              <p:sp>
                <p:nvSpPr>
                  <p:cNvPr id="17" name="Freeform 277">
                    <a:extLst>
                      <a:ext uri="{FF2B5EF4-FFF2-40B4-BE49-F238E27FC236}">
                        <a16:creationId xmlns:a16="http://schemas.microsoft.com/office/drawing/2014/main" id="{2E3DA771-8D6B-0C7B-AA79-6F9E9240FF6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990467" y="4922838"/>
                    <a:ext cx="176213" cy="80963"/>
                  </a:xfrm>
                  <a:custGeom>
                    <a:avLst/>
                    <a:gdLst>
                      <a:gd name="T0" fmla="*/ 37 w 89"/>
                      <a:gd name="T1" fmla="*/ 27 h 42"/>
                      <a:gd name="T2" fmla="*/ 13 w 89"/>
                      <a:gd name="T3" fmla="*/ 29 h 42"/>
                      <a:gd name="T4" fmla="*/ 17 w 89"/>
                      <a:gd name="T5" fmla="*/ 24 h 42"/>
                      <a:gd name="T6" fmla="*/ 24 w 89"/>
                      <a:gd name="T7" fmla="*/ 21 h 42"/>
                      <a:gd name="T8" fmla="*/ 10 w 89"/>
                      <a:gd name="T9" fmla="*/ 8 h 42"/>
                      <a:gd name="T10" fmla="*/ 6 w 89"/>
                      <a:gd name="T11" fmla="*/ 8 h 42"/>
                      <a:gd name="T12" fmla="*/ 3 w 89"/>
                      <a:gd name="T13" fmla="*/ 5 h 42"/>
                      <a:gd name="T14" fmla="*/ 10 w 89"/>
                      <a:gd name="T15" fmla="*/ 4 h 42"/>
                      <a:gd name="T16" fmla="*/ 2 w 89"/>
                      <a:gd name="T17" fmla="*/ 3 h 42"/>
                      <a:gd name="T18" fmla="*/ 1 w 89"/>
                      <a:gd name="T19" fmla="*/ 0 h 42"/>
                      <a:gd name="T20" fmla="*/ 18 w 89"/>
                      <a:gd name="T21" fmla="*/ 1 h 42"/>
                      <a:gd name="T22" fmla="*/ 37 w 89"/>
                      <a:gd name="T23" fmla="*/ 16 h 42"/>
                      <a:gd name="T24" fmla="*/ 88 w 89"/>
                      <a:gd name="T25" fmla="*/ 24 h 42"/>
                      <a:gd name="T26" fmla="*/ 84 w 89"/>
                      <a:gd name="T27" fmla="*/ 42 h 42"/>
                      <a:gd name="T28" fmla="*/ 37 w 89"/>
                      <a:gd name="T29" fmla="*/ 27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89" h="42">
                        <a:moveTo>
                          <a:pt x="37" y="27"/>
                        </a:moveTo>
                        <a:cubicBezTo>
                          <a:pt x="28" y="27"/>
                          <a:pt x="13" y="29"/>
                          <a:pt x="13" y="29"/>
                        </a:cubicBezTo>
                        <a:cubicBezTo>
                          <a:pt x="13" y="29"/>
                          <a:pt x="14" y="24"/>
                          <a:pt x="17" y="24"/>
                        </a:cubicBezTo>
                        <a:cubicBezTo>
                          <a:pt x="23" y="23"/>
                          <a:pt x="24" y="21"/>
                          <a:pt x="24" y="21"/>
                        </a:cubicBezTo>
                        <a:cubicBezTo>
                          <a:pt x="10" y="8"/>
                          <a:pt x="10" y="8"/>
                          <a:pt x="10" y="8"/>
                        </a:cubicBezTo>
                        <a:cubicBezTo>
                          <a:pt x="6" y="8"/>
                          <a:pt x="6" y="8"/>
                          <a:pt x="6" y="8"/>
                        </a:cubicBezTo>
                        <a:cubicBezTo>
                          <a:pt x="3" y="5"/>
                          <a:pt x="3" y="5"/>
                          <a:pt x="3" y="5"/>
                        </a:cubicBezTo>
                        <a:cubicBezTo>
                          <a:pt x="10" y="4"/>
                          <a:pt x="10" y="4"/>
                          <a:pt x="10" y="4"/>
                        </a:cubicBezTo>
                        <a:cubicBezTo>
                          <a:pt x="10" y="4"/>
                          <a:pt x="3" y="4"/>
                          <a:pt x="2" y="3"/>
                        </a:cubicBezTo>
                        <a:cubicBezTo>
                          <a:pt x="1" y="2"/>
                          <a:pt x="0" y="0"/>
                          <a:pt x="1" y="0"/>
                        </a:cubicBezTo>
                        <a:cubicBezTo>
                          <a:pt x="9" y="0"/>
                          <a:pt x="17" y="0"/>
                          <a:pt x="18" y="1"/>
                        </a:cubicBezTo>
                        <a:cubicBezTo>
                          <a:pt x="20" y="2"/>
                          <a:pt x="37" y="16"/>
                          <a:pt x="37" y="16"/>
                        </a:cubicBezTo>
                        <a:cubicBezTo>
                          <a:pt x="88" y="24"/>
                          <a:pt x="88" y="24"/>
                          <a:pt x="88" y="24"/>
                        </a:cubicBezTo>
                        <a:cubicBezTo>
                          <a:pt x="88" y="24"/>
                          <a:pt x="89" y="34"/>
                          <a:pt x="84" y="42"/>
                        </a:cubicBezTo>
                        <a:cubicBezTo>
                          <a:pt x="84" y="42"/>
                          <a:pt x="37" y="27"/>
                          <a:pt x="37" y="27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" name="Freeform 220">
                    <a:extLst>
                      <a:ext uri="{FF2B5EF4-FFF2-40B4-BE49-F238E27FC236}">
                        <a16:creationId xmlns:a16="http://schemas.microsoft.com/office/drawing/2014/main" id="{04AC9C8A-9763-AEA2-63F4-62FFAD5A0E9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00042" y="4918076"/>
                    <a:ext cx="52388" cy="66675"/>
                  </a:xfrm>
                  <a:custGeom>
                    <a:avLst/>
                    <a:gdLst>
                      <a:gd name="T0" fmla="*/ 18 w 28"/>
                      <a:gd name="T1" fmla="*/ 23 h 36"/>
                      <a:gd name="T2" fmla="*/ 24 w 28"/>
                      <a:gd name="T3" fmla="*/ 33 h 36"/>
                      <a:gd name="T4" fmla="*/ 28 w 28"/>
                      <a:gd name="T5" fmla="*/ 33 h 36"/>
                      <a:gd name="T6" fmla="*/ 26 w 28"/>
                      <a:gd name="T7" fmla="*/ 17 h 36"/>
                      <a:gd name="T8" fmla="*/ 15 w 28"/>
                      <a:gd name="T9" fmla="*/ 7 h 36"/>
                      <a:gd name="T10" fmla="*/ 25 w 28"/>
                      <a:gd name="T11" fmla="*/ 6 h 36"/>
                      <a:gd name="T12" fmla="*/ 24 w 28"/>
                      <a:gd name="T13" fmla="*/ 1 h 36"/>
                      <a:gd name="T14" fmla="*/ 7 w 28"/>
                      <a:gd name="T15" fmla="*/ 0 h 36"/>
                      <a:gd name="T16" fmla="*/ 0 w 28"/>
                      <a:gd name="T17" fmla="*/ 1 h 36"/>
                      <a:gd name="T18" fmla="*/ 9 w 28"/>
                      <a:gd name="T19" fmla="*/ 9 h 36"/>
                      <a:gd name="T20" fmla="*/ 18 w 28"/>
                      <a:gd name="T21" fmla="*/ 23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8" h="36">
                        <a:moveTo>
                          <a:pt x="18" y="23"/>
                        </a:moveTo>
                        <a:cubicBezTo>
                          <a:pt x="20" y="26"/>
                          <a:pt x="24" y="32"/>
                          <a:pt x="24" y="33"/>
                        </a:cubicBezTo>
                        <a:cubicBezTo>
                          <a:pt x="25" y="36"/>
                          <a:pt x="28" y="33"/>
                          <a:pt x="28" y="33"/>
                        </a:cubicBezTo>
                        <a:cubicBezTo>
                          <a:pt x="28" y="33"/>
                          <a:pt x="27" y="20"/>
                          <a:pt x="26" y="17"/>
                        </a:cubicBezTo>
                        <a:cubicBezTo>
                          <a:pt x="26" y="15"/>
                          <a:pt x="15" y="7"/>
                          <a:pt x="15" y="7"/>
                        </a:cubicBezTo>
                        <a:cubicBezTo>
                          <a:pt x="25" y="6"/>
                          <a:pt x="25" y="6"/>
                          <a:pt x="25" y="6"/>
                        </a:cubicBezTo>
                        <a:cubicBezTo>
                          <a:pt x="24" y="1"/>
                          <a:pt x="24" y="1"/>
                          <a:pt x="24" y="1"/>
                        </a:cubicBezTo>
                        <a:cubicBezTo>
                          <a:pt x="24" y="1"/>
                          <a:pt x="15" y="1"/>
                          <a:pt x="7" y="0"/>
                        </a:cubicBezTo>
                        <a:cubicBezTo>
                          <a:pt x="3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9" y="9"/>
                        </a:cubicBezTo>
                        <a:cubicBezTo>
                          <a:pt x="18" y="15"/>
                          <a:pt x="18" y="21"/>
                          <a:pt x="18" y="2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" name="Freeform 260">
                    <a:extLst>
                      <a:ext uri="{FF2B5EF4-FFF2-40B4-BE49-F238E27FC236}">
                        <a16:creationId xmlns:a16="http://schemas.microsoft.com/office/drawing/2014/main" id="{A2443A63-00E5-4BD9-AC59-89B1F76F589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58805" y="5259389"/>
                    <a:ext cx="534988" cy="322263"/>
                  </a:xfrm>
                  <a:custGeom>
                    <a:avLst/>
                    <a:gdLst>
                      <a:gd name="T0" fmla="*/ 270 w 272"/>
                      <a:gd name="T1" fmla="*/ 136 h 164"/>
                      <a:gd name="T2" fmla="*/ 262 w 272"/>
                      <a:gd name="T3" fmla="*/ 138 h 164"/>
                      <a:gd name="T4" fmla="*/ 271 w 272"/>
                      <a:gd name="T5" fmla="*/ 147 h 164"/>
                      <a:gd name="T6" fmla="*/ 272 w 272"/>
                      <a:gd name="T7" fmla="*/ 157 h 164"/>
                      <a:gd name="T8" fmla="*/ 269 w 272"/>
                      <a:gd name="T9" fmla="*/ 157 h 164"/>
                      <a:gd name="T10" fmla="*/ 265 w 272"/>
                      <a:gd name="T11" fmla="*/ 150 h 164"/>
                      <a:gd name="T12" fmla="*/ 251 w 272"/>
                      <a:gd name="T13" fmla="*/ 141 h 164"/>
                      <a:gd name="T14" fmla="*/ 146 w 272"/>
                      <a:gd name="T15" fmla="*/ 156 h 164"/>
                      <a:gd name="T16" fmla="*/ 92 w 272"/>
                      <a:gd name="T17" fmla="*/ 164 h 164"/>
                      <a:gd name="T18" fmla="*/ 65 w 272"/>
                      <a:gd name="T19" fmla="*/ 148 h 164"/>
                      <a:gd name="T20" fmla="*/ 0 w 272"/>
                      <a:gd name="T21" fmla="*/ 9 h 164"/>
                      <a:gd name="T22" fmla="*/ 76 w 272"/>
                      <a:gd name="T23" fmla="*/ 19 h 164"/>
                      <a:gd name="T24" fmla="*/ 93 w 272"/>
                      <a:gd name="T25" fmla="*/ 134 h 164"/>
                      <a:gd name="T26" fmla="*/ 251 w 272"/>
                      <a:gd name="T27" fmla="*/ 132 h 164"/>
                      <a:gd name="T28" fmla="*/ 257 w 272"/>
                      <a:gd name="T29" fmla="*/ 132 h 164"/>
                      <a:gd name="T30" fmla="*/ 270 w 272"/>
                      <a:gd name="T31" fmla="*/ 133 h 164"/>
                      <a:gd name="T32" fmla="*/ 270 w 272"/>
                      <a:gd name="T33" fmla="*/ 136 h 1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272" h="164">
                        <a:moveTo>
                          <a:pt x="270" y="136"/>
                        </a:moveTo>
                        <a:cubicBezTo>
                          <a:pt x="262" y="138"/>
                          <a:pt x="262" y="138"/>
                          <a:pt x="262" y="138"/>
                        </a:cubicBezTo>
                        <a:cubicBezTo>
                          <a:pt x="271" y="147"/>
                          <a:pt x="271" y="147"/>
                          <a:pt x="271" y="147"/>
                        </a:cubicBezTo>
                        <a:cubicBezTo>
                          <a:pt x="272" y="157"/>
                          <a:pt x="272" y="157"/>
                          <a:pt x="272" y="157"/>
                        </a:cubicBezTo>
                        <a:cubicBezTo>
                          <a:pt x="272" y="157"/>
                          <a:pt x="270" y="159"/>
                          <a:pt x="269" y="157"/>
                        </a:cubicBezTo>
                        <a:cubicBezTo>
                          <a:pt x="269" y="156"/>
                          <a:pt x="265" y="150"/>
                          <a:pt x="265" y="150"/>
                        </a:cubicBezTo>
                        <a:cubicBezTo>
                          <a:pt x="251" y="141"/>
                          <a:pt x="251" y="141"/>
                          <a:pt x="251" y="141"/>
                        </a:cubicBezTo>
                        <a:cubicBezTo>
                          <a:pt x="146" y="156"/>
                          <a:pt x="146" y="156"/>
                          <a:pt x="146" y="156"/>
                        </a:cubicBezTo>
                        <a:cubicBezTo>
                          <a:pt x="92" y="164"/>
                          <a:pt x="92" y="164"/>
                          <a:pt x="92" y="164"/>
                        </a:cubicBezTo>
                        <a:cubicBezTo>
                          <a:pt x="92" y="164"/>
                          <a:pt x="76" y="163"/>
                          <a:pt x="65" y="148"/>
                        </a:cubicBezTo>
                        <a:cubicBezTo>
                          <a:pt x="62" y="143"/>
                          <a:pt x="0" y="9"/>
                          <a:pt x="0" y="9"/>
                        </a:cubicBezTo>
                        <a:cubicBezTo>
                          <a:pt x="0" y="9"/>
                          <a:pt x="64" y="0"/>
                          <a:pt x="76" y="19"/>
                        </a:cubicBezTo>
                        <a:cubicBezTo>
                          <a:pt x="91" y="45"/>
                          <a:pt x="92" y="106"/>
                          <a:pt x="93" y="134"/>
                        </a:cubicBezTo>
                        <a:cubicBezTo>
                          <a:pt x="105" y="124"/>
                          <a:pt x="196" y="133"/>
                          <a:pt x="251" y="132"/>
                        </a:cubicBezTo>
                        <a:cubicBezTo>
                          <a:pt x="253" y="132"/>
                          <a:pt x="257" y="132"/>
                          <a:pt x="257" y="132"/>
                        </a:cubicBezTo>
                        <a:cubicBezTo>
                          <a:pt x="270" y="133"/>
                          <a:pt x="270" y="133"/>
                          <a:pt x="270" y="133"/>
                        </a:cubicBezTo>
                        <a:lnTo>
                          <a:pt x="270" y="136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" name="Freeform 261">
                    <a:extLst>
                      <a:ext uri="{FF2B5EF4-FFF2-40B4-BE49-F238E27FC236}">
                        <a16:creationId xmlns:a16="http://schemas.microsoft.com/office/drawing/2014/main" id="{72FD865B-E318-7A47-E3F8-D6F47BDF477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52517" y="5516564"/>
                    <a:ext cx="41275" cy="57150"/>
                  </a:xfrm>
                  <a:custGeom>
                    <a:avLst/>
                    <a:gdLst>
                      <a:gd name="T0" fmla="*/ 14 w 21"/>
                      <a:gd name="T1" fmla="*/ 19 h 29"/>
                      <a:gd name="T2" fmla="*/ 18 w 21"/>
                      <a:gd name="T3" fmla="*/ 26 h 29"/>
                      <a:gd name="T4" fmla="*/ 21 w 21"/>
                      <a:gd name="T5" fmla="*/ 27 h 29"/>
                      <a:gd name="T6" fmla="*/ 20 w 21"/>
                      <a:gd name="T7" fmla="*/ 15 h 29"/>
                      <a:gd name="T8" fmla="*/ 11 w 21"/>
                      <a:gd name="T9" fmla="*/ 7 h 29"/>
                      <a:gd name="T10" fmla="*/ 19 w 21"/>
                      <a:gd name="T11" fmla="*/ 5 h 29"/>
                      <a:gd name="T12" fmla="*/ 19 w 21"/>
                      <a:gd name="T13" fmla="*/ 1 h 29"/>
                      <a:gd name="T14" fmla="*/ 6 w 21"/>
                      <a:gd name="T15" fmla="*/ 1 h 29"/>
                      <a:gd name="T16" fmla="*/ 0 w 21"/>
                      <a:gd name="T17" fmla="*/ 1 h 29"/>
                      <a:gd name="T18" fmla="*/ 6 w 21"/>
                      <a:gd name="T19" fmla="*/ 8 h 29"/>
                      <a:gd name="T20" fmla="*/ 14 w 21"/>
                      <a:gd name="T21" fmla="*/ 19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1" h="29">
                        <a:moveTo>
                          <a:pt x="14" y="19"/>
                        </a:moveTo>
                        <a:cubicBezTo>
                          <a:pt x="15" y="21"/>
                          <a:pt x="18" y="26"/>
                          <a:pt x="18" y="26"/>
                        </a:cubicBezTo>
                        <a:cubicBezTo>
                          <a:pt x="19" y="29"/>
                          <a:pt x="21" y="27"/>
                          <a:pt x="21" y="27"/>
                        </a:cubicBezTo>
                        <a:cubicBezTo>
                          <a:pt x="21" y="27"/>
                          <a:pt x="20" y="17"/>
                          <a:pt x="20" y="15"/>
                        </a:cubicBezTo>
                        <a:cubicBezTo>
                          <a:pt x="20" y="12"/>
                          <a:pt x="11" y="7"/>
                          <a:pt x="11" y="7"/>
                        </a:cubicBezTo>
                        <a:cubicBezTo>
                          <a:pt x="19" y="5"/>
                          <a:pt x="19" y="5"/>
                          <a:pt x="19" y="5"/>
                        </a:cubicBezTo>
                        <a:cubicBezTo>
                          <a:pt x="19" y="1"/>
                          <a:pt x="19" y="1"/>
                          <a:pt x="19" y="1"/>
                        </a:cubicBezTo>
                        <a:cubicBezTo>
                          <a:pt x="19" y="1"/>
                          <a:pt x="11" y="1"/>
                          <a:pt x="6" y="1"/>
                        </a:cubicBezTo>
                        <a:cubicBezTo>
                          <a:pt x="2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6" y="8"/>
                        </a:cubicBezTo>
                        <a:cubicBezTo>
                          <a:pt x="14" y="12"/>
                          <a:pt x="13" y="17"/>
                          <a:pt x="14" y="1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" name="Freeform 262">
                    <a:extLst>
                      <a:ext uri="{FF2B5EF4-FFF2-40B4-BE49-F238E27FC236}">
                        <a16:creationId xmlns:a16="http://schemas.microsoft.com/office/drawing/2014/main" id="{C20F0719-65F9-5EBE-2AC0-C895C04C946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39692" y="4965701"/>
                    <a:ext cx="346075" cy="90488"/>
                  </a:xfrm>
                  <a:custGeom>
                    <a:avLst/>
                    <a:gdLst>
                      <a:gd name="T0" fmla="*/ 3 w 176"/>
                      <a:gd name="T1" fmla="*/ 0 h 46"/>
                      <a:gd name="T2" fmla="*/ 47 w 176"/>
                      <a:gd name="T3" fmla="*/ 6 h 46"/>
                      <a:gd name="T4" fmla="*/ 133 w 176"/>
                      <a:gd name="T5" fmla="*/ 5 h 46"/>
                      <a:gd name="T6" fmla="*/ 167 w 176"/>
                      <a:gd name="T7" fmla="*/ 22 h 46"/>
                      <a:gd name="T8" fmla="*/ 145 w 176"/>
                      <a:gd name="T9" fmla="*/ 46 h 46"/>
                      <a:gd name="T10" fmla="*/ 0 w 176"/>
                      <a:gd name="T11" fmla="*/ 19 h 46"/>
                      <a:gd name="T12" fmla="*/ 3 w 176"/>
                      <a:gd name="T13" fmla="*/ 0 h 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76" h="46">
                        <a:moveTo>
                          <a:pt x="3" y="0"/>
                        </a:moveTo>
                        <a:cubicBezTo>
                          <a:pt x="10" y="1"/>
                          <a:pt x="29" y="5"/>
                          <a:pt x="47" y="6"/>
                        </a:cubicBezTo>
                        <a:cubicBezTo>
                          <a:pt x="79" y="8"/>
                          <a:pt x="93" y="6"/>
                          <a:pt x="133" y="5"/>
                        </a:cubicBezTo>
                        <a:cubicBezTo>
                          <a:pt x="176" y="3"/>
                          <a:pt x="167" y="22"/>
                          <a:pt x="167" y="22"/>
                        </a:cubicBezTo>
                        <a:cubicBezTo>
                          <a:pt x="167" y="22"/>
                          <a:pt x="152" y="40"/>
                          <a:pt x="145" y="46"/>
                        </a:cubicBezTo>
                        <a:cubicBezTo>
                          <a:pt x="68" y="36"/>
                          <a:pt x="21" y="25"/>
                          <a:pt x="0" y="19"/>
                        </a:cubicBezTo>
                        <a:cubicBezTo>
                          <a:pt x="0" y="19"/>
                          <a:pt x="1" y="4"/>
                          <a:pt x="3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" name="Freeform 263">
                    <a:extLst>
                      <a:ext uri="{FF2B5EF4-FFF2-40B4-BE49-F238E27FC236}">
                        <a16:creationId xmlns:a16="http://schemas.microsoft.com/office/drawing/2014/main" id="{28FEE127-E24A-9427-09D8-B20A553D3D8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74642" y="4941889"/>
                    <a:ext cx="420688" cy="288925"/>
                  </a:xfrm>
                  <a:custGeom>
                    <a:avLst/>
                    <a:gdLst>
                      <a:gd name="T0" fmla="*/ 126 w 214"/>
                      <a:gd name="T1" fmla="*/ 147 h 147"/>
                      <a:gd name="T2" fmla="*/ 63 w 214"/>
                      <a:gd name="T3" fmla="*/ 110 h 147"/>
                      <a:gd name="T4" fmla="*/ 7 w 214"/>
                      <a:gd name="T5" fmla="*/ 22 h 147"/>
                      <a:gd name="T6" fmla="*/ 28 w 214"/>
                      <a:gd name="T7" fmla="*/ 8 h 147"/>
                      <a:gd name="T8" fmla="*/ 130 w 214"/>
                      <a:gd name="T9" fmla="*/ 44 h 147"/>
                      <a:gd name="T10" fmla="*/ 214 w 214"/>
                      <a:gd name="T11" fmla="*/ 136 h 147"/>
                      <a:gd name="T12" fmla="*/ 126 w 214"/>
                      <a:gd name="T13" fmla="*/ 147 h 1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14" h="147">
                        <a:moveTo>
                          <a:pt x="126" y="147"/>
                        </a:moveTo>
                        <a:cubicBezTo>
                          <a:pt x="123" y="141"/>
                          <a:pt x="112" y="111"/>
                          <a:pt x="63" y="110"/>
                        </a:cubicBezTo>
                        <a:cubicBezTo>
                          <a:pt x="0" y="108"/>
                          <a:pt x="7" y="22"/>
                          <a:pt x="7" y="22"/>
                        </a:cubicBezTo>
                        <a:cubicBezTo>
                          <a:pt x="7" y="22"/>
                          <a:pt x="18" y="11"/>
                          <a:pt x="28" y="8"/>
                        </a:cubicBezTo>
                        <a:cubicBezTo>
                          <a:pt x="53" y="0"/>
                          <a:pt x="94" y="11"/>
                          <a:pt x="130" y="44"/>
                        </a:cubicBezTo>
                        <a:cubicBezTo>
                          <a:pt x="181" y="90"/>
                          <a:pt x="214" y="136"/>
                          <a:pt x="214" y="136"/>
                        </a:cubicBezTo>
                        <a:cubicBezTo>
                          <a:pt x="214" y="136"/>
                          <a:pt x="175" y="134"/>
                          <a:pt x="126" y="147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" name="Freeform 264">
                    <a:extLst>
                      <a:ext uri="{FF2B5EF4-FFF2-40B4-BE49-F238E27FC236}">
                        <a16:creationId xmlns:a16="http://schemas.microsoft.com/office/drawing/2014/main" id="{4E031292-3FAC-943F-6CDB-FD5018FC28F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5580" y="5221289"/>
                    <a:ext cx="611188" cy="523875"/>
                  </a:xfrm>
                  <a:custGeom>
                    <a:avLst/>
                    <a:gdLst>
                      <a:gd name="T0" fmla="*/ 2 w 311"/>
                      <a:gd name="T1" fmla="*/ 259 h 267"/>
                      <a:gd name="T2" fmla="*/ 10 w 311"/>
                      <a:gd name="T3" fmla="*/ 257 h 267"/>
                      <a:gd name="T4" fmla="*/ 22 w 311"/>
                      <a:gd name="T5" fmla="*/ 247 h 267"/>
                      <a:gd name="T6" fmla="*/ 44 w 311"/>
                      <a:gd name="T7" fmla="*/ 81 h 267"/>
                      <a:gd name="T8" fmla="*/ 44 w 311"/>
                      <a:gd name="T9" fmla="*/ 81 h 267"/>
                      <a:gd name="T10" fmla="*/ 66 w 311"/>
                      <a:gd name="T11" fmla="*/ 42 h 267"/>
                      <a:gd name="T12" fmla="*/ 276 w 311"/>
                      <a:gd name="T13" fmla="*/ 0 h 267"/>
                      <a:gd name="T14" fmla="*/ 213 w 311"/>
                      <a:gd name="T15" fmla="*/ 71 h 267"/>
                      <a:gd name="T16" fmla="*/ 82 w 311"/>
                      <a:gd name="T17" fmla="*/ 79 h 267"/>
                      <a:gd name="T18" fmla="*/ 31 w 311"/>
                      <a:gd name="T19" fmla="*/ 249 h 267"/>
                      <a:gd name="T20" fmla="*/ 29 w 311"/>
                      <a:gd name="T21" fmla="*/ 255 h 267"/>
                      <a:gd name="T22" fmla="*/ 25 w 311"/>
                      <a:gd name="T23" fmla="*/ 267 h 267"/>
                      <a:gd name="T24" fmla="*/ 22 w 311"/>
                      <a:gd name="T25" fmla="*/ 266 h 267"/>
                      <a:gd name="T26" fmla="*/ 22 w 311"/>
                      <a:gd name="T27" fmla="*/ 259 h 267"/>
                      <a:gd name="T28" fmla="*/ 11 w 311"/>
                      <a:gd name="T29" fmla="*/ 264 h 267"/>
                      <a:gd name="T30" fmla="*/ 1 w 311"/>
                      <a:gd name="T31" fmla="*/ 262 h 267"/>
                      <a:gd name="T32" fmla="*/ 2 w 311"/>
                      <a:gd name="T33" fmla="*/ 259 h 2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11" h="267">
                        <a:moveTo>
                          <a:pt x="2" y="259"/>
                        </a:moveTo>
                        <a:cubicBezTo>
                          <a:pt x="3" y="259"/>
                          <a:pt x="10" y="257"/>
                          <a:pt x="10" y="257"/>
                        </a:cubicBezTo>
                        <a:cubicBezTo>
                          <a:pt x="22" y="247"/>
                          <a:pt x="22" y="247"/>
                          <a:pt x="22" y="247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2" y="52"/>
                          <a:pt x="66" y="42"/>
                          <a:pt x="66" y="42"/>
                        </a:cubicBezTo>
                        <a:cubicBezTo>
                          <a:pt x="276" y="0"/>
                          <a:pt x="276" y="0"/>
                          <a:pt x="276" y="0"/>
                        </a:cubicBezTo>
                        <a:cubicBezTo>
                          <a:pt x="276" y="0"/>
                          <a:pt x="311" y="59"/>
                          <a:pt x="213" y="71"/>
                        </a:cubicBezTo>
                        <a:cubicBezTo>
                          <a:pt x="182" y="74"/>
                          <a:pt x="161" y="70"/>
                          <a:pt x="82" y="79"/>
                        </a:cubicBezTo>
                        <a:cubicBezTo>
                          <a:pt x="99" y="107"/>
                          <a:pt x="31" y="249"/>
                          <a:pt x="31" y="249"/>
                        </a:cubicBezTo>
                        <a:cubicBezTo>
                          <a:pt x="29" y="255"/>
                          <a:pt x="29" y="255"/>
                          <a:pt x="29" y="255"/>
                        </a:cubicBezTo>
                        <a:cubicBezTo>
                          <a:pt x="25" y="267"/>
                          <a:pt x="25" y="267"/>
                          <a:pt x="25" y="267"/>
                        </a:cubicBezTo>
                        <a:cubicBezTo>
                          <a:pt x="22" y="266"/>
                          <a:pt x="22" y="266"/>
                          <a:pt x="22" y="266"/>
                        </a:cubicBezTo>
                        <a:cubicBezTo>
                          <a:pt x="22" y="259"/>
                          <a:pt x="22" y="259"/>
                          <a:pt x="22" y="259"/>
                        </a:cubicBezTo>
                        <a:cubicBezTo>
                          <a:pt x="11" y="264"/>
                          <a:pt x="11" y="264"/>
                          <a:pt x="11" y="264"/>
                        </a:cubicBezTo>
                        <a:cubicBezTo>
                          <a:pt x="1" y="262"/>
                          <a:pt x="1" y="262"/>
                          <a:pt x="1" y="262"/>
                        </a:cubicBezTo>
                        <a:cubicBezTo>
                          <a:pt x="1" y="262"/>
                          <a:pt x="0" y="259"/>
                          <a:pt x="2" y="25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" name="Freeform 265">
                    <a:extLst>
                      <a:ext uri="{FF2B5EF4-FFF2-40B4-BE49-F238E27FC236}">
                        <a16:creationId xmlns:a16="http://schemas.microsoft.com/office/drawing/2014/main" id="{54F8EBB0-4F9C-63C6-6EB3-2AEB65DFB6C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4167" y="5197476"/>
                    <a:ext cx="487363" cy="219075"/>
                  </a:xfrm>
                  <a:custGeom>
                    <a:avLst/>
                    <a:gdLst>
                      <a:gd name="T0" fmla="*/ 206 w 248"/>
                      <a:gd name="T1" fmla="*/ 0 h 112"/>
                      <a:gd name="T2" fmla="*/ 248 w 248"/>
                      <a:gd name="T3" fmla="*/ 97 h 112"/>
                      <a:gd name="T4" fmla="*/ 26 w 248"/>
                      <a:gd name="T5" fmla="*/ 83 h 112"/>
                      <a:gd name="T6" fmla="*/ 0 w 248"/>
                      <a:gd name="T7" fmla="*/ 52 h 112"/>
                      <a:gd name="T8" fmla="*/ 206 w 248"/>
                      <a:gd name="T9" fmla="*/ 0 h 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8" h="112">
                        <a:moveTo>
                          <a:pt x="206" y="0"/>
                        </a:moveTo>
                        <a:cubicBezTo>
                          <a:pt x="240" y="22"/>
                          <a:pt x="215" y="69"/>
                          <a:pt x="248" y="97"/>
                        </a:cubicBezTo>
                        <a:cubicBezTo>
                          <a:pt x="219" y="112"/>
                          <a:pt x="79" y="112"/>
                          <a:pt x="26" y="83"/>
                        </a:cubicBezTo>
                        <a:cubicBezTo>
                          <a:pt x="4" y="71"/>
                          <a:pt x="0" y="52"/>
                          <a:pt x="0" y="52"/>
                        </a:cubicBezTo>
                        <a:cubicBezTo>
                          <a:pt x="0" y="52"/>
                          <a:pt x="177" y="6"/>
                          <a:pt x="206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" name="Freeform 266">
                    <a:extLst>
                      <a:ext uri="{FF2B5EF4-FFF2-40B4-BE49-F238E27FC236}">
                        <a16:creationId xmlns:a16="http://schemas.microsoft.com/office/drawing/2014/main" id="{B3B5F786-2A5D-AF2F-CBB7-F3AF22CC814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2105" y="4964114"/>
                    <a:ext cx="63500" cy="134938"/>
                  </a:xfrm>
                  <a:custGeom>
                    <a:avLst/>
                    <a:gdLst>
                      <a:gd name="T0" fmla="*/ 32 w 32"/>
                      <a:gd name="T1" fmla="*/ 69 h 69"/>
                      <a:gd name="T2" fmla="*/ 20 w 32"/>
                      <a:gd name="T3" fmla="*/ 0 h 69"/>
                      <a:gd name="T4" fmla="*/ 4 w 32"/>
                      <a:gd name="T5" fmla="*/ 14 h 69"/>
                      <a:gd name="T6" fmla="*/ 32 w 32"/>
                      <a:gd name="T7" fmla="*/ 69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2" h="69">
                        <a:moveTo>
                          <a:pt x="32" y="69"/>
                        </a:moveTo>
                        <a:cubicBezTo>
                          <a:pt x="32" y="69"/>
                          <a:pt x="7" y="24"/>
                          <a:pt x="20" y="0"/>
                        </a:cubicBezTo>
                        <a:cubicBezTo>
                          <a:pt x="17" y="5"/>
                          <a:pt x="12" y="15"/>
                          <a:pt x="4" y="14"/>
                        </a:cubicBezTo>
                        <a:cubicBezTo>
                          <a:pt x="0" y="41"/>
                          <a:pt x="32" y="69"/>
                          <a:pt x="32" y="6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" name="Freeform 267">
                    <a:extLst>
                      <a:ext uri="{FF2B5EF4-FFF2-40B4-BE49-F238E27FC236}">
                        <a16:creationId xmlns:a16="http://schemas.microsoft.com/office/drawing/2014/main" id="{530C49AA-C427-3667-B99C-5AAD5F6C20B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69880" y="4946651"/>
                    <a:ext cx="88900" cy="160338"/>
                  </a:xfrm>
                  <a:custGeom>
                    <a:avLst/>
                    <a:gdLst>
                      <a:gd name="T0" fmla="*/ 45 w 45"/>
                      <a:gd name="T1" fmla="*/ 82 h 82"/>
                      <a:gd name="T2" fmla="*/ 17 w 45"/>
                      <a:gd name="T3" fmla="*/ 19 h 82"/>
                      <a:gd name="T4" fmla="*/ 12 w 45"/>
                      <a:gd name="T5" fmla="*/ 12 h 82"/>
                      <a:gd name="T6" fmla="*/ 45 w 45"/>
                      <a:gd name="T7" fmla="*/ 82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5" h="82">
                        <a:moveTo>
                          <a:pt x="45" y="82"/>
                        </a:moveTo>
                        <a:cubicBezTo>
                          <a:pt x="45" y="82"/>
                          <a:pt x="15" y="54"/>
                          <a:pt x="17" y="19"/>
                        </a:cubicBezTo>
                        <a:cubicBezTo>
                          <a:pt x="17" y="9"/>
                          <a:pt x="15" y="0"/>
                          <a:pt x="12" y="12"/>
                        </a:cubicBezTo>
                        <a:cubicBezTo>
                          <a:pt x="0" y="63"/>
                          <a:pt x="45" y="82"/>
                          <a:pt x="45" y="8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" name="Freeform 268">
                    <a:extLst>
                      <a:ext uri="{FF2B5EF4-FFF2-40B4-BE49-F238E27FC236}">
                        <a16:creationId xmlns:a16="http://schemas.microsoft.com/office/drawing/2014/main" id="{F78DC18C-9E73-7C8A-A417-625E5011966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3367" y="4899026"/>
                    <a:ext cx="103188" cy="93663"/>
                  </a:xfrm>
                  <a:custGeom>
                    <a:avLst/>
                    <a:gdLst>
                      <a:gd name="T0" fmla="*/ 52 w 53"/>
                      <a:gd name="T1" fmla="*/ 27 h 48"/>
                      <a:gd name="T2" fmla="*/ 42 w 53"/>
                      <a:gd name="T3" fmla="*/ 12 h 48"/>
                      <a:gd name="T4" fmla="*/ 30 w 53"/>
                      <a:gd name="T5" fmla="*/ 0 h 48"/>
                      <a:gd name="T6" fmla="*/ 24 w 53"/>
                      <a:gd name="T7" fmla="*/ 18 h 48"/>
                      <a:gd name="T8" fmla="*/ 13 w 53"/>
                      <a:gd name="T9" fmla="*/ 28 h 48"/>
                      <a:gd name="T10" fmla="*/ 0 w 53"/>
                      <a:gd name="T11" fmla="*/ 29 h 48"/>
                      <a:gd name="T12" fmla="*/ 36 w 53"/>
                      <a:gd name="T13" fmla="*/ 48 h 48"/>
                      <a:gd name="T14" fmla="*/ 52 w 53"/>
                      <a:gd name="T15" fmla="*/ 27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3" h="48">
                        <a:moveTo>
                          <a:pt x="52" y="27"/>
                        </a:moveTo>
                        <a:cubicBezTo>
                          <a:pt x="42" y="23"/>
                          <a:pt x="42" y="12"/>
                          <a:pt x="42" y="12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30" y="0"/>
                          <a:pt x="25" y="11"/>
                          <a:pt x="24" y="18"/>
                        </a:cubicBezTo>
                        <a:cubicBezTo>
                          <a:pt x="22" y="25"/>
                          <a:pt x="16" y="27"/>
                          <a:pt x="13" y="28"/>
                        </a:cubicBezTo>
                        <a:cubicBezTo>
                          <a:pt x="7" y="29"/>
                          <a:pt x="0" y="29"/>
                          <a:pt x="0" y="29"/>
                        </a:cubicBezTo>
                        <a:cubicBezTo>
                          <a:pt x="0" y="29"/>
                          <a:pt x="26" y="31"/>
                          <a:pt x="36" y="48"/>
                        </a:cubicBezTo>
                        <a:cubicBezTo>
                          <a:pt x="53" y="47"/>
                          <a:pt x="48" y="32"/>
                          <a:pt x="52" y="27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" name="Freeform 269">
                    <a:extLst>
                      <a:ext uri="{FF2B5EF4-FFF2-40B4-BE49-F238E27FC236}">
                        <a16:creationId xmlns:a16="http://schemas.microsoft.com/office/drawing/2014/main" id="{9BD2B422-CB89-4168-2E0C-50181A92DBE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20667" y="4848226"/>
                    <a:ext cx="80963" cy="107950"/>
                  </a:xfrm>
                  <a:custGeom>
                    <a:avLst/>
                    <a:gdLst>
                      <a:gd name="T0" fmla="*/ 9 w 41"/>
                      <a:gd name="T1" fmla="*/ 55 h 55"/>
                      <a:gd name="T2" fmla="*/ 22 w 41"/>
                      <a:gd name="T3" fmla="*/ 55 h 55"/>
                      <a:gd name="T4" fmla="*/ 30 w 41"/>
                      <a:gd name="T5" fmla="*/ 48 h 55"/>
                      <a:gd name="T6" fmla="*/ 33 w 41"/>
                      <a:gd name="T7" fmla="*/ 36 h 55"/>
                      <a:gd name="T8" fmla="*/ 38 w 41"/>
                      <a:gd name="T9" fmla="*/ 32 h 55"/>
                      <a:gd name="T10" fmla="*/ 36 w 41"/>
                      <a:gd name="T11" fmla="*/ 24 h 55"/>
                      <a:gd name="T12" fmla="*/ 34 w 41"/>
                      <a:gd name="T13" fmla="*/ 3 h 55"/>
                      <a:gd name="T14" fmla="*/ 23 w 41"/>
                      <a:gd name="T15" fmla="*/ 0 h 55"/>
                      <a:gd name="T16" fmla="*/ 12 w 41"/>
                      <a:gd name="T17" fmla="*/ 8 h 55"/>
                      <a:gd name="T18" fmla="*/ 0 w 41"/>
                      <a:gd name="T19" fmla="*/ 30 h 55"/>
                      <a:gd name="T20" fmla="*/ 2 w 41"/>
                      <a:gd name="T21" fmla="*/ 32 h 55"/>
                      <a:gd name="T22" fmla="*/ 5 w 41"/>
                      <a:gd name="T23" fmla="*/ 33 h 55"/>
                      <a:gd name="T24" fmla="*/ 5 w 41"/>
                      <a:gd name="T25" fmla="*/ 54 h 55"/>
                      <a:gd name="T26" fmla="*/ 9 w 41"/>
                      <a:gd name="T27" fmla="*/ 55 h 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1" h="55">
                        <a:moveTo>
                          <a:pt x="9" y="55"/>
                        </a:moveTo>
                        <a:cubicBezTo>
                          <a:pt x="12" y="55"/>
                          <a:pt x="17" y="55"/>
                          <a:pt x="22" y="55"/>
                        </a:cubicBezTo>
                        <a:cubicBezTo>
                          <a:pt x="29" y="54"/>
                          <a:pt x="30" y="48"/>
                          <a:pt x="30" y="48"/>
                        </a:cubicBezTo>
                        <a:cubicBezTo>
                          <a:pt x="33" y="36"/>
                          <a:pt x="33" y="36"/>
                          <a:pt x="33" y="36"/>
                        </a:cubicBezTo>
                        <a:cubicBezTo>
                          <a:pt x="33" y="36"/>
                          <a:pt x="36" y="35"/>
                          <a:pt x="38" y="32"/>
                        </a:cubicBezTo>
                        <a:cubicBezTo>
                          <a:pt x="39" y="31"/>
                          <a:pt x="41" y="26"/>
                          <a:pt x="36" y="24"/>
                        </a:cubicBezTo>
                        <a:cubicBezTo>
                          <a:pt x="28" y="21"/>
                          <a:pt x="34" y="3"/>
                          <a:pt x="34" y="3"/>
                        </a:cubicBezTo>
                        <a:cubicBezTo>
                          <a:pt x="23" y="0"/>
                          <a:pt x="23" y="0"/>
                          <a:pt x="23" y="0"/>
                        </a:cubicBezTo>
                        <a:cubicBezTo>
                          <a:pt x="12" y="8"/>
                          <a:pt x="12" y="8"/>
                          <a:pt x="12" y="8"/>
                        </a:cubicBezTo>
                        <a:cubicBezTo>
                          <a:pt x="0" y="30"/>
                          <a:pt x="0" y="30"/>
                          <a:pt x="0" y="30"/>
                        </a:cubicBezTo>
                        <a:cubicBezTo>
                          <a:pt x="0" y="30"/>
                          <a:pt x="0" y="31"/>
                          <a:pt x="2" y="32"/>
                        </a:cubicBezTo>
                        <a:cubicBezTo>
                          <a:pt x="4" y="32"/>
                          <a:pt x="5" y="33"/>
                          <a:pt x="5" y="33"/>
                        </a:cubicBezTo>
                        <a:cubicBezTo>
                          <a:pt x="5" y="33"/>
                          <a:pt x="5" y="53"/>
                          <a:pt x="5" y="54"/>
                        </a:cubicBezTo>
                        <a:cubicBezTo>
                          <a:pt x="5" y="55"/>
                          <a:pt x="7" y="55"/>
                          <a:pt x="9" y="55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" name="Freeform 270">
                    <a:extLst>
                      <a:ext uri="{FF2B5EF4-FFF2-40B4-BE49-F238E27FC236}">
                        <a16:creationId xmlns:a16="http://schemas.microsoft.com/office/drawing/2014/main" id="{59A33679-E9D7-A179-C5E5-2781BF1F015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44480" y="4838701"/>
                    <a:ext cx="92075" cy="85725"/>
                  </a:xfrm>
                  <a:custGeom>
                    <a:avLst/>
                    <a:gdLst>
                      <a:gd name="T0" fmla="*/ 45 w 47"/>
                      <a:gd name="T1" fmla="*/ 22 h 44"/>
                      <a:gd name="T2" fmla="*/ 44 w 47"/>
                      <a:gd name="T3" fmla="*/ 18 h 44"/>
                      <a:gd name="T4" fmla="*/ 25 w 47"/>
                      <a:gd name="T5" fmla="*/ 3 h 44"/>
                      <a:gd name="T6" fmla="*/ 0 w 47"/>
                      <a:gd name="T7" fmla="*/ 14 h 44"/>
                      <a:gd name="T8" fmla="*/ 14 w 47"/>
                      <a:gd name="T9" fmla="*/ 21 h 44"/>
                      <a:gd name="T10" fmla="*/ 21 w 47"/>
                      <a:gd name="T11" fmla="*/ 30 h 44"/>
                      <a:gd name="T12" fmla="*/ 27 w 47"/>
                      <a:gd name="T13" fmla="*/ 35 h 44"/>
                      <a:gd name="T14" fmla="*/ 36 w 47"/>
                      <a:gd name="T15" fmla="*/ 44 h 44"/>
                      <a:gd name="T16" fmla="*/ 45 w 47"/>
                      <a:gd name="T17" fmla="*/ 22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7" h="44">
                        <a:moveTo>
                          <a:pt x="45" y="22"/>
                        </a:moveTo>
                        <a:cubicBezTo>
                          <a:pt x="44" y="18"/>
                          <a:pt x="44" y="18"/>
                          <a:pt x="44" y="18"/>
                        </a:cubicBezTo>
                        <a:cubicBezTo>
                          <a:pt x="44" y="18"/>
                          <a:pt x="42" y="7"/>
                          <a:pt x="25" y="3"/>
                        </a:cubicBezTo>
                        <a:cubicBezTo>
                          <a:pt x="6" y="0"/>
                          <a:pt x="0" y="14"/>
                          <a:pt x="0" y="14"/>
                        </a:cubicBezTo>
                        <a:cubicBezTo>
                          <a:pt x="0" y="14"/>
                          <a:pt x="14" y="12"/>
                          <a:pt x="14" y="21"/>
                        </a:cubicBezTo>
                        <a:cubicBezTo>
                          <a:pt x="14" y="31"/>
                          <a:pt x="20" y="30"/>
                          <a:pt x="21" y="30"/>
                        </a:cubicBezTo>
                        <a:cubicBezTo>
                          <a:pt x="22" y="30"/>
                          <a:pt x="26" y="31"/>
                          <a:pt x="27" y="35"/>
                        </a:cubicBezTo>
                        <a:cubicBezTo>
                          <a:pt x="27" y="41"/>
                          <a:pt x="33" y="44"/>
                          <a:pt x="36" y="44"/>
                        </a:cubicBezTo>
                        <a:cubicBezTo>
                          <a:pt x="47" y="32"/>
                          <a:pt x="45" y="22"/>
                          <a:pt x="45" y="22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" name="Freeform 271">
                    <a:extLst>
                      <a:ext uri="{FF2B5EF4-FFF2-40B4-BE49-F238E27FC236}">
                        <a16:creationId xmlns:a16="http://schemas.microsoft.com/office/drawing/2014/main" id="{8E490C10-1BA9-0902-B9DF-8E2E2513993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6542" y="4886326"/>
                    <a:ext cx="15875" cy="7938"/>
                  </a:xfrm>
                  <a:custGeom>
                    <a:avLst/>
                    <a:gdLst>
                      <a:gd name="T0" fmla="*/ 1 w 8"/>
                      <a:gd name="T1" fmla="*/ 3 h 4"/>
                      <a:gd name="T2" fmla="*/ 2 w 8"/>
                      <a:gd name="T3" fmla="*/ 4 h 4"/>
                      <a:gd name="T4" fmla="*/ 8 w 8"/>
                      <a:gd name="T5" fmla="*/ 4 h 4"/>
                      <a:gd name="T6" fmla="*/ 1 w 8"/>
                      <a:gd name="T7" fmla="*/ 1 h 4"/>
                      <a:gd name="T8" fmla="*/ 1 w 8"/>
                      <a:gd name="T9" fmla="*/ 3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" h="4">
                        <a:moveTo>
                          <a:pt x="1" y="3"/>
                        </a:moveTo>
                        <a:cubicBezTo>
                          <a:pt x="1" y="4"/>
                          <a:pt x="1" y="4"/>
                          <a:pt x="2" y="4"/>
                        </a:cubicBezTo>
                        <a:cubicBezTo>
                          <a:pt x="4" y="4"/>
                          <a:pt x="6" y="4"/>
                          <a:pt x="8" y="4"/>
                        </a:cubicBezTo>
                        <a:cubicBezTo>
                          <a:pt x="8" y="4"/>
                          <a:pt x="6" y="3"/>
                          <a:pt x="1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" name="Freeform 272">
                    <a:extLst>
                      <a:ext uri="{FF2B5EF4-FFF2-40B4-BE49-F238E27FC236}">
                        <a16:creationId xmlns:a16="http://schemas.microsoft.com/office/drawing/2014/main" id="{3F49672C-3B52-136F-DD33-1F79D697849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1792" y="4857751"/>
                    <a:ext cx="217488" cy="93663"/>
                  </a:xfrm>
                  <a:custGeom>
                    <a:avLst/>
                    <a:gdLst>
                      <a:gd name="T0" fmla="*/ 0 w 111"/>
                      <a:gd name="T1" fmla="*/ 8 h 48"/>
                      <a:gd name="T2" fmla="*/ 17 w 111"/>
                      <a:gd name="T3" fmla="*/ 1 h 48"/>
                      <a:gd name="T4" fmla="*/ 42 w 111"/>
                      <a:gd name="T5" fmla="*/ 11 h 48"/>
                      <a:gd name="T6" fmla="*/ 75 w 111"/>
                      <a:gd name="T7" fmla="*/ 12 h 48"/>
                      <a:gd name="T8" fmla="*/ 94 w 111"/>
                      <a:gd name="T9" fmla="*/ 19 h 48"/>
                      <a:gd name="T10" fmla="*/ 111 w 111"/>
                      <a:gd name="T11" fmla="*/ 34 h 48"/>
                      <a:gd name="T12" fmla="*/ 79 w 111"/>
                      <a:gd name="T13" fmla="*/ 42 h 48"/>
                      <a:gd name="T14" fmla="*/ 50 w 111"/>
                      <a:gd name="T15" fmla="*/ 34 h 48"/>
                      <a:gd name="T16" fmla="*/ 28 w 111"/>
                      <a:gd name="T17" fmla="*/ 22 h 48"/>
                      <a:gd name="T18" fmla="*/ 14 w 111"/>
                      <a:gd name="T19" fmla="*/ 13 h 48"/>
                      <a:gd name="T20" fmla="*/ 1 w 111"/>
                      <a:gd name="T21" fmla="*/ 13 h 48"/>
                      <a:gd name="T22" fmla="*/ 0 w 111"/>
                      <a:gd name="T23" fmla="*/ 8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11" h="48">
                        <a:moveTo>
                          <a:pt x="0" y="8"/>
                        </a:moveTo>
                        <a:cubicBezTo>
                          <a:pt x="0" y="8"/>
                          <a:pt x="7" y="0"/>
                          <a:pt x="17" y="1"/>
                        </a:cubicBezTo>
                        <a:cubicBezTo>
                          <a:pt x="27" y="2"/>
                          <a:pt x="30" y="5"/>
                          <a:pt x="42" y="11"/>
                        </a:cubicBezTo>
                        <a:cubicBezTo>
                          <a:pt x="54" y="16"/>
                          <a:pt x="62" y="11"/>
                          <a:pt x="75" y="12"/>
                        </a:cubicBezTo>
                        <a:cubicBezTo>
                          <a:pt x="88" y="13"/>
                          <a:pt x="92" y="17"/>
                          <a:pt x="94" y="19"/>
                        </a:cubicBezTo>
                        <a:cubicBezTo>
                          <a:pt x="102" y="24"/>
                          <a:pt x="111" y="34"/>
                          <a:pt x="111" y="34"/>
                        </a:cubicBezTo>
                        <a:cubicBezTo>
                          <a:pt x="111" y="34"/>
                          <a:pt x="94" y="48"/>
                          <a:pt x="79" y="42"/>
                        </a:cubicBezTo>
                        <a:cubicBezTo>
                          <a:pt x="74" y="40"/>
                          <a:pt x="66" y="31"/>
                          <a:pt x="50" y="34"/>
                        </a:cubicBezTo>
                        <a:cubicBezTo>
                          <a:pt x="39" y="36"/>
                          <a:pt x="33" y="29"/>
                          <a:pt x="28" y="22"/>
                        </a:cubicBezTo>
                        <a:cubicBezTo>
                          <a:pt x="25" y="18"/>
                          <a:pt x="19" y="14"/>
                          <a:pt x="14" y="13"/>
                        </a:cubicBezTo>
                        <a:cubicBezTo>
                          <a:pt x="9" y="11"/>
                          <a:pt x="1" y="13"/>
                          <a:pt x="1" y="13"/>
                        </a:cubicBez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" name="Freeform 273">
                    <a:extLst>
                      <a:ext uri="{FF2B5EF4-FFF2-40B4-BE49-F238E27FC236}">
                        <a16:creationId xmlns:a16="http://schemas.microsoft.com/office/drawing/2014/main" id="{66479902-25DB-ED9E-CDAF-335E955AD95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8617" y="4868864"/>
                    <a:ext cx="7938" cy="15875"/>
                  </a:xfrm>
                  <a:custGeom>
                    <a:avLst/>
                    <a:gdLst>
                      <a:gd name="T0" fmla="*/ 1 w 4"/>
                      <a:gd name="T1" fmla="*/ 6 h 8"/>
                      <a:gd name="T2" fmla="*/ 3 w 4"/>
                      <a:gd name="T3" fmla="*/ 8 h 8"/>
                      <a:gd name="T4" fmla="*/ 4 w 4"/>
                      <a:gd name="T5" fmla="*/ 5 h 8"/>
                      <a:gd name="T6" fmla="*/ 3 w 4"/>
                      <a:gd name="T7" fmla="*/ 2 h 8"/>
                      <a:gd name="T8" fmla="*/ 1 w 4"/>
                      <a:gd name="T9" fmla="*/ 0 h 8"/>
                      <a:gd name="T10" fmla="*/ 0 w 4"/>
                      <a:gd name="T11" fmla="*/ 2 h 8"/>
                      <a:gd name="T12" fmla="*/ 1 w 4"/>
                      <a:gd name="T13" fmla="*/ 6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" h="8">
                        <a:moveTo>
                          <a:pt x="1" y="6"/>
                        </a:moveTo>
                        <a:cubicBezTo>
                          <a:pt x="1" y="7"/>
                          <a:pt x="2" y="8"/>
                          <a:pt x="3" y="8"/>
                        </a:cubicBezTo>
                        <a:cubicBezTo>
                          <a:pt x="4" y="7"/>
                          <a:pt x="4" y="6"/>
                          <a:pt x="4" y="5"/>
                        </a:cubicBezTo>
                        <a:cubicBezTo>
                          <a:pt x="3" y="2"/>
                          <a:pt x="3" y="2"/>
                          <a:pt x="3" y="2"/>
                        </a:cubicBezTo>
                        <a:cubicBezTo>
                          <a:pt x="3" y="1"/>
                          <a:pt x="2" y="0"/>
                          <a:pt x="1" y="0"/>
                        </a:cubicBezTo>
                        <a:cubicBezTo>
                          <a:pt x="0" y="1"/>
                          <a:pt x="0" y="1"/>
                          <a:pt x="0" y="2"/>
                        </a:cubicBezTo>
                        <a:lnTo>
                          <a:pt x="1" y="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" name="Freeform 274">
                    <a:extLst>
                      <a:ext uri="{FF2B5EF4-FFF2-40B4-BE49-F238E27FC236}">
                        <a16:creationId xmlns:a16="http://schemas.microsoft.com/office/drawing/2014/main" id="{C4DEF78F-34D9-E727-287C-4E719DF6614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7505" y="4951414"/>
                    <a:ext cx="50800" cy="150813"/>
                  </a:xfrm>
                  <a:custGeom>
                    <a:avLst/>
                    <a:gdLst>
                      <a:gd name="T0" fmla="*/ 8 w 26"/>
                      <a:gd name="T1" fmla="*/ 0 h 77"/>
                      <a:gd name="T2" fmla="*/ 1 w 26"/>
                      <a:gd name="T3" fmla="*/ 34 h 77"/>
                      <a:gd name="T4" fmla="*/ 26 w 26"/>
                      <a:gd name="T5" fmla="*/ 77 h 77"/>
                      <a:gd name="T6" fmla="*/ 12 w 26"/>
                      <a:gd name="T7" fmla="*/ 31 h 77"/>
                      <a:gd name="T8" fmla="*/ 5 w 26"/>
                      <a:gd name="T9" fmla="*/ 28 h 77"/>
                      <a:gd name="T10" fmla="*/ 12 w 26"/>
                      <a:gd name="T11" fmla="*/ 23 h 77"/>
                      <a:gd name="T12" fmla="*/ 12 w 26"/>
                      <a:gd name="T13" fmla="*/ 1 h 77"/>
                      <a:gd name="T14" fmla="*/ 8 w 26"/>
                      <a:gd name="T15" fmla="*/ 0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6" h="77">
                        <a:moveTo>
                          <a:pt x="8" y="0"/>
                        </a:moveTo>
                        <a:cubicBezTo>
                          <a:pt x="8" y="0"/>
                          <a:pt x="0" y="15"/>
                          <a:pt x="1" y="34"/>
                        </a:cubicBezTo>
                        <a:cubicBezTo>
                          <a:pt x="2" y="54"/>
                          <a:pt x="22" y="73"/>
                          <a:pt x="26" y="77"/>
                        </a:cubicBezTo>
                        <a:cubicBezTo>
                          <a:pt x="16" y="59"/>
                          <a:pt x="12" y="31"/>
                          <a:pt x="12" y="31"/>
                        </a:cubicBezTo>
                        <a:cubicBezTo>
                          <a:pt x="5" y="28"/>
                          <a:pt x="5" y="28"/>
                          <a:pt x="5" y="28"/>
                        </a:cubicBezTo>
                        <a:cubicBezTo>
                          <a:pt x="12" y="23"/>
                          <a:pt x="12" y="23"/>
                          <a:pt x="12" y="23"/>
                        </a:cubicBezTo>
                        <a:cubicBezTo>
                          <a:pt x="12" y="1"/>
                          <a:pt x="12" y="1"/>
                          <a:pt x="12" y="1"/>
                        </a:cubicBezTo>
                        <a:lnTo>
                          <a:pt x="8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" name="Freeform 275">
                    <a:extLst>
                      <a:ext uri="{FF2B5EF4-FFF2-40B4-BE49-F238E27FC236}">
                        <a16:creationId xmlns:a16="http://schemas.microsoft.com/office/drawing/2014/main" id="{56174142-D781-B0C6-1845-ABC6A2D58F2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87317" y="5113339"/>
                    <a:ext cx="174625" cy="79375"/>
                  </a:xfrm>
                  <a:custGeom>
                    <a:avLst/>
                    <a:gdLst>
                      <a:gd name="T0" fmla="*/ 1 w 110"/>
                      <a:gd name="T1" fmla="*/ 0 h 50"/>
                      <a:gd name="T2" fmla="*/ 110 w 110"/>
                      <a:gd name="T3" fmla="*/ 22 h 50"/>
                      <a:gd name="T4" fmla="*/ 95 w 110"/>
                      <a:gd name="T5" fmla="*/ 50 h 50"/>
                      <a:gd name="T6" fmla="*/ 0 w 110"/>
                      <a:gd name="T7" fmla="*/ 12 h 50"/>
                      <a:gd name="T8" fmla="*/ 1 w 110"/>
                      <a:gd name="T9" fmla="*/ 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0" h="50">
                        <a:moveTo>
                          <a:pt x="1" y="0"/>
                        </a:moveTo>
                        <a:lnTo>
                          <a:pt x="110" y="22"/>
                        </a:lnTo>
                        <a:lnTo>
                          <a:pt x="95" y="50"/>
                        </a:lnTo>
                        <a:lnTo>
                          <a:pt x="0" y="12"/>
                        </a:ln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" name="Freeform 276">
                    <a:extLst>
                      <a:ext uri="{FF2B5EF4-FFF2-40B4-BE49-F238E27FC236}">
                        <a16:creationId xmlns:a16="http://schemas.microsoft.com/office/drawing/2014/main" id="{BFE72957-C71A-3F0A-5CE6-E811A44CBF7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77805" y="4949826"/>
                    <a:ext cx="252413" cy="258763"/>
                  </a:xfrm>
                  <a:custGeom>
                    <a:avLst/>
                    <a:gdLst>
                      <a:gd name="T0" fmla="*/ 7 w 128"/>
                      <a:gd name="T1" fmla="*/ 93 h 132"/>
                      <a:gd name="T2" fmla="*/ 49 w 128"/>
                      <a:gd name="T3" fmla="*/ 102 h 132"/>
                      <a:gd name="T4" fmla="*/ 91 w 128"/>
                      <a:gd name="T5" fmla="*/ 24 h 132"/>
                      <a:gd name="T6" fmla="*/ 121 w 128"/>
                      <a:gd name="T7" fmla="*/ 53 h 132"/>
                      <a:gd name="T8" fmla="*/ 70 w 128"/>
                      <a:gd name="T9" fmla="*/ 119 h 132"/>
                      <a:gd name="T10" fmla="*/ 38 w 128"/>
                      <a:gd name="T11" fmla="*/ 127 h 132"/>
                      <a:gd name="T12" fmla="*/ 0 w 128"/>
                      <a:gd name="T13" fmla="*/ 112 h 132"/>
                      <a:gd name="T14" fmla="*/ 7 w 128"/>
                      <a:gd name="T15" fmla="*/ 93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8" h="132">
                        <a:moveTo>
                          <a:pt x="7" y="93"/>
                        </a:moveTo>
                        <a:cubicBezTo>
                          <a:pt x="49" y="102"/>
                          <a:pt x="49" y="102"/>
                          <a:pt x="49" y="102"/>
                        </a:cubicBezTo>
                        <a:cubicBezTo>
                          <a:pt x="49" y="102"/>
                          <a:pt x="81" y="54"/>
                          <a:pt x="91" y="24"/>
                        </a:cubicBezTo>
                        <a:cubicBezTo>
                          <a:pt x="109" y="0"/>
                          <a:pt x="128" y="26"/>
                          <a:pt x="121" y="53"/>
                        </a:cubicBezTo>
                        <a:cubicBezTo>
                          <a:pt x="101" y="86"/>
                          <a:pt x="82" y="108"/>
                          <a:pt x="70" y="119"/>
                        </a:cubicBezTo>
                        <a:cubicBezTo>
                          <a:pt x="55" y="132"/>
                          <a:pt x="38" y="127"/>
                          <a:pt x="38" y="127"/>
                        </a:cubicBezTo>
                        <a:cubicBezTo>
                          <a:pt x="38" y="127"/>
                          <a:pt x="14" y="117"/>
                          <a:pt x="0" y="112"/>
                        </a:cubicBezTo>
                        <a:lnTo>
                          <a:pt x="7" y="93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" name="Freeform 278">
                    <a:extLst>
                      <a:ext uri="{FF2B5EF4-FFF2-40B4-BE49-F238E27FC236}">
                        <a16:creationId xmlns:a16="http://schemas.microsoft.com/office/drawing/2014/main" id="{A8EEE86D-A081-6B65-77F3-461CE2FBD29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12705" y="5087939"/>
                    <a:ext cx="79375" cy="46038"/>
                  </a:xfrm>
                  <a:custGeom>
                    <a:avLst/>
                    <a:gdLst>
                      <a:gd name="T0" fmla="*/ 40 w 40"/>
                      <a:gd name="T1" fmla="*/ 14 h 24"/>
                      <a:gd name="T2" fmla="*/ 31 w 40"/>
                      <a:gd name="T3" fmla="*/ 9 h 24"/>
                      <a:gd name="T4" fmla="*/ 24 w 40"/>
                      <a:gd name="T5" fmla="*/ 4 h 24"/>
                      <a:gd name="T6" fmla="*/ 21 w 40"/>
                      <a:gd name="T7" fmla="*/ 2 h 24"/>
                      <a:gd name="T8" fmla="*/ 4 w 40"/>
                      <a:gd name="T9" fmla="*/ 1 h 24"/>
                      <a:gd name="T10" fmla="*/ 4 w 40"/>
                      <a:gd name="T11" fmla="*/ 2 h 24"/>
                      <a:gd name="T12" fmla="*/ 12 w 40"/>
                      <a:gd name="T13" fmla="*/ 4 h 24"/>
                      <a:gd name="T14" fmla="*/ 1 w 40"/>
                      <a:gd name="T15" fmla="*/ 7 h 24"/>
                      <a:gd name="T16" fmla="*/ 3 w 40"/>
                      <a:gd name="T17" fmla="*/ 9 h 24"/>
                      <a:gd name="T18" fmla="*/ 11 w 40"/>
                      <a:gd name="T19" fmla="*/ 8 h 24"/>
                      <a:gd name="T20" fmla="*/ 25 w 40"/>
                      <a:gd name="T21" fmla="*/ 20 h 24"/>
                      <a:gd name="T22" fmla="*/ 19 w 40"/>
                      <a:gd name="T23" fmla="*/ 21 h 24"/>
                      <a:gd name="T24" fmla="*/ 22 w 40"/>
                      <a:gd name="T25" fmla="*/ 24 h 24"/>
                      <a:gd name="T26" fmla="*/ 39 w 40"/>
                      <a:gd name="T27" fmla="*/ 23 h 24"/>
                      <a:gd name="T28" fmla="*/ 40 w 40"/>
                      <a:gd name="T29" fmla="*/ 14 h 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0" h="24">
                        <a:moveTo>
                          <a:pt x="40" y="14"/>
                        </a:moveTo>
                        <a:cubicBezTo>
                          <a:pt x="40" y="14"/>
                          <a:pt x="35" y="12"/>
                          <a:pt x="31" y="9"/>
                        </a:cubicBezTo>
                        <a:cubicBezTo>
                          <a:pt x="28" y="7"/>
                          <a:pt x="24" y="4"/>
                          <a:pt x="24" y="4"/>
                        </a:cubicBezTo>
                        <a:cubicBezTo>
                          <a:pt x="24" y="4"/>
                          <a:pt x="23" y="3"/>
                          <a:pt x="21" y="2"/>
                        </a:cubicBezTo>
                        <a:cubicBezTo>
                          <a:pt x="20" y="1"/>
                          <a:pt x="12" y="0"/>
                          <a:pt x="4" y="1"/>
                        </a:cubicBezTo>
                        <a:cubicBezTo>
                          <a:pt x="3" y="1"/>
                          <a:pt x="3" y="2"/>
                          <a:pt x="4" y="2"/>
                        </a:cubicBezTo>
                        <a:cubicBezTo>
                          <a:pt x="5" y="3"/>
                          <a:pt x="12" y="4"/>
                          <a:pt x="12" y="4"/>
                        </a:cubicBezTo>
                        <a:cubicBezTo>
                          <a:pt x="12" y="4"/>
                          <a:pt x="3" y="6"/>
                          <a:pt x="1" y="7"/>
                        </a:cubicBezTo>
                        <a:cubicBezTo>
                          <a:pt x="0" y="7"/>
                          <a:pt x="1" y="9"/>
                          <a:pt x="3" y="9"/>
                        </a:cubicBezTo>
                        <a:cubicBezTo>
                          <a:pt x="4" y="9"/>
                          <a:pt x="11" y="8"/>
                          <a:pt x="11" y="8"/>
                        </a:cubicBezTo>
                        <a:cubicBezTo>
                          <a:pt x="25" y="20"/>
                          <a:pt x="25" y="20"/>
                          <a:pt x="25" y="20"/>
                        </a:cubicBezTo>
                        <a:cubicBezTo>
                          <a:pt x="19" y="21"/>
                          <a:pt x="19" y="21"/>
                          <a:pt x="19" y="21"/>
                        </a:cubicBezTo>
                        <a:cubicBezTo>
                          <a:pt x="22" y="24"/>
                          <a:pt x="22" y="24"/>
                          <a:pt x="22" y="24"/>
                        </a:cubicBezTo>
                        <a:cubicBezTo>
                          <a:pt x="22" y="24"/>
                          <a:pt x="30" y="24"/>
                          <a:pt x="39" y="23"/>
                        </a:cubicBezTo>
                        <a:lnTo>
                          <a:pt x="40" y="14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" name="Freeform 279">
                    <a:extLst>
                      <a:ext uri="{FF2B5EF4-FFF2-40B4-BE49-F238E27FC236}">
                        <a16:creationId xmlns:a16="http://schemas.microsoft.com/office/drawing/2014/main" id="{35F2CBED-E031-A931-7B53-CB2DC448051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2405" y="5707064"/>
                    <a:ext cx="63500" cy="38100"/>
                  </a:xfrm>
                  <a:custGeom>
                    <a:avLst/>
                    <a:gdLst>
                      <a:gd name="T0" fmla="*/ 11 w 32"/>
                      <a:gd name="T1" fmla="*/ 9 h 19"/>
                      <a:gd name="T2" fmla="*/ 2 w 32"/>
                      <a:gd name="T3" fmla="*/ 11 h 19"/>
                      <a:gd name="T4" fmla="*/ 1 w 32"/>
                      <a:gd name="T5" fmla="*/ 14 h 19"/>
                      <a:gd name="T6" fmla="*/ 13 w 32"/>
                      <a:gd name="T7" fmla="*/ 16 h 19"/>
                      <a:gd name="T8" fmla="*/ 23 w 32"/>
                      <a:gd name="T9" fmla="*/ 10 h 19"/>
                      <a:gd name="T10" fmla="*/ 22 w 32"/>
                      <a:gd name="T11" fmla="*/ 18 h 19"/>
                      <a:gd name="T12" fmla="*/ 26 w 32"/>
                      <a:gd name="T13" fmla="*/ 19 h 19"/>
                      <a:gd name="T14" fmla="*/ 30 w 32"/>
                      <a:gd name="T15" fmla="*/ 6 h 19"/>
                      <a:gd name="T16" fmla="*/ 31 w 32"/>
                      <a:gd name="T17" fmla="*/ 0 h 19"/>
                      <a:gd name="T18" fmla="*/ 23 w 32"/>
                      <a:gd name="T19" fmla="*/ 5 h 19"/>
                      <a:gd name="T20" fmla="*/ 11 w 32"/>
                      <a:gd name="T21" fmla="*/ 9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2" h="19">
                        <a:moveTo>
                          <a:pt x="11" y="9"/>
                        </a:moveTo>
                        <a:cubicBezTo>
                          <a:pt x="8" y="9"/>
                          <a:pt x="3" y="11"/>
                          <a:pt x="2" y="11"/>
                        </a:cubicBezTo>
                        <a:cubicBezTo>
                          <a:pt x="0" y="11"/>
                          <a:pt x="1" y="14"/>
                          <a:pt x="1" y="14"/>
                        </a:cubicBezTo>
                        <a:cubicBezTo>
                          <a:pt x="1" y="14"/>
                          <a:pt x="11" y="15"/>
                          <a:pt x="13" y="16"/>
                        </a:cubicBezTo>
                        <a:cubicBezTo>
                          <a:pt x="15" y="16"/>
                          <a:pt x="23" y="10"/>
                          <a:pt x="23" y="10"/>
                        </a:cubicBezTo>
                        <a:cubicBezTo>
                          <a:pt x="22" y="18"/>
                          <a:pt x="22" y="18"/>
                          <a:pt x="22" y="18"/>
                        </a:cubicBezTo>
                        <a:cubicBezTo>
                          <a:pt x="26" y="19"/>
                          <a:pt x="26" y="19"/>
                          <a:pt x="26" y="19"/>
                        </a:cubicBezTo>
                        <a:cubicBezTo>
                          <a:pt x="26" y="19"/>
                          <a:pt x="28" y="12"/>
                          <a:pt x="30" y="6"/>
                        </a:cubicBezTo>
                        <a:cubicBezTo>
                          <a:pt x="32" y="3"/>
                          <a:pt x="31" y="0"/>
                          <a:pt x="31" y="0"/>
                        </a:cubicBezTo>
                        <a:cubicBezTo>
                          <a:pt x="31" y="0"/>
                          <a:pt x="29" y="0"/>
                          <a:pt x="23" y="5"/>
                        </a:cubicBezTo>
                        <a:cubicBezTo>
                          <a:pt x="17" y="11"/>
                          <a:pt x="13" y="9"/>
                          <a:pt x="11" y="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4" name="Freeform 179">
                  <a:extLst>
                    <a:ext uri="{FF2B5EF4-FFF2-40B4-BE49-F238E27FC236}">
                      <a16:creationId xmlns:a16="http://schemas.microsoft.com/office/drawing/2014/main" id="{872E7799-8412-BF0A-4A33-CB820881E76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81113" y="4808808"/>
                  <a:ext cx="566968" cy="273800"/>
                </a:xfrm>
                <a:custGeom>
                  <a:avLst/>
                  <a:gdLst>
                    <a:gd name="T0" fmla="*/ 262 w 551"/>
                    <a:gd name="T1" fmla="*/ 0 h 266"/>
                    <a:gd name="T2" fmla="*/ 238 w 551"/>
                    <a:gd name="T3" fmla="*/ 1 h 266"/>
                    <a:gd name="T4" fmla="*/ 240 w 551"/>
                    <a:gd name="T5" fmla="*/ 6 h 266"/>
                    <a:gd name="T6" fmla="*/ 264 w 551"/>
                    <a:gd name="T7" fmla="*/ 12 h 266"/>
                    <a:gd name="T8" fmla="*/ 282 w 551"/>
                    <a:gd name="T9" fmla="*/ 24 h 266"/>
                    <a:gd name="T10" fmla="*/ 281 w 551"/>
                    <a:gd name="T11" fmla="*/ 24 h 266"/>
                    <a:gd name="T12" fmla="*/ 280 w 551"/>
                    <a:gd name="T13" fmla="*/ 111 h 266"/>
                    <a:gd name="T14" fmla="*/ 218 w 551"/>
                    <a:gd name="T15" fmla="*/ 100 h 266"/>
                    <a:gd name="T16" fmla="*/ 166 w 551"/>
                    <a:gd name="T17" fmla="*/ 128 h 266"/>
                    <a:gd name="T18" fmla="*/ 94 w 551"/>
                    <a:gd name="T19" fmla="*/ 246 h 266"/>
                    <a:gd name="T20" fmla="*/ 0 w 551"/>
                    <a:gd name="T21" fmla="*/ 266 h 266"/>
                    <a:gd name="T22" fmla="*/ 224 w 551"/>
                    <a:gd name="T23" fmla="*/ 266 h 266"/>
                    <a:gd name="T24" fmla="*/ 241 w 551"/>
                    <a:gd name="T25" fmla="*/ 240 h 266"/>
                    <a:gd name="T26" fmla="*/ 212 w 551"/>
                    <a:gd name="T27" fmla="*/ 236 h 266"/>
                    <a:gd name="T28" fmla="*/ 217 w 551"/>
                    <a:gd name="T29" fmla="*/ 156 h 266"/>
                    <a:gd name="T30" fmla="*/ 280 w 551"/>
                    <a:gd name="T31" fmla="*/ 166 h 266"/>
                    <a:gd name="T32" fmla="*/ 279 w 551"/>
                    <a:gd name="T33" fmla="*/ 266 h 266"/>
                    <a:gd name="T34" fmla="*/ 364 w 551"/>
                    <a:gd name="T35" fmla="*/ 266 h 266"/>
                    <a:gd name="T36" fmla="*/ 348 w 551"/>
                    <a:gd name="T37" fmla="*/ 167 h 266"/>
                    <a:gd name="T38" fmla="*/ 451 w 551"/>
                    <a:gd name="T39" fmla="*/ 166 h 266"/>
                    <a:gd name="T40" fmla="*/ 510 w 551"/>
                    <a:gd name="T41" fmla="*/ 167 h 266"/>
                    <a:gd name="T42" fmla="*/ 519 w 551"/>
                    <a:gd name="T43" fmla="*/ 168 h 266"/>
                    <a:gd name="T44" fmla="*/ 521 w 551"/>
                    <a:gd name="T45" fmla="*/ 168 h 266"/>
                    <a:gd name="T46" fmla="*/ 545 w 551"/>
                    <a:gd name="T47" fmla="*/ 168 h 266"/>
                    <a:gd name="T48" fmla="*/ 546 w 551"/>
                    <a:gd name="T49" fmla="*/ 160 h 266"/>
                    <a:gd name="T50" fmla="*/ 532 w 551"/>
                    <a:gd name="T51" fmla="*/ 158 h 266"/>
                    <a:gd name="T52" fmla="*/ 548 w 551"/>
                    <a:gd name="T53" fmla="*/ 143 h 266"/>
                    <a:gd name="T54" fmla="*/ 551 w 551"/>
                    <a:gd name="T55" fmla="*/ 121 h 266"/>
                    <a:gd name="T56" fmla="*/ 548 w 551"/>
                    <a:gd name="T57" fmla="*/ 119 h 266"/>
                    <a:gd name="T58" fmla="*/ 545 w 551"/>
                    <a:gd name="T59" fmla="*/ 121 h 266"/>
                    <a:gd name="T60" fmla="*/ 537 w 551"/>
                    <a:gd name="T61" fmla="*/ 135 h 266"/>
                    <a:gd name="T62" fmla="*/ 511 w 551"/>
                    <a:gd name="T63" fmla="*/ 150 h 266"/>
                    <a:gd name="T64" fmla="*/ 338 w 551"/>
                    <a:gd name="T65" fmla="*/ 121 h 266"/>
                    <a:gd name="T66" fmla="*/ 315 w 551"/>
                    <a:gd name="T67" fmla="*/ 27 h 266"/>
                    <a:gd name="T68" fmla="*/ 306 w 551"/>
                    <a:gd name="T69" fmla="*/ 25 h 266"/>
                    <a:gd name="T70" fmla="*/ 306 w 551"/>
                    <a:gd name="T71" fmla="*/ 22 h 266"/>
                    <a:gd name="T72" fmla="*/ 306 w 551"/>
                    <a:gd name="T73" fmla="*/ 0 h 266"/>
                    <a:gd name="T74" fmla="*/ 288 w 551"/>
                    <a:gd name="T75" fmla="*/ 0 h 266"/>
                    <a:gd name="T76" fmla="*/ 287 w 551"/>
                    <a:gd name="T77" fmla="*/ 8 h 266"/>
                    <a:gd name="T78" fmla="*/ 262 w 551"/>
                    <a:gd name="T79" fmla="*/ 0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551" h="266">
                      <a:moveTo>
                        <a:pt x="262" y="0"/>
                      </a:moveTo>
                      <a:cubicBezTo>
                        <a:pt x="238" y="1"/>
                        <a:pt x="238" y="1"/>
                        <a:pt x="238" y="1"/>
                      </a:cubicBezTo>
                      <a:cubicBezTo>
                        <a:pt x="238" y="1"/>
                        <a:pt x="235" y="5"/>
                        <a:pt x="240" y="6"/>
                      </a:cubicBezTo>
                      <a:cubicBezTo>
                        <a:pt x="241" y="6"/>
                        <a:pt x="264" y="12"/>
                        <a:pt x="264" y="12"/>
                      </a:cubicBezTo>
                      <a:cubicBezTo>
                        <a:pt x="282" y="24"/>
                        <a:pt x="282" y="24"/>
                        <a:pt x="282" y="24"/>
                      </a:cubicBezTo>
                      <a:cubicBezTo>
                        <a:pt x="281" y="24"/>
                        <a:pt x="281" y="24"/>
                        <a:pt x="281" y="24"/>
                      </a:cubicBezTo>
                      <a:cubicBezTo>
                        <a:pt x="280" y="111"/>
                        <a:pt x="280" y="111"/>
                        <a:pt x="280" y="111"/>
                      </a:cubicBezTo>
                      <a:cubicBezTo>
                        <a:pt x="218" y="100"/>
                        <a:pt x="218" y="100"/>
                        <a:pt x="218" y="100"/>
                      </a:cubicBezTo>
                      <a:cubicBezTo>
                        <a:pt x="218" y="100"/>
                        <a:pt x="187" y="101"/>
                        <a:pt x="166" y="128"/>
                      </a:cubicBezTo>
                      <a:cubicBezTo>
                        <a:pt x="163" y="132"/>
                        <a:pt x="129" y="188"/>
                        <a:pt x="94" y="246"/>
                      </a:cubicBezTo>
                      <a:cubicBezTo>
                        <a:pt x="63" y="251"/>
                        <a:pt x="31" y="258"/>
                        <a:pt x="0" y="266"/>
                      </a:cubicBezTo>
                      <a:cubicBezTo>
                        <a:pt x="224" y="266"/>
                        <a:pt x="224" y="266"/>
                        <a:pt x="224" y="266"/>
                      </a:cubicBezTo>
                      <a:cubicBezTo>
                        <a:pt x="228" y="258"/>
                        <a:pt x="233" y="249"/>
                        <a:pt x="241" y="240"/>
                      </a:cubicBezTo>
                      <a:cubicBezTo>
                        <a:pt x="234" y="238"/>
                        <a:pt x="224" y="237"/>
                        <a:pt x="212" y="236"/>
                      </a:cubicBezTo>
                      <a:cubicBezTo>
                        <a:pt x="215" y="205"/>
                        <a:pt x="216" y="176"/>
                        <a:pt x="217" y="156"/>
                      </a:cubicBezTo>
                      <a:cubicBezTo>
                        <a:pt x="224" y="162"/>
                        <a:pt x="248" y="165"/>
                        <a:pt x="280" y="166"/>
                      </a:cubicBezTo>
                      <a:cubicBezTo>
                        <a:pt x="279" y="266"/>
                        <a:pt x="279" y="266"/>
                        <a:pt x="279" y="266"/>
                      </a:cubicBezTo>
                      <a:cubicBezTo>
                        <a:pt x="364" y="266"/>
                        <a:pt x="364" y="266"/>
                        <a:pt x="364" y="266"/>
                      </a:cubicBezTo>
                      <a:cubicBezTo>
                        <a:pt x="362" y="236"/>
                        <a:pt x="356" y="201"/>
                        <a:pt x="348" y="167"/>
                      </a:cubicBezTo>
                      <a:cubicBezTo>
                        <a:pt x="382" y="166"/>
                        <a:pt x="417" y="166"/>
                        <a:pt x="451" y="166"/>
                      </a:cubicBezTo>
                      <a:cubicBezTo>
                        <a:pt x="472" y="166"/>
                        <a:pt x="492" y="166"/>
                        <a:pt x="510" y="167"/>
                      </a:cubicBezTo>
                      <a:cubicBezTo>
                        <a:pt x="510" y="167"/>
                        <a:pt x="514" y="168"/>
                        <a:pt x="519" y="168"/>
                      </a:cubicBezTo>
                      <a:cubicBezTo>
                        <a:pt x="520" y="168"/>
                        <a:pt x="520" y="168"/>
                        <a:pt x="521" y="168"/>
                      </a:cubicBezTo>
                      <a:cubicBezTo>
                        <a:pt x="532" y="168"/>
                        <a:pt x="545" y="168"/>
                        <a:pt x="545" y="168"/>
                      </a:cubicBezTo>
                      <a:cubicBezTo>
                        <a:pt x="546" y="160"/>
                        <a:pt x="546" y="160"/>
                        <a:pt x="546" y="160"/>
                      </a:cubicBezTo>
                      <a:cubicBezTo>
                        <a:pt x="532" y="158"/>
                        <a:pt x="532" y="158"/>
                        <a:pt x="532" y="158"/>
                      </a:cubicBezTo>
                      <a:cubicBezTo>
                        <a:pt x="532" y="158"/>
                        <a:pt x="547" y="147"/>
                        <a:pt x="548" y="143"/>
                      </a:cubicBezTo>
                      <a:cubicBezTo>
                        <a:pt x="548" y="139"/>
                        <a:pt x="551" y="121"/>
                        <a:pt x="551" y="121"/>
                      </a:cubicBezTo>
                      <a:cubicBezTo>
                        <a:pt x="551" y="121"/>
                        <a:pt x="549" y="119"/>
                        <a:pt x="548" y="119"/>
                      </a:cubicBezTo>
                      <a:cubicBezTo>
                        <a:pt x="547" y="119"/>
                        <a:pt x="546" y="120"/>
                        <a:pt x="545" y="121"/>
                      </a:cubicBezTo>
                      <a:cubicBezTo>
                        <a:pt x="545" y="123"/>
                        <a:pt x="539" y="131"/>
                        <a:pt x="537" y="135"/>
                      </a:cubicBezTo>
                      <a:cubicBezTo>
                        <a:pt x="511" y="150"/>
                        <a:pt x="511" y="150"/>
                        <a:pt x="511" y="150"/>
                      </a:cubicBezTo>
                      <a:cubicBezTo>
                        <a:pt x="338" y="121"/>
                        <a:pt x="338" y="121"/>
                        <a:pt x="338" y="121"/>
                      </a:cubicBezTo>
                      <a:cubicBezTo>
                        <a:pt x="326" y="73"/>
                        <a:pt x="315" y="27"/>
                        <a:pt x="315" y="27"/>
                      </a:cubicBezTo>
                      <a:cubicBezTo>
                        <a:pt x="306" y="25"/>
                        <a:pt x="306" y="25"/>
                        <a:pt x="306" y="25"/>
                      </a:cubicBezTo>
                      <a:cubicBezTo>
                        <a:pt x="306" y="22"/>
                        <a:pt x="306" y="22"/>
                        <a:pt x="306" y="22"/>
                      </a:cubicBezTo>
                      <a:cubicBezTo>
                        <a:pt x="306" y="0"/>
                        <a:pt x="306" y="0"/>
                        <a:pt x="306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87" y="8"/>
                        <a:pt x="287" y="8"/>
                        <a:pt x="287" y="8"/>
                      </a:cubicBezTo>
                      <a:cubicBezTo>
                        <a:pt x="262" y="0"/>
                        <a:pt x="262" y="0"/>
                        <a:pt x="262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5" name="Freeform 178">
                  <a:extLst>
                    <a:ext uri="{FF2B5EF4-FFF2-40B4-BE49-F238E27FC236}">
                      <a16:creationId xmlns:a16="http://schemas.microsoft.com/office/drawing/2014/main" id="{7B8B5E22-89A1-ABE7-53F2-6445A9CC142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695018" y="4798755"/>
                  <a:ext cx="340636" cy="295218"/>
                </a:xfrm>
                <a:custGeom>
                  <a:avLst/>
                  <a:gdLst>
                    <a:gd name="T0" fmla="*/ 214 w 308"/>
                    <a:gd name="T1" fmla="*/ 0 h 267"/>
                    <a:gd name="T2" fmla="*/ 208 w 308"/>
                    <a:gd name="T3" fmla="*/ 1 h 267"/>
                    <a:gd name="T4" fmla="*/ 210 w 308"/>
                    <a:gd name="T5" fmla="*/ 13 h 267"/>
                    <a:gd name="T6" fmla="*/ 195 w 308"/>
                    <a:gd name="T7" fmla="*/ 4 h 267"/>
                    <a:gd name="T8" fmla="*/ 194 w 308"/>
                    <a:gd name="T9" fmla="*/ 4 h 267"/>
                    <a:gd name="T10" fmla="*/ 175 w 308"/>
                    <a:gd name="T11" fmla="*/ 8 h 267"/>
                    <a:gd name="T12" fmla="*/ 177 w 308"/>
                    <a:gd name="T13" fmla="*/ 12 h 267"/>
                    <a:gd name="T14" fmla="*/ 190 w 308"/>
                    <a:gd name="T15" fmla="*/ 16 h 267"/>
                    <a:gd name="T16" fmla="*/ 210 w 308"/>
                    <a:gd name="T17" fmla="*/ 32 h 267"/>
                    <a:gd name="T18" fmla="*/ 230 w 308"/>
                    <a:gd name="T19" fmla="*/ 190 h 267"/>
                    <a:gd name="T20" fmla="*/ 172 w 308"/>
                    <a:gd name="T21" fmla="*/ 119 h 267"/>
                    <a:gd name="T22" fmla="*/ 124 w 308"/>
                    <a:gd name="T23" fmla="*/ 94 h 267"/>
                    <a:gd name="T24" fmla="*/ 74 w 308"/>
                    <a:gd name="T25" fmla="*/ 128 h 267"/>
                    <a:gd name="T26" fmla="*/ 0 w 308"/>
                    <a:gd name="T27" fmla="*/ 267 h 267"/>
                    <a:gd name="T28" fmla="*/ 135 w 308"/>
                    <a:gd name="T29" fmla="*/ 267 h 267"/>
                    <a:gd name="T30" fmla="*/ 139 w 308"/>
                    <a:gd name="T31" fmla="*/ 192 h 267"/>
                    <a:gd name="T32" fmla="*/ 218 w 308"/>
                    <a:gd name="T33" fmla="*/ 267 h 267"/>
                    <a:gd name="T34" fmla="*/ 308 w 308"/>
                    <a:gd name="T35" fmla="*/ 267 h 267"/>
                    <a:gd name="T36" fmla="*/ 223 w 308"/>
                    <a:gd name="T37" fmla="*/ 29 h 267"/>
                    <a:gd name="T38" fmla="*/ 222 w 308"/>
                    <a:gd name="T39" fmla="*/ 20 h 267"/>
                    <a:gd name="T40" fmla="*/ 214 w 308"/>
                    <a:gd name="T41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08" h="267">
                      <a:moveTo>
                        <a:pt x="214" y="0"/>
                      </a:moveTo>
                      <a:cubicBezTo>
                        <a:pt x="208" y="1"/>
                        <a:pt x="208" y="1"/>
                        <a:pt x="208" y="1"/>
                      </a:cubicBezTo>
                      <a:cubicBezTo>
                        <a:pt x="210" y="13"/>
                        <a:pt x="210" y="13"/>
                        <a:pt x="210" y="13"/>
                      </a:cubicBezTo>
                      <a:cubicBezTo>
                        <a:pt x="210" y="13"/>
                        <a:pt x="198" y="4"/>
                        <a:pt x="195" y="4"/>
                      </a:cubicBezTo>
                      <a:cubicBezTo>
                        <a:pt x="194" y="4"/>
                        <a:pt x="194" y="4"/>
                        <a:pt x="194" y="4"/>
                      </a:cubicBezTo>
                      <a:cubicBezTo>
                        <a:pt x="191" y="5"/>
                        <a:pt x="175" y="8"/>
                        <a:pt x="175" y="8"/>
                      </a:cubicBezTo>
                      <a:cubicBezTo>
                        <a:pt x="175" y="8"/>
                        <a:pt x="173" y="12"/>
                        <a:pt x="177" y="12"/>
                      </a:cubicBezTo>
                      <a:cubicBezTo>
                        <a:pt x="178" y="12"/>
                        <a:pt x="187" y="15"/>
                        <a:pt x="190" y="16"/>
                      </a:cubicBezTo>
                      <a:cubicBezTo>
                        <a:pt x="210" y="32"/>
                        <a:pt x="210" y="32"/>
                        <a:pt x="210" y="32"/>
                      </a:cubicBezTo>
                      <a:cubicBezTo>
                        <a:pt x="230" y="190"/>
                        <a:pt x="230" y="190"/>
                        <a:pt x="230" y="190"/>
                      </a:cubicBezTo>
                      <a:cubicBezTo>
                        <a:pt x="200" y="154"/>
                        <a:pt x="177" y="125"/>
                        <a:pt x="172" y="119"/>
                      </a:cubicBezTo>
                      <a:cubicBezTo>
                        <a:pt x="164" y="107"/>
                        <a:pt x="145" y="94"/>
                        <a:pt x="124" y="94"/>
                      </a:cubicBezTo>
                      <a:cubicBezTo>
                        <a:pt x="107" y="94"/>
                        <a:pt x="89" y="102"/>
                        <a:pt x="74" y="128"/>
                      </a:cubicBezTo>
                      <a:cubicBezTo>
                        <a:pt x="54" y="164"/>
                        <a:pt x="24" y="222"/>
                        <a:pt x="0" y="267"/>
                      </a:cubicBezTo>
                      <a:cubicBezTo>
                        <a:pt x="135" y="267"/>
                        <a:pt x="135" y="267"/>
                        <a:pt x="135" y="267"/>
                      </a:cubicBezTo>
                      <a:cubicBezTo>
                        <a:pt x="138" y="241"/>
                        <a:pt x="139" y="214"/>
                        <a:pt x="139" y="192"/>
                      </a:cubicBezTo>
                      <a:cubicBezTo>
                        <a:pt x="218" y="267"/>
                        <a:pt x="218" y="267"/>
                        <a:pt x="218" y="267"/>
                      </a:cubicBezTo>
                      <a:cubicBezTo>
                        <a:pt x="308" y="267"/>
                        <a:pt x="308" y="267"/>
                        <a:pt x="308" y="267"/>
                      </a:cubicBezTo>
                      <a:cubicBezTo>
                        <a:pt x="297" y="187"/>
                        <a:pt x="223" y="29"/>
                        <a:pt x="223" y="29"/>
                      </a:cubicBezTo>
                      <a:cubicBezTo>
                        <a:pt x="223" y="29"/>
                        <a:pt x="223" y="24"/>
                        <a:pt x="222" y="20"/>
                      </a:cubicBezTo>
                      <a:cubicBezTo>
                        <a:pt x="218" y="11"/>
                        <a:pt x="214" y="0"/>
                        <a:pt x="214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6" name="Freeform 176">
                  <a:extLst>
                    <a:ext uri="{FF2B5EF4-FFF2-40B4-BE49-F238E27FC236}">
                      <a16:creationId xmlns:a16="http://schemas.microsoft.com/office/drawing/2014/main" id="{B89C05CE-16A7-461F-4956-1D34F717992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36034" y="4916018"/>
                  <a:ext cx="541027" cy="181578"/>
                </a:xfrm>
                <a:custGeom>
                  <a:avLst/>
                  <a:gdLst>
                    <a:gd name="T0" fmla="*/ 91 w 375"/>
                    <a:gd name="T1" fmla="*/ 0 h 126"/>
                    <a:gd name="T2" fmla="*/ 48 w 375"/>
                    <a:gd name="T3" fmla="*/ 25 h 126"/>
                    <a:gd name="T4" fmla="*/ 0 w 375"/>
                    <a:gd name="T5" fmla="*/ 126 h 126"/>
                    <a:gd name="T6" fmla="*/ 88 w 375"/>
                    <a:gd name="T7" fmla="*/ 126 h 126"/>
                    <a:gd name="T8" fmla="*/ 92 w 375"/>
                    <a:gd name="T9" fmla="*/ 48 h 126"/>
                    <a:gd name="T10" fmla="*/ 152 w 375"/>
                    <a:gd name="T11" fmla="*/ 55 h 126"/>
                    <a:gd name="T12" fmla="*/ 240 w 375"/>
                    <a:gd name="T13" fmla="*/ 52 h 126"/>
                    <a:gd name="T14" fmla="*/ 331 w 375"/>
                    <a:gd name="T15" fmla="*/ 50 h 126"/>
                    <a:gd name="T16" fmla="*/ 341 w 375"/>
                    <a:gd name="T17" fmla="*/ 50 h 126"/>
                    <a:gd name="T18" fmla="*/ 349 w 375"/>
                    <a:gd name="T19" fmla="*/ 51 h 126"/>
                    <a:gd name="T20" fmla="*/ 351 w 375"/>
                    <a:gd name="T21" fmla="*/ 51 h 126"/>
                    <a:gd name="T22" fmla="*/ 371 w 375"/>
                    <a:gd name="T23" fmla="*/ 50 h 126"/>
                    <a:gd name="T24" fmla="*/ 372 w 375"/>
                    <a:gd name="T25" fmla="*/ 44 h 126"/>
                    <a:gd name="T26" fmla="*/ 360 w 375"/>
                    <a:gd name="T27" fmla="*/ 42 h 126"/>
                    <a:gd name="T28" fmla="*/ 373 w 375"/>
                    <a:gd name="T29" fmla="*/ 29 h 126"/>
                    <a:gd name="T30" fmla="*/ 375 w 375"/>
                    <a:gd name="T31" fmla="*/ 10 h 126"/>
                    <a:gd name="T32" fmla="*/ 372 w 375"/>
                    <a:gd name="T33" fmla="*/ 9 h 126"/>
                    <a:gd name="T34" fmla="*/ 370 w 375"/>
                    <a:gd name="T35" fmla="*/ 10 h 126"/>
                    <a:gd name="T36" fmla="*/ 363 w 375"/>
                    <a:gd name="T37" fmla="*/ 22 h 126"/>
                    <a:gd name="T38" fmla="*/ 342 w 375"/>
                    <a:gd name="T39" fmla="*/ 36 h 126"/>
                    <a:gd name="T40" fmla="*/ 176 w 375"/>
                    <a:gd name="T41" fmla="*/ 13 h 126"/>
                    <a:gd name="T42" fmla="*/ 91 w 375"/>
                    <a:gd name="T43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75" h="126">
                      <a:moveTo>
                        <a:pt x="91" y="0"/>
                      </a:moveTo>
                      <a:cubicBezTo>
                        <a:pt x="91" y="0"/>
                        <a:pt x="65" y="2"/>
                        <a:pt x="48" y="25"/>
                      </a:cubicBezTo>
                      <a:cubicBezTo>
                        <a:pt x="46" y="29"/>
                        <a:pt x="23" y="76"/>
                        <a:pt x="0" y="126"/>
                      </a:cubicBezTo>
                      <a:cubicBezTo>
                        <a:pt x="88" y="126"/>
                        <a:pt x="88" y="126"/>
                        <a:pt x="88" y="126"/>
                      </a:cubicBezTo>
                      <a:cubicBezTo>
                        <a:pt x="91" y="96"/>
                        <a:pt x="92" y="67"/>
                        <a:pt x="92" y="48"/>
                      </a:cubicBezTo>
                      <a:cubicBezTo>
                        <a:pt x="99" y="53"/>
                        <a:pt x="121" y="55"/>
                        <a:pt x="152" y="55"/>
                      </a:cubicBezTo>
                      <a:cubicBezTo>
                        <a:pt x="177" y="55"/>
                        <a:pt x="208" y="53"/>
                        <a:pt x="240" y="52"/>
                      </a:cubicBezTo>
                      <a:cubicBezTo>
                        <a:pt x="271" y="51"/>
                        <a:pt x="303" y="50"/>
                        <a:pt x="331" y="50"/>
                      </a:cubicBezTo>
                      <a:cubicBezTo>
                        <a:pt x="334" y="50"/>
                        <a:pt x="338" y="50"/>
                        <a:pt x="341" y="50"/>
                      </a:cubicBezTo>
                      <a:cubicBezTo>
                        <a:pt x="341" y="50"/>
                        <a:pt x="345" y="51"/>
                        <a:pt x="349" y="51"/>
                      </a:cubicBezTo>
                      <a:cubicBezTo>
                        <a:pt x="349" y="51"/>
                        <a:pt x="350" y="51"/>
                        <a:pt x="351" y="51"/>
                      </a:cubicBezTo>
                      <a:cubicBezTo>
                        <a:pt x="360" y="50"/>
                        <a:pt x="371" y="50"/>
                        <a:pt x="371" y="50"/>
                      </a:cubicBezTo>
                      <a:cubicBezTo>
                        <a:pt x="372" y="44"/>
                        <a:pt x="372" y="44"/>
                        <a:pt x="372" y="44"/>
                      </a:cubicBezTo>
                      <a:cubicBezTo>
                        <a:pt x="360" y="42"/>
                        <a:pt x="360" y="42"/>
                        <a:pt x="360" y="42"/>
                      </a:cubicBezTo>
                      <a:cubicBezTo>
                        <a:pt x="360" y="42"/>
                        <a:pt x="373" y="33"/>
                        <a:pt x="373" y="29"/>
                      </a:cubicBezTo>
                      <a:cubicBezTo>
                        <a:pt x="373" y="26"/>
                        <a:pt x="375" y="10"/>
                        <a:pt x="375" y="10"/>
                      </a:cubicBezTo>
                      <a:cubicBezTo>
                        <a:pt x="375" y="10"/>
                        <a:pt x="374" y="9"/>
                        <a:pt x="372" y="9"/>
                      </a:cubicBezTo>
                      <a:cubicBezTo>
                        <a:pt x="372" y="9"/>
                        <a:pt x="371" y="9"/>
                        <a:pt x="370" y="10"/>
                      </a:cubicBezTo>
                      <a:cubicBezTo>
                        <a:pt x="370" y="11"/>
                        <a:pt x="365" y="19"/>
                        <a:pt x="363" y="22"/>
                      </a:cubicBezTo>
                      <a:cubicBezTo>
                        <a:pt x="342" y="36"/>
                        <a:pt x="342" y="36"/>
                        <a:pt x="342" y="36"/>
                      </a:cubicBezTo>
                      <a:cubicBezTo>
                        <a:pt x="176" y="13"/>
                        <a:pt x="176" y="13"/>
                        <a:pt x="176" y="13"/>
                      </a:cubicBezTo>
                      <a:cubicBezTo>
                        <a:pt x="91" y="0"/>
                        <a:pt x="91" y="0"/>
                        <a:pt x="91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5973639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62B399A-3A33-3B05-8F5E-B37C75D957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8792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606" imgH="608" progId="TCLayout.ActiveDocument.1">
                  <p:embed/>
                </p:oleObj>
              </mc:Choice>
              <mc:Fallback>
                <p:oleObj name="think-cell Folie" r:id="rId22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9F9393C-47D2-492D-B00B-7679F200F9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11305257" cy="936104"/>
          </a:xfrm>
        </p:spPr>
        <p:txBody>
          <a:bodyPr vert="horz"/>
          <a:lstStyle/>
          <a:p>
            <a:r>
              <a:rPr lang="de-DE" dirty="0"/>
              <a:t>Die wirtschaftliche Situation</a:t>
            </a:r>
          </a:p>
        </p:txBody>
      </p:sp>
      <p:cxnSp>
        <p:nvCxnSpPr>
          <p:cNvPr id="11" name="element_02_01">
            <a:extLst>
              <a:ext uri="{FF2B5EF4-FFF2-40B4-BE49-F238E27FC236}">
                <a16:creationId xmlns:a16="http://schemas.microsoft.com/office/drawing/2014/main" id="{352CDCF3-AB34-4D61-B4BF-2A0C3E2FC1C3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 flipV="1">
            <a:off x="443372" y="2544942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element_03_01">
            <a:extLst>
              <a:ext uri="{FF2B5EF4-FFF2-40B4-BE49-F238E27FC236}">
                <a16:creationId xmlns:a16="http://schemas.microsoft.com/office/drawing/2014/main" id="{CEAF6B31-F564-43D1-8CD3-CE011B528931}"/>
              </a:ext>
            </a:extLst>
          </p:cNvPr>
          <p:cNvSpPr txBox="1"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443372" y="1772800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195" name="element_02_02">
            <a:extLst>
              <a:ext uri="{FF2B5EF4-FFF2-40B4-BE49-F238E27FC236}">
                <a16:creationId xmlns:a16="http://schemas.microsoft.com/office/drawing/2014/main" id="{0ED78AB7-C764-49C8-B2C8-3459AFE20FA2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V="1">
            <a:off x="443372" y="3461084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6" name="element_03_02">
            <a:extLst>
              <a:ext uri="{FF2B5EF4-FFF2-40B4-BE49-F238E27FC236}">
                <a16:creationId xmlns:a16="http://schemas.microsoft.com/office/drawing/2014/main" id="{4E5D2298-B072-42C2-8CE4-B549C3DD60DE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443372" y="2688942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9" name="element_01_01">
            <a:extLst>
              <a:ext uri="{FF2B5EF4-FFF2-40B4-BE49-F238E27FC236}">
                <a16:creationId xmlns:a16="http://schemas.microsoft.com/office/drawing/2014/main" id="{4A06B78B-6B33-4A42-A99F-875FA8A9EC3E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963553" y="1628800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Hartmarkt-Phase neigt sich dem Ende zu, Kapazitäten (meistens) ausreichend vorhanden</a:t>
            </a:r>
          </a:p>
        </p:txBody>
      </p:sp>
      <p:sp>
        <p:nvSpPr>
          <p:cNvPr id="10" name="element_01_02">
            <a:extLst>
              <a:ext uri="{FF2B5EF4-FFF2-40B4-BE49-F238E27FC236}">
                <a16:creationId xmlns:a16="http://schemas.microsoft.com/office/drawing/2014/main" id="{837DF0C1-FD9C-4E70-2321-73BADDBCD2E5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963553" y="2544942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Neue Player im Markt und steigender Risikoappetit sorgen für mehr Wettbewerb</a:t>
            </a:r>
          </a:p>
        </p:txBody>
      </p:sp>
      <p:cxnSp>
        <p:nvCxnSpPr>
          <p:cNvPr id="20" name="element_02_03">
            <a:extLst>
              <a:ext uri="{FF2B5EF4-FFF2-40B4-BE49-F238E27FC236}">
                <a16:creationId xmlns:a16="http://schemas.microsoft.com/office/drawing/2014/main" id="{EE64DFA8-87B5-7CA1-0990-2F33B0E08922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V="1">
            <a:off x="442910" y="4377226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" name="element_03_03">
            <a:extLst>
              <a:ext uri="{FF2B5EF4-FFF2-40B4-BE49-F238E27FC236}">
                <a16:creationId xmlns:a16="http://schemas.microsoft.com/office/drawing/2014/main" id="{CA119E40-9EDB-A6BE-7AF6-C93E56282EAA}"/>
              </a:ext>
            </a:extLst>
          </p:cNvPr>
          <p:cNvSpPr txBox="1">
            <a:spLocks noChangeAspect="1"/>
          </p:cNvSpPr>
          <p:nvPr>
            <p:custDataLst>
              <p:tags r:id="rId9"/>
            </p:custDataLst>
          </p:nvPr>
        </p:nvSpPr>
        <p:spPr bwMode="gray">
          <a:xfrm>
            <a:off x="443372" y="3605084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2" name="element_01_03">
            <a:extLst>
              <a:ext uri="{FF2B5EF4-FFF2-40B4-BE49-F238E27FC236}">
                <a16:creationId xmlns:a16="http://schemas.microsoft.com/office/drawing/2014/main" id="{B11FA9C9-8842-5364-9263-CB6E036697A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963553" y="3461084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Aber: Entwicklung US-Claims wird sehr kritisch gesehen (inkl. Überschwappen auf </a:t>
            </a:r>
            <a:r>
              <a:rPr lang="de-DE" dirty="0" err="1"/>
              <a:t>RoW</a:t>
            </a:r>
            <a:r>
              <a:rPr lang="de-DE" dirty="0"/>
              <a:t>)</a:t>
            </a:r>
          </a:p>
        </p:txBody>
      </p:sp>
      <p:cxnSp>
        <p:nvCxnSpPr>
          <p:cNvPr id="25" name="element_02_04" hidden="1">
            <a:extLst>
              <a:ext uri="{FF2B5EF4-FFF2-40B4-BE49-F238E27FC236}">
                <a16:creationId xmlns:a16="http://schemas.microsoft.com/office/drawing/2014/main" id="{A41CB937-C3FB-0D6B-BA12-1A8E22EACA38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V="1">
            <a:off x="443372" y="5293368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element_03_04">
            <a:extLst>
              <a:ext uri="{FF2B5EF4-FFF2-40B4-BE49-F238E27FC236}">
                <a16:creationId xmlns:a16="http://schemas.microsoft.com/office/drawing/2014/main" id="{B3CDF21D-00B3-23AA-C490-98007B77B9F1}"/>
              </a:ext>
            </a:extLst>
          </p:cNvPr>
          <p:cNvSpPr txBox="1">
            <a:spLocks noChangeAspect="1"/>
          </p:cNvSpPr>
          <p:nvPr>
            <p:custDataLst>
              <p:tags r:id="rId12"/>
            </p:custDataLst>
          </p:nvPr>
        </p:nvSpPr>
        <p:spPr bwMode="gray">
          <a:xfrm>
            <a:off x="443372" y="4521226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3" name="element_01_04">
            <a:extLst>
              <a:ext uri="{FF2B5EF4-FFF2-40B4-BE49-F238E27FC236}">
                <a16:creationId xmlns:a16="http://schemas.microsoft.com/office/drawing/2014/main" id="{D65937B4-5732-E2B9-A085-2F28CDDC7E88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63553" y="4377226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tark steigende Rechtsverteidigungskos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B08261-5DEB-F572-7437-D1F7681AB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684C8BF-080D-6D98-321A-5C2787B86B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70A2C8-24BE-F240-86FB-FB1C1AC17C5F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37" name="element_03_04">
            <a:extLst>
              <a:ext uri="{FF2B5EF4-FFF2-40B4-BE49-F238E27FC236}">
                <a16:creationId xmlns:a16="http://schemas.microsoft.com/office/drawing/2014/main" id="{34C37650-3EE6-11AA-4B3C-A8486CDF7892}"/>
              </a:ext>
            </a:extLst>
          </p:cNvPr>
          <p:cNvSpPr txBox="1">
            <a:spLocks noChangeAspect="1"/>
          </p:cNvSpPr>
          <p:nvPr>
            <p:custDataLst>
              <p:tags r:id="rId14"/>
            </p:custDataLst>
          </p:nvPr>
        </p:nvSpPr>
        <p:spPr bwMode="gray">
          <a:xfrm>
            <a:off x="443372" y="5293368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8" name="element_01_04">
            <a:extLst>
              <a:ext uri="{FF2B5EF4-FFF2-40B4-BE49-F238E27FC236}">
                <a16:creationId xmlns:a16="http://schemas.microsoft.com/office/drawing/2014/main" id="{776D5861-745E-C47D-355E-A8652087A4EA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964013" y="5129323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Inflation (mit Verzögerung wegen Long-Tail Risiko, Spätschadenthematik, Nachreservierungen)</a:t>
            </a:r>
          </a:p>
        </p:txBody>
      </p:sp>
      <p:sp>
        <p:nvSpPr>
          <p:cNvPr id="39" name="element_03_04">
            <a:extLst>
              <a:ext uri="{FF2B5EF4-FFF2-40B4-BE49-F238E27FC236}">
                <a16:creationId xmlns:a16="http://schemas.microsoft.com/office/drawing/2014/main" id="{EF29CF90-4404-4E80-3D73-33DDABD0B3DC}"/>
              </a:ext>
            </a:extLst>
          </p:cNvPr>
          <p:cNvSpPr txBox="1">
            <a:spLocks noChangeAspect="1"/>
          </p:cNvSpPr>
          <p:nvPr>
            <p:custDataLst>
              <p:tags r:id="rId16"/>
            </p:custDataLst>
          </p:nvPr>
        </p:nvSpPr>
        <p:spPr bwMode="gray">
          <a:xfrm>
            <a:off x="442913" y="6065510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" name="element_01_04">
            <a:extLst>
              <a:ext uri="{FF2B5EF4-FFF2-40B4-BE49-F238E27FC236}">
                <a16:creationId xmlns:a16="http://schemas.microsoft.com/office/drawing/2014/main" id="{8FF85244-F069-3A0E-28F2-FDE8BFB5A880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964013" y="5901464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Social</a:t>
            </a:r>
            <a:r>
              <a:rPr lang="de-DE" dirty="0"/>
              <a:t> Inflation weltweit?! </a:t>
            </a:r>
          </a:p>
        </p:txBody>
      </p:sp>
      <p:cxnSp>
        <p:nvCxnSpPr>
          <p:cNvPr id="41" name="element_02_03">
            <a:extLst>
              <a:ext uri="{FF2B5EF4-FFF2-40B4-BE49-F238E27FC236}">
                <a16:creationId xmlns:a16="http://schemas.microsoft.com/office/drawing/2014/main" id="{220E408A-DBB2-25D8-D5D9-FD55F9AE88C4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 flipV="1">
            <a:off x="442911" y="5180826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2" name="element_02_03">
            <a:extLst>
              <a:ext uri="{FF2B5EF4-FFF2-40B4-BE49-F238E27FC236}">
                <a16:creationId xmlns:a16="http://schemas.microsoft.com/office/drawing/2014/main" id="{92F8C53D-CC6D-7845-A12C-5A6E5142F10A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 flipV="1">
            <a:off x="442912" y="5984875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691470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96" grpId="0" animBg="1"/>
      <p:bldP spid="9" grpId="0"/>
      <p:bldP spid="10" grpId="0"/>
      <p:bldP spid="21" grpId="0" animBg="1"/>
      <p:bldP spid="12" grpId="0"/>
      <p:bldP spid="26" grpId="0" animBg="1"/>
      <p:bldP spid="13" grpId="0"/>
      <p:bldP spid="37" grpId="0" animBg="1"/>
      <p:bldP spid="38" grpId="0"/>
      <p:bldP spid="39" grpId="0" animBg="1"/>
      <p:bldP spid="4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C65FC3-4F46-0DAD-0AEF-EED045CCF4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6783638-961F-5722-7DB7-7535690D13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5468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606" imgH="608" progId="TCLayout.ActiveDocument.1">
                  <p:embed/>
                </p:oleObj>
              </mc:Choice>
              <mc:Fallback>
                <p:oleObj name="think-cell Folie" r:id="rId22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2B399A-3A33-3B05-8F5E-B37C75D957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A9E75AF-A7A7-4F81-1034-937D2A7B9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1" y="404664"/>
            <a:ext cx="11305257" cy="936104"/>
          </a:xfrm>
        </p:spPr>
        <p:txBody>
          <a:bodyPr vert="horz"/>
          <a:lstStyle/>
          <a:p>
            <a:r>
              <a:rPr lang="de-DE" dirty="0"/>
              <a:t>Die wirtschaftliche Situation</a:t>
            </a:r>
          </a:p>
        </p:txBody>
      </p:sp>
      <p:cxnSp>
        <p:nvCxnSpPr>
          <p:cNvPr id="11" name="element_02_01">
            <a:extLst>
              <a:ext uri="{FF2B5EF4-FFF2-40B4-BE49-F238E27FC236}">
                <a16:creationId xmlns:a16="http://schemas.microsoft.com/office/drawing/2014/main" id="{FC441D38-03F5-0204-FDBE-01A4FAEE5A68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 flipV="1">
            <a:off x="443372" y="2544942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element_03_01">
            <a:extLst>
              <a:ext uri="{FF2B5EF4-FFF2-40B4-BE49-F238E27FC236}">
                <a16:creationId xmlns:a16="http://schemas.microsoft.com/office/drawing/2014/main" id="{58821D8C-40EB-B62F-EBB9-0DC180FE4154}"/>
              </a:ext>
            </a:extLst>
          </p:cNvPr>
          <p:cNvSpPr txBox="1"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443372" y="1772800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195" name="element_02_02">
            <a:extLst>
              <a:ext uri="{FF2B5EF4-FFF2-40B4-BE49-F238E27FC236}">
                <a16:creationId xmlns:a16="http://schemas.microsoft.com/office/drawing/2014/main" id="{9CF4B58A-5A18-6E1C-7D5C-2CD0A30A9F3B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V="1">
            <a:off x="443372" y="3461084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6" name="element_03_02">
            <a:extLst>
              <a:ext uri="{FF2B5EF4-FFF2-40B4-BE49-F238E27FC236}">
                <a16:creationId xmlns:a16="http://schemas.microsoft.com/office/drawing/2014/main" id="{13362137-6CED-2A6A-2E3E-9921BE664CE4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443372" y="2688942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9" name="element_01_01">
            <a:extLst>
              <a:ext uri="{FF2B5EF4-FFF2-40B4-BE49-F238E27FC236}">
                <a16:creationId xmlns:a16="http://schemas.microsoft.com/office/drawing/2014/main" id="{A1EE01AB-A891-E63A-C533-88F7E6DC82C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963553" y="1628800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Verschärfung Regulierung und Rechtsprechung (besonders EU), insbesondere Sammelklagen, ESG/Greenwashing, EU-Produkthaftungsrichtlinie / EU-Produktsicherheitsverordnung, Regelungen zur KI</a:t>
            </a:r>
          </a:p>
        </p:txBody>
      </p:sp>
      <p:sp>
        <p:nvSpPr>
          <p:cNvPr id="10" name="element_01_02">
            <a:extLst>
              <a:ext uri="{FF2B5EF4-FFF2-40B4-BE49-F238E27FC236}">
                <a16:creationId xmlns:a16="http://schemas.microsoft.com/office/drawing/2014/main" id="{C93720A9-4FC9-67D9-3E7F-DB428AC9219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963553" y="2544942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„Neue“ Risiken &amp; mögliche Ausschlüsse (PFAS, Mikroplastik, Silent </a:t>
            </a:r>
            <a:r>
              <a:rPr lang="de-DE" dirty="0" err="1"/>
              <a:t>Cyber</a:t>
            </a:r>
            <a:r>
              <a:rPr lang="de-DE" dirty="0"/>
              <a:t>) </a:t>
            </a:r>
          </a:p>
        </p:txBody>
      </p:sp>
      <p:cxnSp>
        <p:nvCxnSpPr>
          <p:cNvPr id="20" name="element_02_03">
            <a:extLst>
              <a:ext uri="{FF2B5EF4-FFF2-40B4-BE49-F238E27FC236}">
                <a16:creationId xmlns:a16="http://schemas.microsoft.com/office/drawing/2014/main" id="{33F5FAED-2ED4-7307-C9AC-825F2D038377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V="1">
            <a:off x="442910" y="4377226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" name="element_03_03">
            <a:extLst>
              <a:ext uri="{FF2B5EF4-FFF2-40B4-BE49-F238E27FC236}">
                <a16:creationId xmlns:a16="http://schemas.microsoft.com/office/drawing/2014/main" id="{2F5577E3-9A22-9BB4-8A8E-AD6323C190C1}"/>
              </a:ext>
            </a:extLst>
          </p:cNvPr>
          <p:cNvSpPr txBox="1">
            <a:spLocks noChangeAspect="1"/>
          </p:cNvSpPr>
          <p:nvPr>
            <p:custDataLst>
              <p:tags r:id="rId9"/>
            </p:custDataLst>
          </p:nvPr>
        </p:nvSpPr>
        <p:spPr bwMode="gray">
          <a:xfrm>
            <a:off x="443372" y="3605084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2" name="element_01_03">
            <a:extLst>
              <a:ext uri="{FF2B5EF4-FFF2-40B4-BE49-F238E27FC236}">
                <a16:creationId xmlns:a16="http://schemas.microsoft.com/office/drawing/2014/main" id="{8AF39E77-B62E-9C3C-66A3-AD73A022AF24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963553" y="3461084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e Schadenregulierung der Versicherer wird schlechter / unflexibler</a:t>
            </a:r>
          </a:p>
        </p:txBody>
      </p:sp>
      <p:cxnSp>
        <p:nvCxnSpPr>
          <p:cNvPr id="25" name="element_02_04" hidden="1">
            <a:extLst>
              <a:ext uri="{FF2B5EF4-FFF2-40B4-BE49-F238E27FC236}">
                <a16:creationId xmlns:a16="http://schemas.microsoft.com/office/drawing/2014/main" id="{39B66DA4-60CD-ED85-593E-C30E96A2E28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V="1">
            <a:off x="443372" y="5293368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element_03_04">
            <a:extLst>
              <a:ext uri="{FF2B5EF4-FFF2-40B4-BE49-F238E27FC236}">
                <a16:creationId xmlns:a16="http://schemas.microsoft.com/office/drawing/2014/main" id="{BB386061-B62F-A885-0A63-4CFCF4BD5C10}"/>
              </a:ext>
            </a:extLst>
          </p:cNvPr>
          <p:cNvSpPr txBox="1">
            <a:spLocks noChangeAspect="1"/>
          </p:cNvSpPr>
          <p:nvPr>
            <p:custDataLst>
              <p:tags r:id="rId12"/>
            </p:custDataLst>
          </p:nvPr>
        </p:nvSpPr>
        <p:spPr bwMode="gray">
          <a:xfrm>
            <a:off x="443372" y="4521226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3" name="element_01_04">
            <a:extLst>
              <a:ext uri="{FF2B5EF4-FFF2-40B4-BE49-F238E27FC236}">
                <a16:creationId xmlns:a16="http://schemas.microsoft.com/office/drawing/2014/main" id="{ABD97CA7-6BE1-A602-D8AC-82538197608B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63553" y="4377226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Rückversicherer achten sehr genau auf die </a:t>
            </a:r>
            <a:r>
              <a:rPr lang="de-DE" dirty="0" err="1"/>
              <a:t>CoR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4B1B11-17C3-91A8-3707-86E44413D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27A192A-978C-F978-BBB0-85ADB5690C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70A2C8-24BE-F240-86FB-FB1C1AC17C5F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37" name="element_03_04">
            <a:extLst>
              <a:ext uri="{FF2B5EF4-FFF2-40B4-BE49-F238E27FC236}">
                <a16:creationId xmlns:a16="http://schemas.microsoft.com/office/drawing/2014/main" id="{9EF02AD3-76BA-C81D-BD88-D8CDE88218CE}"/>
              </a:ext>
            </a:extLst>
          </p:cNvPr>
          <p:cNvSpPr txBox="1">
            <a:spLocks noChangeAspect="1"/>
          </p:cNvSpPr>
          <p:nvPr>
            <p:custDataLst>
              <p:tags r:id="rId14"/>
            </p:custDataLst>
          </p:nvPr>
        </p:nvSpPr>
        <p:spPr bwMode="gray">
          <a:xfrm>
            <a:off x="443372" y="5293368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8" name="element_01_04">
            <a:extLst>
              <a:ext uri="{FF2B5EF4-FFF2-40B4-BE49-F238E27FC236}">
                <a16:creationId xmlns:a16="http://schemas.microsoft.com/office/drawing/2014/main" id="{1A3E5025-F401-D2DF-A484-BD614BE34F3A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964013" y="5129323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Aber: weiterhin positiver Ausblick Gewerbe &amp; Industrie Mid Market</a:t>
            </a:r>
          </a:p>
        </p:txBody>
      </p:sp>
      <p:sp>
        <p:nvSpPr>
          <p:cNvPr id="39" name="element_03_04">
            <a:extLst>
              <a:ext uri="{FF2B5EF4-FFF2-40B4-BE49-F238E27FC236}">
                <a16:creationId xmlns:a16="http://schemas.microsoft.com/office/drawing/2014/main" id="{20CF1626-71F1-D795-254C-71D523147194}"/>
              </a:ext>
            </a:extLst>
          </p:cNvPr>
          <p:cNvSpPr txBox="1">
            <a:spLocks noChangeAspect="1"/>
          </p:cNvSpPr>
          <p:nvPr>
            <p:custDataLst>
              <p:tags r:id="rId16"/>
            </p:custDataLst>
          </p:nvPr>
        </p:nvSpPr>
        <p:spPr bwMode="gray">
          <a:xfrm>
            <a:off x="442913" y="6065510"/>
            <a:ext cx="286177" cy="288000"/>
          </a:xfrm>
          <a:prstGeom prst="ellipse">
            <a:avLst/>
          </a:prstGeom>
          <a:solidFill>
            <a:schemeClr val="tx2"/>
          </a:solidFill>
          <a:ln w="6350"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ADEF"/>
                </a:solidFill>
              </a14:hiddenLine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777777"/>
              </a:buClr>
              <a:buSzPct val="80000"/>
              <a:buFont typeface="+mn-lt" pitchFamily="2" charset="2"/>
              <a:defRPr kumimoji="1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2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"/>
              <a:defRPr kumimoji="1" sz="1600">
                <a:solidFill>
                  <a:schemeClr val="tx1"/>
                </a:solidFill>
                <a:latin typeface="+mn-lt"/>
              </a:defRPr>
            </a:lvl2pPr>
            <a:lvl3pPr marL="504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+mn-lt" panose="05000000000000000000" pitchFamily="2" charset="2"/>
              <a:buChar char="n"/>
              <a:defRPr kumimoji="1" sz="1600">
                <a:solidFill>
                  <a:schemeClr val="tx1"/>
                </a:solidFill>
                <a:latin typeface="+mn-lt"/>
              </a:defRPr>
            </a:lvl3pPr>
            <a:lvl4pPr marL="756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Palatino Linotype" panose="02040502050505030304" pitchFamily="18" charset="0"/>
              <a:buChar char="‒"/>
              <a:defRPr kumimoji="1" sz="1600">
                <a:solidFill>
                  <a:schemeClr val="tx1"/>
                </a:solidFill>
                <a:latin typeface="+mn-lt"/>
              </a:defRPr>
            </a:lvl4pPr>
            <a:lvl5pPr marL="1008000" indent="-252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4"/>
              </a:buClr>
              <a:buFont typeface="Palatino Linotype" panose="02040502050505030304" pitchFamily="18" charset="0"/>
              <a:buChar char="‒"/>
              <a:defRPr kumimoji="1" sz="1600">
                <a:solidFill>
                  <a:srgbClr val="000000"/>
                </a:solidFill>
                <a:latin typeface="+mn-lt"/>
              </a:defRPr>
            </a:lvl5pPr>
            <a:lvl6pPr marL="22510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6pPr>
            <a:lvl7pPr marL="27082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7pPr>
            <a:lvl8pPr marL="31654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8pPr>
            <a:lvl9pPr marL="3622675" indent="-17621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777777"/>
              </a:buClr>
              <a:buChar char="-"/>
              <a:defRPr kumimoji="1" sz="1600">
                <a:solidFill>
                  <a:srgbClr val="000000"/>
                </a:solidFill>
                <a:latin typeface="+mn-lt"/>
              </a:defRPr>
            </a:lvl9pPr>
          </a:lstStyle>
          <a:p>
            <a:pPr indent="0" algn="ctr">
              <a:defRPr/>
            </a:pPr>
            <a:endParaRPr lang="de-DE" sz="1400" kern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0" name="element_01_04">
            <a:extLst>
              <a:ext uri="{FF2B5EF4-FFF2-40B4-BE49-F238E27FC236}">
                <a16:creationId xmlns:a16="http://schemas.microsoft.com/office/drawing/2014/main" id="{12C88E91-236E-63B8-9BBB-96BB5002E2A3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964013" y="5901464"/>
            <a:ext cx="10785075" cy="772142"/>
          </a:xfrm>
          <a:prstGeom prst="rect">
            <a:avLst/>
          </a:prstGeom>
        </p:spPr>
        <p:txBody>
          <a:bodyPr vert="horz" lIns="0" tIns="144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b="1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Bedarf nach Alternativem Risikotransfer (ART) steigt</a:t>
            </a:r>
          </a:p>
        </p:txBody>
      </p:sp>
      <p:cxnSp>
        <p:nvCxnSpPr>
          <p:cNvPr id="41" name="element_02_03">
            <a:extLst>
              <a:ext uri="{FF2B5EF4-FFF2-40B4-BE49-F238E27FC236}">
                <a16:creationId xmlns:a16="http://schemas.microsoft.com/office/drawing/2014/main" id="{835B2491-99FA-187D-68E5-698BDD53DFD4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 flipV="1">
            <a:off x="442911" y="5180826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2" name="element_02_03">
            <a:extLst>
              <a:ext uri="{FF2B5EF4-FFF2-40B4-BE49-F238E27FC236}">
                <a16:creationId xmlns:a16="http://schemas.microsoft.com/office/drawing/2014/main" id="{ECCEAA85-7375-09BD-DEBC-DCE241EC2169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 flipV="1">
            <a:off x="442912" y="5984875"/>
            <a:ext cx="11305257" cy="0"/>
          </a:xfrm>
          <a:prstGeom prst="line">
            <a:avLst/>
          </a:prstGeom>
          <a:noFill/>
          <a:ln w="12700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" name="Group 8">
            <a:extLst>
              <a:ext uri="{FF2B5EF4-FFF2-40B4-BE49-F238E27FC236}">
                <a16:creationId xmlns:a16="http://schemas.microsoft.com/office/drawing/2014/main" id="{E10A8DAB-2FBA-3E92-AF27-D919D561BDB7}"/>
              </a:ext>
            </a:extLst>
          </p:cNvPr>
          <p:cNvGrpSpPr/>
          <p:nvPr/>
        </p:nvGrpSpPr>
        <p:grpSpPr>
          <a:xfrm>
            <a:off x="-5497288" y="1772800"/>
            <a:ext cx="5113637" cy="4188876"/>
            <a:chOff x="445135" y="1549065"/>
            <a:chExt cx="4331926" cy="3548531"/>
          </a:xfrm>
        </p:grpSpPr>
        <p:grpSp>
          <p:nvGrpSpPr>
            <p:cNvPr id="4" name="Group 7">
              <a:extLst>
                <a:ext uri="{FF2B5EF4-FFF2-40B4-BE49-F238E27FC236}">
                  <a16:creationId xmlns:a16="http://schemas.microsoft.com/office/drawing/2014/main" id="{5A040ACD-6C4C-C747-003E-7A9CE31D46AC}"/>
                </a:ext>
              </a:extLst>
            </p:cNvPr>
            <p:cNvGrpSpPr/>
            <p:nvPr/>
          </p:nvGrpSpPr>
          <p:grpSpPr>
            <a:xfrm>
              <a:off x="445135" y="1549065"/>
              <a:ext cx="3558677" cy="3191816"/>
              <a:chOff x="445135" y="1549065"/>
              <a:chExt cx="3558677" cy="3191816"/>
            </a:xfrm>
          </p:grpSpPr>
          <p:sp>
            <p:nvSpPr>
              <p:cNvPr id="241" name="Block Arc 1015">
                <a:extLst>
                  <a:ext uri="{FF2B5EF4-FFF2-40B4-BE49-F238E27FC236}">
                    <a16:creationId xmlns:a16="http://schemas.microsoft.com/office/drawing/2014/main" id="{9123FF55-8E3D-8032-C2B7-CFB2C9C14170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20207308">
                <a:off x="725875" y="1982498"/>
                <a:ext cx="3010427" cy="2737514"/>
              </a:xfrm>
              <a:prstGeom prst="blockArc">
                <a:avLst>
                  <a:gd name="adj1" fmla="val 12006639"/>
                  <a:gd name="adj2" fmla="val 0"/>
                  <a:gd name="adj3" fmla="val 25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solidFill>
                    <a:schemeClr val="tx1"/>
                  </a:solidFill>
                </a:endParaRPr>
              </a:p>
            </p:txBody>
          </p:sp>
          <p:pic>
            <p:nvPicPr>
              <p:cNvPr id="242" name="Picture 8">
                <a:extLst>
                  <a:ext uri="{FF2B5EF4-FFF2-40B4-BE49-F238E27FC236}">
                    <a16:creationId xmlns:a16="http://schemas.microsoft.com/office/drawing/2014/main" id="{4D9F7E45-9C85-8079-E488-EB3AAF2178B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34972" y="1928279"/>
                <a:ext cx="9882" cy="61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243" name="Group 1018">
                <a:extLst>
                  <a:ext uri="{FF2B5EF4-FFF2-40B4-BE49-F238E27FC236}">
                    <a16:creationId xmlns:a16="http://schemas.microsoft.com/office/drawing/2014/main" id="{B2102546-A2D6-0C7F-2687-C846CF08E4D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45135" y="1549065"/>
                <a:ext cx="3106586" cy="2757018"/>
                <a:chOff x="528638" y="2306638"/>
                <a:chExt cx="3992563" cy="3543301"/>
              </a:xfrm>
            </p:grpSpPr>
            <p:sp>
              <p:nvSpPr>
                <p:cNvPr id="373" name="Freeform 38">
                  <a:extLst>
                    <a:ext uri="{FF2B5EF4-FFF2-40B4-BE49-F238E27FC236}">
                      <a16:creationId xmlns:a16="http://schemas.microsoft.com/office/drawing/2014/main" id="{9DDADD8E-6FF6-0F5F-7196-6EA49D3C4A0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58800" y="4167188"/>
                  <a:ext cx="139700" cy="38100"/>
                </a:xfrm>
                <a:custGeom>
                  <a:avLst/>
                  <a:gdLst>
                    <a:gd name="T0" fmla="*/ 75 w 76"/>
                    <a:gd name="T1" fmla="*/ 21 h 21"/>
                    <a:gd name="T2" fmla="*/ 76 w 76"/>
                    <a:gd name="T3" fmla="*/ 13 h 21"/>
                    <a:gd name="T4" fmla="*/ 2 w 76"/>
                    <a:gd name="T5" fmla="*/ 0 h 21"/>
                    <a:gd name="T6" fmla="*/ 0 w 76"/>
                    <a:gd name="T7" fmla="*/ 8 h 21"/>
                    <a:gd name="T8" fmla="*/ 75 w 76"/>
                    <a:gd name="T9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6" h="21">
                      <a:moveTo>
                        <a:pt x="75" y="21"/>
                      </a:moveTo>
                      <a:cubicBezTo>
                        <a:pt x="75" y="18"/>
                        <a:pt x="76" y="15"/>
                        <a:pt x="76" y="13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2"/>
                        <a:pt x="1" y="5"/>
                        <a:pt x="0" y="8"/>
                      </a:cubicBezTo>
                      <a:lnTo>
                        <a:pt x="75" y="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74" name="Freeform 45">
                  <a:extLst>
                    <a:ext uri="{FF2B5EF4-FFF2-40B4-BE49-F238E27FC236}">
                      <a16:creationId xmlns:a16="http://schemas.microsoft.com/office/drawing/2014/main" id="{A0BD4092-0E00-4025-076D-4F2F5842FEB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95313" y="3963988"/>
                  <a:ext cx="177800" cy="80963"/>
                </a:xfrm>
                <a:custGeom>
                  <a:avLst/>
                  <a:gdLst>
                    <a:gd name="T0" fmla="*/ 0 w 96"/>
                    <a:gd name="T1" fmla="*/ 19 h 44"/>
                    <a:gd name="T2" fmla="*/ 91 w 96"/>
                    <a:gd name="T3" fmla="*/ 44 h 44"/>
                    <a:gd name="T4" fmla="*/ 93 w 96"/>
                    <a:gd name="T5" fmla="*/ 35 h 44"/>
                    <a:gd name="T6" fmla="*/ 96 w 96"/>
                    <a:gd name="T7" fmla="*/ 25 h 44"/>
                    <a:gd name="T8" fmla="*/ 6 w 96"/>
                    <a:gd name="T9" fmla="*/ 0 h 44"/>
                    <a:gd name="T10" fmla="*/ 3 w 96"/>
                    <a:gd name="T11" fmla="*/ 10 h 44"/>
                    <a:gd name="T12" fmla="*/ 0 w 96"/>
                    <a:gd name="T13" fmla="*/ 19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6" h="44">
                      <a:moveTo>
                        <a:pt x="0" y="19"/>
                      </a:moveTo>
                      <a:cubicBezTo>
                        <a:pt x="91" y="44"/>
                        <a:pt x="91" y="44"/>
                        <a:pt x="91" y="44"/>
                      </a:cubicBezTo>
                      <a:cubicBezTo>
                        <a:pt x="91" y="43"/>
                        <a:pt x="93" y="36"/>
                        <a:pt x="93" y="35"/>
                      </a:cubicBezTo>
                      <a:cubicBezTo>
                        <a:pt x="94" y="33"/>
                        <a:pt x="96" y="26"/>
                        <a:pt x="96" y="25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5" y="1"/>
                        <a:pt x="3" y="8"/>
                        <a:pt x="3" y="10"/>
                      </a:cubicBezTo>
                      <a:cubicBezTo>
                        <a:pt x="3" y="11"/>
                        <a:pt x="1" y="18"/>
                        <a:pt x="0" y="1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375" name="Group 1238">
                  <a:extLst>
                    <a:ext uri="{FF2B5EF4-FFF2-40B4-BE49-F238E27FC236}">
                      <a16:creationId xmlns:a16="http://schemas.microsoft.com/office/drawing/2014/main" id="{6E705F93-9CF3-8F05-D26A-74CC12B91995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528638" y="2306638"/>
                  <a:ext cx="3992563" cy="3543301"/>
                  <a:chOff x="528638" y="2306638"/>
                  <a:chExt cx="3992563" cy="3543301"/>
                </a:xfrm>
              </p:grpSpPr>
              <p:sp>
                <p:nvSpPr>
                  <p:cNvPr id="376" name="Oval 10">
                    <a:extLst>
                      <a:ext uri="{FF2B5EF4-FFF2-40B4-BE49-F238E27FC236}">
                        <a16:creationId xmlns:a16="http://schemas.microsoft.com/office/drawing/2014/main" id="{133E0E2F-45F4-221D-8248-697094513614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957263" y="5762626"/>
                    <a:ext cx="87313" cy="8731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7" name="Freeform 11">
                    <a:extLst>
                      <a:ext uri="{FF2B5EF4-FFF2-40B4-BE49-F238E27FC236}">
                        <a16:creationId xmlns:a16="http://schemas.microsoft.com/office/drawing/2014/main" id="{05651521-0CC5-6667-7A2A-ED2D51F8E57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008188" y="2438401"/>
                    <a:ext cx="63500" cy="136525"/>
                  </a:xfrm>
                  <a:custGeom>
                    <a:avLst/>
                    <a:gdLst>
                      <a:gd name="T0" fmla="*/ 26 w 34"/>
                      <a:gd name="T1" fmla="*/ 74 h 74"/>
                      <a:gd name="T2" fmla="*/ 34 w 34"/>
                      <a:gd name="T3" fmla="*/ 71 h 74"/>
                      <a:gd name="T4" fmla="*/ 8 w 34"/>
                      <a:gd name="T5" fmla="*/ 0 h 74"/>
                      <a:gd name="T6" fmla="*/ 0 w 34"/>
                      <a:gd name="T7" fmla="*/ 2 h 74"/>
                      <a:gd name="T8" fmla="*/ 26 w 34"/>
                      <a:gd name="T9" fmla="*/ 7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" h="74">
                        <a:moveTo>
                          <a:pt x="26" y="74"/>
                        </a:moveTo>
                        <a:cubicBezTo>
                          <a:pt x="28" y="73"/>
                          <a:pt x="31" y="72"/>
                          <a:pt x="34" y="71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3" y="1"/>
                          <a:pt x="0" y="2"/>
                        </a:cubicBezTo>
                        <a:lnTo>
                          <a:pt x="26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8" name="Freeform 12">
                    <a:extLst>
                      <a:ext uri="{FF2B5EF4-FFF2-40B4-BE49-F238E27FC236}">
                        <a16:creationId xmlns:a16="http://schemas.microsoft.com/office/drawing/2014/main" id="{BC2080CF-EF98-B2BE-DD73-0CD172106B4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389188" y="2338388"/>
                    <a:ext cx="39688" cy="139700"/>
                  </a:xfrm>
                  <a:custGeom>
                    <a:avLst/>
                    <a:gdLst>
                      <a:gd name="T0" fmla="*/ 13 w 21"/>
                      <a:gd name="T1" fmla="*/ 76 h 76"/>
                      <a:gd name="T2" fmla="*/ 21 w 21"/>
                      <a:gd name="T3" fmla="*/ 75 h 76"/>
                      <a:gd name="T4" fmla="*/ 8 w 21"/>
                      <a:gd name="T5" fmla="*/ 0 h 76"/>
                      <a:gd name="T6" fmla="*/ 0 w 21"/>
                      <a:gd name="T7" fmla="*/ 1 h 76"/>
                      <a:gd name="T8" fmla="*/ 13 w 21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6">
                        <a:moveTo>
                          <a:pt x="13" y="76"/>
                        </a:moveTo>
                        <a:cubicBezTo>
                          <a:pt x="15" y="75"/>
                          <a:pt x="18" y="75"/>
                          <a:pt x="21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2" y="1"/>
                          <a:pt x="0" y="1"/>
                        </a:cubicBezTo>
                        <a:lnTo>
                          <a:pt x="13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9" name="Freeform 13">
                    <a:extLst>
                      <a:ext uri="{FF2B5EF4-FFF2-40B4-BE49-F238E27FC236}">
                        <a16:creationId xmlns:a16="http://schemas.microsoft.com/office/drawing/2014/main" id="{1D5020FD-9383-1D9F-9016-F129FC07785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584450" y="2314576"/>
                    <a:ext cx="28575" cy="139700"/>
                  </a:xfrm>
                  <a:custGeom>
                    <a:avLst/>
                    <a:gdLst>
                      <a:gd name="T0" fmla="*/ 7 w 15"/>
                      <a:gd name="T1" fmla="*/ 76 h 76"/>
                      <a:gd name="T2" fmla="*/ 15 w 15"/>
                      <a:gd name="T3" fmla="*/ 75 h 76"/>
                      <a:gd name="T4" fmla="*/ 8 w 15"/>
                      <a:gd name="T5" fmla="*/ 0 h 76"/>
                      <a:gd name="T6" fmla="*/ 0 w 15"/>
                      <a:gd name="T7" fmla="*/ 1 h 76"/>
                      <a:gd name="T8" fmla="*/ 7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7" y="76"/>
                        </a:moveTo>
                        <a:cubicBezTo>
                          <a:pt x="9" y="76"/>
                          <a:pt x="12" y="75"/>
                          <a:pt x="15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6" y="0"/>
                          <a:pt x="3" y="0"/>
                          <a:pt x="0" y="1"/>
                        </a:cubicBezTo>
                        <a:lnTo>
                          <a:pt x="7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0" name="Freeform 14">
                    <a:extLst>
                      <a:ext uri="{FF2B5EF4-FFF2-40B4-BE49-F238E27FC236}">
                        <a16:creationId xmlns:a16="http://schemas.microsoft.com/office/drawing/2014/main" id="{DE611CDB-273F-2C6D-EB7B-FE0366299F0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197100" y="2378076"/>
                    <a:ext cx="49213" cy="141288"/>
                  </a:xfrm>
                  <a:custGeom>
                    <a:avLst/>
                    <a:gdLst>
                      <a:gd name="T0" fmla="*/ 19 w 27"/>
                      <a:gd name="T1" fmla="*/ 76 h 76"/>
                      <a:gd name="T2" fmla="*/ 27 w 27"/>
                      <a:gd name="T3" fmla="*/ 73 h 76"/>
                      <a:gd name="T4" fmla="*/ 7 w 27"/>
                      <a:gd name="T5" fmla="*/ 0 h 76"/>
                      <a:gd name="T6" fmla="*/ 0 w 27"/>
                      <a:gd name="T7" fmla="*/ 2 h 76"/>
                      <a:gd name="T8" fmla="*/ 19 w 27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6">
                        <a:moveTo>
                          <a:pt x="19" y="76"/>
                        </a:moveTo>
                        <a:cubicBezTo>
                          <a:pt x="22" y="75"/>
                          <a:pt x="24" y="74"/>
                          <a:pt x="27" y="73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2" y="2"/>
                          <a:pt x="0" y="2"/>
                        </a:cubicBezTo>
                        <a:lnTo>
                          <a:pt x="19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1" name="Freeform 15">
                    <a:extLst>
                      <a:ext uri="{FF2B5EF4-FFF2-40B4-BE49-F238E27FC236}">
                        <a16:creationId xmlns:a16="http://schemas.microsoft.com/office/drawing/2014/main" id="{8F12F81D-B6AB-136A-E468-E931EA5F412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322638" y="2381251"/>
                    <a:ext cx="49213" cy="138113"/>
                  </a:xfrm>
                  <a:custGeom>
                    <a:avLst/>
                    <a:gdLst>
                      <a:gd name="T0" fmla="*/ 0 w 27"/>
                      <a:gd name="T1" fmla="*/ 73 h 75"/>
                      <a:gd name="T2" fmla="*/ 8 w 27"/>
                      <a:gd name="T3" fmla="*/ 75 h 75"/>
                      <a:gd name="T4" fmla="*/ 27 w 27"/>
                      <a:gd name="T5" fmla="*/ 2 h 75"/>
                      <a:gd name="T6" fmla="*/ 20 w 27"/>
                      <a:gd name="T7" fmla="*/ 0 h 75"/>
                      <a:gd name="T8" fmla="*/ 0 w 27"/>
                      <a:gd name="T9" fmla="*/ 73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5">
                        <a:moveTo>
                          <a:pt x="0" y="73"/>
                        </a:moveTo>
                        <a:cubicBezTo>
                          <a:pt x="3" y="74"/>
                          <a:pt x="5" y="75"/>
                          <a:pt x="8" y="75"/>
                        </a:cubicBezTo>
                        <a:cubicBezTo>
                          <a:pt x="27" y="2"/>
                          <a:pt x="27" y="2"/>
                          <a:pt x="27" y="2"/>
                        </a:cubicBezTo>
                        <a:cubicBezTo>
                          <a:pt x="25" y="1"/>
                          <a:pt x="22" y="1"/>
                          <a:pt x="20" y="0"/>
                        </a:cubicBezTo>
                        <a:lnTo>
                          <a:pt x="0" y="7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2" name="Freeform 16">
                    <a:extLst>
                      <a:ext uri="{FF2B5EF4-FFF2-40B4-BE49-F238E27FC236}">
                        <a16:creationId xmlns:a16="http://schemas.microsoft.com/office/drawing/2014/main" id="{3E3B1D33-1452-547A-A8B4-486D53B764D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763838" y="2306638"/>
                    <a:ext cx="38100" cy="174625"/>
                  </a:xfrm>
                  <a:custGeom>
                    <a:avLst/>
                    <a:gdLst>
                      <a:gd name="T0" fmla="*/ 0 w 20"/>
                      <a:gd name="T1" fmla="*/ 0 h 94"/>
                      <a:gd name="T2" fmla="*/ 0 w 20"/>
                      <a:gd name="T3" fmla="*/ 94 h 94"/>
                      <a:gd name="T4" fmla="*/ 10 w 20"/>
                      <a:gd name="T5" fmla="*/ 94 h 94"/>
                      <a:gd name="T6" fmla="*/ 20 w 20"/>
                      <a:gd name="T7" fmla="*/ 94 h 94"/>
                      <a:gd name="T8" fmla="*/ 20 w 20"/>
                      <a:gd name="T9" fmla="*/ 0 h 94"/>
                      <a:gd name="T10" fmla="*/ 10 w 20"/>
                      <a:gd name="T11" fmla="*/ 0 h 94"/>
                      <a:gd name="T12" fmla="*/ 0 w 20"/>
                      <a:gd name="T13" fmla="*/ 0 h 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" h="94">
                        <a:moveTo>
                          <a:pt x="0" y="0"/>
                        </a:moveTo>
                        <a:cubicBezTo>
                          <a:pt x="0" y="94"/>
                          <a:pt x="0" y="94"/>
                          <a:pt x="0" y="94"/>
                        </a:cubicBezTo>
                        <a:cubicBezTo>
                          <a:pt x="1" y="94"/>
                          <a:pt x="8" y="94"/>
                          <a:pt x="10" y="94"/>
                        </a:cubicBezTo>
                        <a:cubicBezTo>
                          <a:pt x="11" y="94"/>
                          <a:pt x="18" y="94"/>
                          <a:pt x="20" y="94"/>
                        </a:cubicBezTo>
                        <a:cubicBezTo>
                          <a:pt x="20" y="0"/>
                          <a:pt x="20" y="0"/>
                          <a:pt x="20" y="0"/>
                        </a:cubicBezTo>
                        <a:cubicBezTo>
                          <a:pt x="18" y="0"/>
                          <a:pt x="11" y="0"/>
                          <a:pt x="10" y="0"/>
                        </a:cubicBezTo>
                        <a:cubicBezTo>
                          <a:pt x="8" y="0"/>
                          <a:pt x="1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3" name="Freeform 17">
                    <a:extLst>
                      <a:ext uri="{FF2B5EF4-FFF2-40B4-BE49-F238E27FC236}">
                        <a16:creationId xmlns:a16="http://schemas.microsoft.com/office/drawing/2014/main" id="{1A0DDB4C-9A2F-8B42-C04E-8880A4E57F3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143250" y="2339976"/>
                    <a:ext cx="38100" cy="138113"/>
                  </a:xfrm>
                  <a:custGeom>
                    <a:avLst/>
                    <a:gdLst>
                      <a:gd name="T0" fmla="*/ 0 w 21"/>
                      <a:gd name="T1" fmla="*/ 74 h 75"/>
                      <a:gd name="T2" fmla="*/ 8 w 21"/>
                      <a:gd name="T3" fmla="*/ 75 h 75"/>
                      <a:gd name="T4" fmla="*/ 21 w 21"/>
                      <a:gd name="T5" fmla="*/ 1 h 75"/>
                      <a:gd name="T6" fmla="*/ 13 w 21"/>
                      <a:gd name="T7" fmla="*/ 0 h 75"/>
                      <a:gd name="T8" fmla="*/ 0 w 21"/>
                      <a:gd name="T9" fmla="*/ 74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5">
                        <a:moveTo>
                          <a:pt x="0" y="74"/>
                        </a:moveTo>
                        <a:cubicBezTo>
                          <a:pt x="2" y="75"/>
                          <a:pt x="5" y="75"/>
                          <a:pt x="8" y="75"/>
                        </a:cubicBezTo>
                        <a:cubicBezTo>
                          <a:pt x="21" y="1"/>
                          <a:pt x="21" y="1"/>
                          <a:pt x="21" y="1"/>
                        </a:cubicBezTo>
                        <a:cubicBezTo>
                          <a:pt x="18" y="0"/>
                          <a:pt x="15" y="0"/>
                          <a:pt x="13" y="0"/>
                        </a:cubicBezTo>
                        <a:lnTo>
                          <a:pt x="0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4" name="Freeform 18">
                    <a:extLst>
                      <a:ext uri="{FF2B5EF4-FFF2-40B4-BE49-F238E27FC236}">
                        <a16:creationId xmlns:a16="http://schemas.microsoft.com/office/drawing/2014/main" id="{9BDD7450-BB4B-BB98-4E5F-50A6A76763C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959100" y="2314576"/>
                    <a:ext cx="26988" cy="139700"/>
                  </a:xfrm>
                  <a:custGeom>
                    <a:avLst/>
                    <a:gdLst>
                      <a:gd name="T0" fmla="*/ 0 w 15"/>
                      <a:gd name="T1" fmla="*/ 76 h 76"/>
                      <a:gd name="T2" fmla="*/ 8 w 15"/>
                      <a:gd name="T3" fmla="*/ 76 h 76"/>
                      <a:gd name="T4" fmla="*/ 15 w 15"/>
                      <a:gd name="T5" fmla="*/ 1 h 76"/>
                      <a:gd name="T6" fmla="*/ 7 w 15"/>
                      <a:gd name="T7" fmla="*/ 0 h 76"/>
                      <a:gd name="T8" fmla="*/ 0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0" y="76"/>
                        </a:moveTo>
                        <a:cubicBezTo>
                          <a:pt x="3" y="76"/>
                          <a:pt x="5" y="76"/>
                          <a:pt x="8" y="76"/>
                        </a:cubicBezTo>
                        <a:cubicBezTo>
                          <a:pt x="15" y="1"/>
                          <a:pt x="15" y="1"/>
                          <a:pt x="15" y="1"/>
                        </a:cubicBezTo>
                        <a:cubicBezTo>
                          <a:pt x="12" y="1"/>
                          <a:pt x="9" y="0"/>
                          <a:pt x="7" y="0"/>
                        </a:cubicBezTo>
                        <a:lnTo>
                          <a:pt x="0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5" name="Freeform 19">
                    <a:extLst>
                      <a:ext uri="{FF2B5EF4-FFF2-40B4-BE49-F238E27FC236}">
                        <a16:creationId xmlns:a16="http://schemas.microsoft.com/office/drawing/2014/main" id="{A4F146C6-FD04-78A0-1633-1D923948C13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27100" y="3265488"/>
                    <a:ext cx="123825" cy="92075"/>
                  </a:xfrm>
                  <a:custGeom>
                    <a:avLst/>
                    <a:gdLst>
                      <a:gd name="T0" fmla="*/ 63 w 67"/>
                      <a:gd name="T1" fmla="*/ 50 h 50"/>
                      <a:gd name="T2" fmla="*/ 67 w 67"/>
                      <a:gd name="T3" fmla="*/ 43 h 50"/>
                      <a:gd name="T4" fmla="*/ 5 w 67"/>
                      <a:gd name="T5" fmla="*/ 0 h 50"/>
                      <a:gd name="T6" fmla="*/ 0 w 67"/>
                      <a:gd name="T7" fmla="*/ 6 h 50"/>
                      <a:gd name="T8" fmla="*/ 63 w 67"/>
                      <a:gd name="T9" fmla="*/ 5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7" h="50">
                        <a:moveTo>
                          <a:pt x="63" y="50"/>
                        </a:moveTo>
                        <a:cubicBezTo>
                          <a:pt x="64" y="48"/>
                          <a:pt x="66" y="46"/>
                          <a:pt x="67" y="43"/>
                        </a:cubicBezTo>
                        <a:cubicBezTo>
                          <a:pt x="5" y="0"/>
                          <a:pt x="5" y="0"/>
                          <a:pt x="5" y="0"/>
                        </a:cubicBezTo>
                        <a:cubicBezTo>
                          <a:pt x="3" y="2"/>
                          <a:pt x="2" y="4"/>
                          <a:pt x="0" y="6"/>
                        </a:cubicBezTo>
                        <a:lnTo>
                          <a:pt x="63" y="5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6" name="Freeform 20">
                    <a:extLst>
                      <a:ext uri="{FF2B5EF4-FFF2-40B4-BE49-F238E27FC236}">
                        <a16:creationId xmlns:a16="http://schemas.microsoft.com/office/drawing/2014/main" id="{E9DA6F5E-737C-16CC-86C0-4D9BC62CD58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0738" y="3430588"/>
                    <a:ext cx="130175" cy="82550"/>
                  </a:xfrm>
                  <a:custGeom>
                    <a:avLst/>
                    <a:gdLst>
                      <a:gd name="T0" fmla="*/ 66 w 70"/>
                      <a:gd name="T1" fmla="*/ 45 h 45"/>
                      <a:gd name="T2" fmla="*/ 70 w 70"/>
                      <a:gd name="T3" fmla="*/ 38 h 45"/>
                      <a:gd name="T4" fmla="*/ 4 w 70"/>
                      <a:gd name="T5" fmla="*/ 0 h 45"/>
                      <a:gd name="T6" fmla="*/ 0 w 70"/>
                      <a:gd name="T7" fmla="*/ 7 h 45"/>
                      <a:gd name="T8" fmla="*/ 66 w 70"/>
                      <a:gd name="T9" fmla="*/ 45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66" y="45"/>
                        </a:moveTo>
                        <a:cubicBezTo>
                          <a:pt x="68" y="43"/>
                          <a:pt x="69" y="41"/>
                          <a:pt x="70" y="38"/>
                        </a:cubicBez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3" y="3"/>
                          <a:pt x="2" y="5"/>
                          <a:pt x="0" y="7"/>
                        </a:cubicBezTo>
                        <a:lnTo>
                          <a:pt x="66" y="4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7" name="Freeform 21">
                    <a:extLst>
                      <a:ext uri="{FF2B5EF4-FFF2-40B4-BE49-F238E27FC236}">
                        <a16:creationId xmlns:a16="http://schemas.microsoft.com/office/drawing/2014/main" id="{88AFA662-E2ED-6314-21A5-58FCF7C2D75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1838" y="3606801"/>
                    <a:ext cx="133350" cy="71438"/>
                  </a:xfrm>
                  <a:custGeom>
                    <a:avLst/>
                    <a:gdLst>
                      <a:gd name="T0" fmla="*/ 69 w 72"/>
                      <a:gd name="T1" fmla="*/ 39 h 39"/>
                      <a:gd name="T2" fmla="*/ 72 w 72"/>
                      <a:gd name="T3" fmla="*/ 32 h 39"/>
                      <a:gd name="T4" fmla="*/ 3 w 72"/>
                      <a:gd name="T5" fmla="*/ 0 h 39"/>
                      <a:gd name="T6" fmla="*/ 0 w 72"/>
                      <a:gd name="T7" fmla="*/ 7 h 39"/>
                      <a:gd name="T8" fmla="*/ 69 w 72"/>
                      <a:gd name="T9" fmla="*/ 39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69" y="39"/>
                        </a:moveTo>
                        <a:cubicBezTo>
                          <a:pt x="70" y="37"/>
                          <a:pt x="71" y="34"/>
                          <a:pt x="72" y="32"/>
                        </a:cubicBezTo>
                        <a:cubicBezTo>
                          <a:pt x="3" y="0"/>
                          <a:pt x="3" y="0"/>
                          <a:pt x="3" y="0"/>
                        </a:cubicBezTo>
                        <a:cubicBezTo>
                          <a:pt x="2" y="2"/>
                          <a:pt x="1" y="4"/>
                          <a:pt x="0" y="7"/>
                        </a:cubicBezTo>
                        <a:lnTo>
                          <a:pt x="69" y="3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8" name="Freeform 22">
                    <a:extLst>
                      <a:ext uri="{FF2B5EF4-FFF2-40B4-BE49-F238E27FC236}">
                        <a16:creationId xmlns:a16="http://schemas.microsoft.com/office/drawing/2014/main" id="{E01E13DD-4991-A2BE-0A8B-90917084302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498850" y="2438401"/>
                    <a:ext cx="60325" cy="138113"/>
                  </a:xfrm>
                  <a:custGeom>
                    <a:avLst/>
                    <a:gdLst>
                      <a:gd name="T0" fmla="*/ 0 w 33"/>
                      <a:gd name="T1" fmla="*/ 72 h 75"/>
                      <a:gd name="T2" fmla="*/ 7 w 33"/>
                      <a:gd name="T3" fmla="*/ 75 h 75"/>
                      <a:gd name="T4" fmla="*/ 33 w 33"/>
                      <a:gd name="T5" fmla="*/ 3 h 75"/>
                      <a:gd name="T6" fmla="*/ 26 w 33"/>
                      <a:gd name="T7" fmla="*/ 0 h 75"/>
                      <a:gd name="T8" fmla="*/ 0 w 33"/>
                      <a:gd name="T9" fmla="*/ 72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3" h="75">
                        <a:moveTo>
                          <a:pt x="0" y="72"/>
                        </a:moveTo>
                        <a:cubicBezTo>
                          <a:pt x="2" y="73"/>
                          <a:pt x="5" y="74"/>
                          <a:pt x="7" y="75"/>
                        </a:cubicBezTo>
                        <a:cubicBezTo>
                          <a:pt x="33" y="3"/>
                          <a:pt x="33" y="3"/>
                          <a:pt x="33" y="3"/>
                        </a:cubicBezTo>
                        <a:cubicBezTo>
                          <a:pt x="31" y="2"/>
                          <a:pt x="28" y="1"/>
                          <a:pt x="26" y="0"/>
                        </a:cubicBezTo>
                        <a:lnTo>
                          <a:pt x="0" y="7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9" name="Freeform 23">
                    <a:extLst>
                      <a:ext uri="{FF2B5EF4-FFF2-40B4-BE49-F238E27FC236}">
                        <a16:creationId xmlns:a16="http://schemas.microsoft.com/office/drawing/2014/main" id="{1CF606BB-039A-F0D5-498F-D4463A418B8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649413" y="2601913"/>
                    <a:ext cx="84138" cy="130175"/>
                  </a:xfrm>
                  <a:custGeom>
                    <a:avLst/>
                    <a:gdLst>
                      <a:gd name="T0" fmla="*/ 38 w 45"/>
                      <a:gd name="T1" fmla="*/ 70 h 70"/>
                      <a:gd name="T2" fmla="*/ 45 w 45"/>
                      <a:gd name="T3" fmla="*/ 66 h 70"/>
                      <a:gd name="T4" fmla="*/ 7 w 45"/>
                      <a:gd name="T5" fmla="*/ 0 h 70"/>
                      <a:gd name="T6" fmla="*/ 0 w 45"/>
                      <a:gd name="T7" fmla="*/ 4 h 70"/>
                      <a:gd name="T8" fmla="*/ 38 w 45"/>
                      <a:gd name="T9" fmla="*/ 70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38" y="70"/>
                        </a:moveTo>
                        <a:cubicBezTo>
                          <a:pt x="41" y="68"/>
                          <a:pt x="43" y="67"/>
                          <a:pt x="45" y="66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3" y="2"/>
                          <a:pt x="0" y="4"/>
                        </a:cubicBezTo>
                        <a:lnTo>
                          <a:pt x="38" y="7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0" name="Freeform 24">
                    <a:extLst>
                      <a:ext uri="{FF2B5EF4-FFF2-40B4-BE49-F238E27FC236}">
                        <a16:creationId xmlns:a16="http://schemas.microsoft.com/office/drawing/2014/main" id="{063FC988-FB1C-10D9-2C75-9319A3CA3C7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323975" y="2832101"/>
                    <a:ext cx="101600" cy="117475"/>
                  </a:xfrm>
                  <a:custGeom>
                    <a:avLst/>
                    <a:gdLst>
                      <a:gd name="T0" fmla="*/ 49 w 55"/>
                      <a:gd name="T1" fmla="*/ 63 h 63"/>
                      <a:gd name="T2" fmla="*/ 55 w 55"/>
                      <a:gd name="T3" fmla="*/ 58 h 63"/>
                      <a:gd name="T4" fmla="*/ 6 w 55"/>
                      <a:gd name="T5" fmla="*/ 0 h 63"/>
                      <a:gd name="T6" fmla="*/ 0 w 55"/>
                      <a:gd name="T7" fmla="*/ 5 h 63"/>
                      <a:gd name="T8" fmla="*/ 49 w 55"/>
                      <a:gd name="T9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49" y="63"/>
                        </a:moveTo>
                        <a:cubicBezTo>
                          <a:pt x="51" y="61"/>
                          <a:pt x="53" y="60"/>
                          <a:pt x="55" y="58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5"/>
                        </a:cubicBezTo>
                        <a:lnTo>
                          <a:pt x="49" y="6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1" name="Freeform 25">
                    <a:extLst>
                      <a:ext uri="{FF2B5EF4-FFF2-40B4-BE49-F238E27FC236}">
                        <a16:creationId xmlns:a16="http://schemas.microsoft.com/office/drawing/2014/main" id="{33405051-4744-D0DF-2178-0A3F3B015AC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479550" y="2711451"/>
                    <a:ext cx="92075" cy="123825"/>
                  </a:xfrm>
                  <a:custGeom>
                    <a:avLst/>
                    <a:gdLst>
                      <a:gd name="T0" fmla="*/ 44 w 50"/>
                      <a:gd name="T1" fmla="*/ 67 h 67"/>
                      <a:gd name="T2" fmla="*/ 50 w 50"/>
                      <a:gd name="T3" fmla="*/ 62 h 67"/>
                      <a:gd name="T4" fmla="*/ 6 w 50"/>
                      <a:gd name="T5" fmla="*/ 0 h 67"/>
                      <a:gd name="T6" fmla="*/ 0 w 50"/>
                      <a:gd name="T7" fmla="*/ 4 h 67"/>
                      <a:gd name="T8" fmla="*/ 44 w 50"/>
                      <a:gd name="T9" fmla="*/ 67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0" h="67">
                        <a:moveTo>
                          <a:pt x="44" y="67"/>
                        </a:moveTo>
                        <a:cubicBezTo>
                          <a:pt x="46" y="65"/>
                          <a:pt x="48" y="64"/>
                          <a:pt x="50" y="62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4"/>
                        </a:cubicBezTo>
                        <a:lnTo>
                          <a:pt x="44" y="6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2" name="Freeform 26">
                    <a:extLst>
                      <a:ext uri="{FF2B5EF4-FFF2-40B4-BE49-F238E27FC236}">
                        <a16:creationId xmlns:a16="http://schemas.microsoft.com/office/drawing/2014/main" id="{D0E009AF-B312-07EB-EAC9-ED624271E1A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271963" y="2960688"/>
                    <a:ext cx="109538" cy="111125"/>
                  </a:xfrm>
                  <a:custGeom>
                    <a:avLst/>
                    <a:gdLst>
                      <a:gd name="T0" fmla="*/ 5 w 59"/>
                      <a:gd name="T1" fmla="*/ 60 h 60"/>
                      <a:gd name="T2" fmla="*/ 59 w 59"/>
                      <a:gd name="T3" fmla="*/ 6 h 60"/>
                      <a:gd name="T4" fmla="*/ 56 w 59"/>
                      <a:gd name="T5" fmla="*/ 3 h 60"/>
                      <a:gd name="T6" fmla="*/ 54 w 59"/>
                      <a:gd name="T7" fmla="*/ 0 h 60"/>
                      <a:gd name="T8" fmla="*/ 0 w 59"/>
                      <a:gd name="T9" fmla="*/ 54 h 60"/>
                      <a:gd name="T10" fmla="*/ 5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" y="60"/>
                        </a:moveTo>
                        <a:cubicBezTo>
                          <a:pt x="59" y="6"/>
                          <a:pt x="59" y="6"/>
                          <a:pt x="59" y="6"/>
                        </a:cubicBezTo>
                        <a:cubicBezTo>
                          <a:pt x="58" y="5"/>
                          <a:pt x="57" y="4"/>
                          <a:pt x="56" y="3"/>
                        </a:cubicBezTo>
                        <a:cubicBezTo>
                          <a:pt x="55" y="2"/>
                          <a:pt x="55" y="1"/>
                          <a:pt x="54" y="0"/>
                        </a:cubicBezTo>
                        <a:cubicBezTo>
                          <a:pt x="0" y="54"/>
                          <a:pt x="0" y="54"/>
                          <a:pt x="0" y="54"/>
                        </a:cubicBezTo>
                        <a:cubicBezTo>
                          <a:pt x="2" y="56"/>
                          <a:pt x="4" y="58"/>
                          <a:pt x="5" y="6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3" name="Freeform 27">
                    <a:extLst>
                      <a:ext uri="{FF2B5EF4-FFF2-40B4-BE49-F238E27FC236}">
                        <a16:creationId xmlns:a16="http://schemas.microsoft.com/office/drawing/2014/main" id="{56CA8EB0-FECC-3BA5-88BC-5CCE8422EB0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79513" y="2963863"/>
                    <a:ext cx="109538" cy="111125"/>
                  </a:xfrm>
                  <a:custGeom>
                    <a:avLst/>
                    <a:gdLst>
                      <a:gd name="T0" fmla="*/ 54 w 59"/>
                      <a:gd name="T1" fmla="*/ 60 h 60"/>
                      <a:gd name="T2" fmla="*/ 59 w 59"/>
                      <a:gd name="T3" fmla="*/ 54 h 60"/>
                      <a:gd name="T4" fmla="*/ 6 w 59"/>
                      <a:gd name="T5" fmla="*/ 0 h 60"/>
                      <a:gd name="T6" fmla="*/ 5 w 59"/>
                      <a:gd name="T7" fmla="*/ 1 h 60"/>
                      <a:gd name="T8" fmla="*/ 0 w 59"/>
                      <a:gd name="T9" fmla="*/ 6 h 60"/>
                      <a:gd name="T10" fmla="*/ 54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4" y="60"/>
                        </a:moveTo>
                        <a:cubicBezTo>
                          <a:pt x="56" y="58"/>
                          <a:pt x="57" y="56"/>
                          <a:pt x="59" y="54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5" y="1"/>
                          <a:pt x="5" y="1"/>
                          <a:pt x="5" y="1"/>
                        </a:cubicBezTo>
                        <a:cubicBezTo>
                          <a:pt x="3" y="3"/>
                          <a:pt x="2" y="4"/>
                          <a:pt x="0" y="6"/>
                        </a:cubicBezTo>
                        <a:lnTo>
                          <a:pt x="54" y="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4" name="Freeform 28">
                    <a:extLst>
                      <a:ext uri="{FF2B5EF4-FFF2-40B4-BE49-F238E27FC236}">
                        <a16:creationId xmlns:a16="http://schemas.microsoft.com/office/drawing/2014/main" id="{0071F0F9-96ED-E664-98E5-16245108241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28638" y="4557713"/>
                    <a:ext cx="138113" cy="14288"/>
                  </a:xfrm>
                  <a:custGeom>
                    <a:avLst/>
                    <a:gdLst>
                      <a:gd name="T0" fmla="*/ 75 w 75"/>
                      <a:gd name="T1" fmla="*/ 0 h 8"/>
                      <a:gd name="T2" fmla="*/ 0 w 75"/>
                      <a:gd name="T3" fmla="*/ 0 h 8"/>
                      <a:gd name="T4" fmla="*/ 0 w 75"/>
                      <a:gd name="T5" fmla="*/ 8 h 8"/>
                      <a:gd name="T6" fmla="*/ 75 w 75"/>
                      <a:gd name="T7" fmla="*/ 8 h 8"/>
                      <a:gd name="T8" fmla="*/ 75 w 75"/>
                      <a:gd name="T9" fmla="*/ 0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8">
                        <a:moveTo>
                          <a:pt x="75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cubicBezTo>
                          <a:pt x="75" y="8"/>
                          <a:pt x="75" y="8"/>
                          <a:pt x="75" y="8"/>
                        </a:cubicBezTo>
                        <a:cubicBezTo>
                          <a:pt x="75" y="5"/>
                          <a:pt x="75" y="3"/>
                          <a:pt x="75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5" name="Freeform 29">
                    <a:extLst>
                      <a:ext uri="{FF2B5EF4-FFF2-40B4-BE49-F238E27FC236}">
                        <a16:creationId xmlns:a16="http://schemas.microsoft.com/office/drawing/2014/main" id="{DC46D4D1-7957-BD61-ACA5-FFE9CC36416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133850" y="2828926"/>
                    <a:ext cx="103188" cy="115888"/>
                  </a:xfrm>
                  <a:custGeom>
                    <a:avLst/>
                    <a:gdLst>
                      <a:gd name="T0" fmla="*/ 0 w 55"/>
                      <a:gd name="T1" fmla="*/ 58 h 63"/>
                      <a:gd name="T2" fmla="*/ 6 w 55"/>
                      <a:gd name="T3" fmla="*/ 63 h 63"/>
                      <a:gd name="T4" fmla="*/ 55 w 55"/>
                      <a:gd name="T5" fmla="*/ 5 h 63"/>
                      <a:gd name="T6" fmla="*/ 49 w 55"/>
                      <a:gd name="T7" fmla="*/ 0 h 63"/>
                      <a:gd name="T8" fmla="*/ 0 w 55"/>
                      <a:gd name="T9" fmla="*/ 58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0" y="58"/>
                        </a:moveTo>
                        <a:cubicBezTo>
                          <a:pt x="2" y="60"/>
                          <a:pt x="4" y="62"/>
                          <a:pt x="6" y="63"/>
                        </a:cubicBezTo>
                        <a:cubicBezTo>
                          <a:pt x="55" y="5"/>
                          <a:pt x="55" y="5"/>
                          <a:pt x="55" y="5"/>
                        </a:cubicBezTo>
                        <a:cubicBezTo>
                          <a:pt x="53" y="3"/>
                          <a:pt x="51" y="2"/>
                          <a:pt x="49" y="0"/>
                        </a:cubicBezTo>
                        <a:lnTo>
                          <a:pt x="0" y="58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6" name="Freeform 30">
                    <a:extLst>
                      <a:ext uri="{FF2B5EF4-FFF2-40B4-BE49-F238E27FC236}">
                        <a16:creationId xmlns:a16="http://schemas.microsoft.com/office/drawing/2014/main" id="{E3146807-9B7A-87A0-5CFF-17F001FCE50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58813" y="3787776"/>
                    <a:ext cx="136525" cy="60325"/>
                  </a:xfrm>
                  <a:custGeom>
                    <a:avLst/>
                    <a:gdLst>
                      <a:gd name="T0" fmla="*/ 71 w 74"/>
                      <a:gd name="T1" fmla="*/ 33 h 33"/>
                      <a:gd name="T2" fmla="*/ 74 w 74"/>
                      <a:gd name="T3" fmla="*/ 26 h 33"/>
                      <a:gd name="T4" fmla="*/ 2 w 74"/>
                      <a:gd name="T5" fmla="*/ 0 h 33"/>
                      <a:gd name="T6" fmla="*/ 0 w 74"/>
                      <a:gd name="T7" fmla="*/ 7 h 33"/>
                      <a:gd name="T8" fmla="*/ 71 w 74"/>
                      <a:gd name="T9" fmla="*/ 33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4" h="33">
                        <a:moveTo>
                          <a:pt x="71" y="33"/>
                        </a:moveTo>
                        <a:cubicBezTo>
                          <a:pt x="72" y="31"/>
                          <a:pt x="73" y="28"/>
                          <a:pt x="74" y="26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2" y="2"/>
                          <a:pt x="1" y="5"/>
                          <a:pt x="0" y="7"/>
                        </a:cubicBezTo>
                        <a:lnTo>
                          <a:pt x="71" y="3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7" name="Freeform 31">
                    <a:extLst>
                      <a:ext uri="{FF2B5EF4-FFF2-40B4-BE49-F238E27FC236}">
                        <a16:creationId xmlns:a16="http://schemas.microsoft.com/office/drawing/2014/main" id="{8D74BDA8-E90B-0DDE-CC35-A8CBCC582F7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832225" y="2605088"/>
                    <a:ext cx="84138" cy="128588"/>
                  </a:xfrm>
                  <a:custGeom>
                    <a:avLst/>
                    <a:gdLst>
                      <a:gd name="T0" fmla="*/ 0 w 45"/>
                      <a:gd name="T1" fmla="*/ 65 h 70"/>
                      <a:gd name="T2" fmla="*/ 7 w 45"/>
                      <a:gd name="T3" fmla="*/ 70 h 70"/>
                      <a:gd name="T4" fmla="*/ 45 w 45"/>
                      <a:gd name="T5" fmla="*/ 4 h 70"/>
                      <a:gd name="T6" fmla="*/ 38 w 45"/>
                      <a:gd name="T7" fmla="*/ 0 h 70"/>
                      <a:gd name="T8" fmla="*/ 0 w 45"/>
                      <a:gd name="T9" fmla="*/ 65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0" y="65"/>
                        </a:moveTo>
                        <a:cubicBezTo>
                          <a:pt x="3" y="67"/>
                          <a:pt x="5" y="68"/>
                          <a:pt x="7" y="70"/>
                        </a:cubicBezTo>
                        <a:cubicBezTo>
                          <a:pt x="45" y="4"/>
                          <a:pt x="45" y="4"/>
                          <a:pt x="45" y="4"/>
                        </a:cubicBezTo>
                        <a:cubicBezTo>
                          <a:pt x="43" y="2"/>
                          <a:pt x="41" y="1"/>
                          <a:pt x="38" y="0"/>
                        </a:cubicBezTo>
                        <a:lnTo>
                          <a:pt x="0" y="65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8" name="Freeform 32">
                    <a:extLst>
                      <a:ext uri="{FF2B5EF4-FFF2-40B4-BE49-F238E27FC236}">
                        <a16:creationId xmlns:a16="http://schemas.microsoft.com/office/drawing/2014/main" id="{04182EE6-DC09-A9A4-02B3-825024E57C8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987800" y="2708276"/>
                    <a:ext cx="95250" cy="123825"/>
                  </a:xfrm>
                  <a:custGeom>
                    <a:avLst/>
                    <a:gdLst>
                      <a:gd name="T0" fmla="*/ 0 w 51"/>
                      <a:gd name="T1" fmla="*/ 63 h 67"/>
                      <a:gd name="T2" fmla="*/ 7 w 51"/>
                      <a:gd name="T3" fmla="*/ 67 h 67"/>
                      <a:gd name="T4" fmla="*/ 51 w 51"/>
                      <a:gd name="T5" fmla="*/ 5 h 67"/>
                      <a:gd name="T6" fmla="*/ 44 w 51"/>
                      <a:gd name="T7" fmla="*/ 0 h 67"/>
                      <a:gd name="T8" fmla="*/ 0 w 51"/>
                      <a:gd name="T9" fmla="*/ 63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1" h="67">
                        <a:moveTo>
                          <a:pt x="0" y="63"/>
                        </a:moveTo>
                        <a:cubicBezTo>
                          <a:pt x="2" y="64"/>
                          <a:pt x="5" y="66"/>
                          <a:pt x="7" y="67"/>
                        </a:cubicBezTo>
                        <a:cubicBezTo>
                          <a:pt x="51" y="5"/>
                          <a:pt x="51" y="5"/>
                          <a:pt x="51" y="5"/>
                        </a:cubicBezTo>
                        <a:cubicBezTo>
                          <a:pt x="48" y="3"/>
                          <a:pt x="46" y="2"/>
                          <a:pt x="44" y="0"/>
                        </a:cubicBezTo>
                        <a:lnTo>
                          <a:pt x="0" y="63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9" name="Freeform 33">
                    <a:extLst>
                      <a:ext uri="{FF2B5EF4-FFF2-40B4-BE49-F238E27FC236}">
                        <a16:creationId xmlns:a16="http://schemas.microsoft.com/office/drawing/2014/main" id="{F47D70CB-E8AC-A337-3BCA-4158AB665A8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61988" y="5280026"/>
                    <a:ext cx="139700" cy="60325"/>
                  </a:xfrm>
                  <a:custGeom>
                    <a:avLst/>
                    <a:gdLst>
                      <a:gd name="T0" fmla="*/ 75 w 75"/>
                      <a:gd name="T1" fmla="*/ 7 h 33"/>
                      <a:gd name="T2" fmla="*/ 72 w 75"/>
                      <a:gd name="T3" fmla="*/ 0 h 33"/>
                      <a:gd name="T4" fmla="*/ 0 w 75"/>
                      <a:gd name="T5" fmla="*/ 26 h 33"/>
                      <a:gd name="T6" fmla="*/ 3 w 75"/>
                      <a:gd name="T7" fmla="*/ 33 h 33"/>
                      <a:gd name="T8" fmla="*/ 75 w 75"/>
                      <a:gd name="T9" fmla="*/ 7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33">
                        <a:moveTo>
                          <a:pt x="75" y="7"/>
                        </a:moveTo>
                        <a:cubicBezTo>
                          <a:pt x="74" y="5"/>
                          <a:pt x="73" y="2"/>
                          <a:pt x="72" y="0"/>
                        </a:cubicBezTo>
                        <a:cubicBezTo>
                          <a:pt x="0" y="26"/>
                          <a:pt x="0" y="26"/>
                          <a:pt x="0" y="26"/>
                        </a:cubicBezTo>
                        <a:cubicBezTo>
                          <a:pt x="1" y="28"/>
                          <a:pt x="2" y="31"/>
                          <a:pt x="3" y="33"/>
                        </a:cubicBezTo>
                        <a:lnTo>
                          <a:pt x="75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0" name="Freeform 34">
                    <a:extLst>
                      <a:ext uri="{FF2B5EF4-FFF2-40B4-BE49-F238E27FC236}">
                        <a16:creationId xmlns:a16="http://schemas.microsoft.com/office/drawing/2014/main" id="{3106785A-06BB-28BD-F973-8EC5F50F0FE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04838" y="5103813"/>
                    <a:ext cx="138113" cy="50800"/>
                  </a:xfrm>
                  <a:custGeom>
                    <a:avLst/>
                    <a:gdLst>
                      <a:gd name="T0" fmla="*/ 75 w 75"/>
                      <a:gd name="T1" fmla="*/ 8 h 27"/>
                      <a:gd name="T2" fmla="*/ 73 w 75"/>
                      <a:gd name="T3" fmla="*/ 0 h 27"/>
                      <a:gd name="T4" fmla="*/ 0 w 75"/>
                      <a:gd name="T5" fmla="*/ 20 h 27"/>
                      <a:gd name="T6" fmla="*/ 2 w 75"/>
                      <a:gd name="T7" fmla="*/ 27 h 27"/>
                      <a:gd name="T8" fmla="*/ 75 w 75"/>
                      <a:gd name="T9" fmla="*/ 8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27">
                        <a:moveTo>
                          <a:pt x="75" y="8"/>
                        </a:moveTo>
                        <a:cubicBezTo>
                          <a:pt x="74" y="5"/>
                          <a:pt x="74" y="3"/>
                          <a:pt x="73" y="0"/>
                        </a:cubicBezTo>
                        <a:cubicBezTo>
                          <a:pt x="0" y="20"/>
                          <a:pt x="0" y="20"/>
                          <a:pt x="0" y="20"/>
                        </a:cubicBezTo>
                        <a:cubicBezTo>
                          <a:pt x="0" y="22"/>
                          <a:pt x="1" y="25"/>
                          <a:pt x="2" y="27"/>
                        </a:cubicBezTo>
                        <a:lnTo>
                          <a:pt x="75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1" name="Freeform 35">
                    <a:extLst>
                      <a:ext uri="{FF2B5EF4-FFF2-40B4-BE49-F238E27FC236}">
                        <a16:creationId xmlns:a16="http://schemas.microsoft.com/office/drawing/2014/main" id="{7FA77518-9ED9-0D5F-AE7F-0D17BFCE92B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8675" y="5613401"/>
                    <a:ext cx="130175" cy="82550"/>
                  </a:xfrm>
                  <a:custGeom>
                    <a:avLst/>
                    <a:gdLst>
                      <a:gd name="T0" fmla="*/ 70 w 70"/>
                      <a:gd name="T1" fmla="*/ 7 h 45"/>
                      <a:gd name="T2" fmla="*/ 66 w 70"/>
                      <a:gd name="T3" fmla="*/ 0 h 45"/>
                      <a:gd name="T4" fmla="*/ 0 w 70"/>
                      <a:gd name="T5" fmla="*/ 38 h 45"/>
                      <a:gd name="T6" fmla="*/ 4 w 70"/>
                      <a:gd name="T7" fmla="*/ 45 h 45"/>
                      <a:gd name="T8" fmla="*/ 70 w 70"/>
                      <a:gd name="T9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70" y="7"/>
                        </a:moveTo>
                        <a:cubicBezTo>
                          <a:pt x="69" y="4"/>
                          <a:pt x="67" y="2"/>
                          <a:pt x="66" y="0"/>
                        </a:cubicBezTo>
                        <a:cubicBezTo>
                          <a:pt x="0" y="38"/>
                          <a:pt x="0" y="38"/>
                          <a:pt x="0" y="38"/>
                        </a:cubicBezTo>
                        <a:cubicBezTo>
                          <a:pt x="1" y="40"/>
                          <a:pt x="3" y="42"/>
                          <a:pt x="4" y="45"/>
                        </a:cubicBezTo>
                        <a:lnTo>
                          <a:pt x="70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2" name="Freeform 36">
                    <a:extLst>
                      <a:ext uri="{FF2B5EF4-FFF2-40B4-BE49-F238E27FC236}">
                        <a16:creationId xmlns:a16="http://schemas.microsoft.com/office/drawing/2014/main" id="{A965A9C0-37B1-BA9A-E8A8-781570BAE76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61975" y="4924426"/>
                    <a:ext cx="141288" cy="38100"/>
                  </a:xfrm>
                  <a:custGeom>
                    <a:avLst/>
                    <a:gdLst>
                      <a:gd name="T0" fmla="*/ 76 w 76"/>
                      <a:gd name="T1" fmla="*/ 8 h 21"/>
                      <a:gd name="T2" fmla="*/ 74 w 76"/>
                      <a:gd name="T3" fmla="*/ 0 h 21"/>
                      <a:gd name="T4" fmla="*/ 0 w 76"/>
                      <a:gd name="T5" fmla="*/ 13 h 21"/>
                      <a:gd name="T6" fmla="*/ 1 w 76"/>
                      <a:gd name="T7" fmla="*/ 21 h 21"/>
                      <a:gd name="T8" fmla="*/ 76 w 76"/>
                      <a:gd name="T9" fmla="*/ 8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21">
                        <a:moveTo>
                          <a:pt x="76" y="8"/>
                        </a:moveTo>
                        <a:cubicBezTo>
                          <a:pt x="75" y="5"/>
                          <a:pt x="75" y="3"/>
                          <a:pt x="74" y="0"/>
                        </a:cubicBez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0" y="16"/>
                          <a:pt x="1" y="18"/>
                          <a:pt x="1" y="21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3" name="Freeform 37">
                    <a:extLst>
                      <a:ext uri="{FF2B5EF4-FFF2-40B4-BE49-F238E27FC236}">
                        <a16:creationId xmlns:a16="http://schemas.microsoft.com/office/drawing/2014/main" id="{7AB40D5D-21BC-6D16-952D-C87E9A8D665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8188" y="5449888"/>
                    <a:ext cx="133350" cy="73025"/>
                  </a:xfrm>
                  <a:custGeom>
                    <a:avLst/>
                    <a:gdLst>
                      <a:gd name="T0" fmla="*/ 72 w 72"/>
                      <a:gd name="T1" fmla="*/ 7 h 39"/>
                      <a:gd name="T2" fmla="*/ 69 w 72"/>
                      <a:gd name="T3" fmla="*/ 0 h 39"/>
                      <a:gd name="T4" fmla="*/ 0 w 72"/>
                      <a:gd name="T5" fmla="*/ 32 h 39"/>
                      <a:gd name="T6" fmla="*/ 3 w 72"/>
                      <a:gd name="T7" fmla="*/ 39 h 39"/>
                      <a:gd name="T8" fmla="*/ 72 w 72"/>
                      <a:gd name="T9" fmla="*/ 7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72" y="7"/>
                        </a:moveTo>
                        <a:cubicBezTo>
                          <a:pt x="71" y="4"/>
                          <a:pt x="70" y="2"/>
                          <a:pt x="69" y="0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1" y="34"/>
                          <a:pt x="2" y="37"/>
                          <a:pt x="3" y="39"/>
                        </a:cubicBezTo>
                        <a:lnTo>
                          <a:pt x="72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4" name="Freeform 39">
                    <a:extLst>
                      <a:ext uri="{FF2B5EF4-FFF2-40B4-BE49-F238E27FC236}">
                        <a16:creationId xmlns:a16="http://schemas.microsoft.com/office/drawing/2014/main" id="{2FFA9CB7-1EFE-190B-4668-2D2BD0B34F8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740276"/>
                    <a:ext cx="139700" cy="28575"/>
                  </a:xfrm>
                  <a:custGeom>
                    <a:avLst/>
                    <a:gdLst>
                      <a:gd name="T0" fmla="*/ 76 w 76"/>
                      <a:gd name="T1" fmla="*/ 8 h 15"/>
                      <a:gd name="T2" fmla="*/ 75 w 76"/>
                      <a:gd name="T3" fmla="*/ 0 h 15"/>
                      <a:gd name="T4" fmla="*/ 0 w 76"/>
                      <a:gd name="T5" fmla="*/ 7 h 15"/>
                      <a:gd name="T6" fmla="*/ 1 w 76"/>
                      <a:gd name="T7" fmla="*/ 15 h 15"/>
                      <a:gd name="T8" fmla="*/ 76 w 76"/>
                      <a:gd name="T9" fmla="*/ 8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15">
                        <a:moveTo>
                          <a:pt x="76" y="8"/>
                        </a:moveTo>
                        <a:cubicBezTo>
                          <a:pt x="76" y="6"/>
                          <a:pt x="76" y="3"/>
                          <a:pt x="75" y="0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10"/>
                          <a:pt x="1" y="12"/>
                          <a:pt x="1" y="15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5" name="Freeform 40">
                    <a:extLst>
                      <a:ext uri="{FF2B5EF4-FFF2-40B4-BE49-F238E27FC236}">
                        <a16:creationId xmlns:a16="http://schemas.microsoft.com/office/drawing/2014/main" id="{0E3882F4-0CF2-8A31-2C93-457999C8370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360863"/>
                    <a:ext cx="138113" cy="28575"/>
                  </a:xfrm>
                  <a:custGeom>
                    <a:avLst/>
                    <a:gdLst>
                      <a:gd name="T0" fmla="*/ 75 w 75"/>
                      <a:gd name="T1" fmla="*/ 15 h 15"/>
                      <a:gd name="T2" fmla="*/ 75 w 75"/>
                      <a:gd name="T3" fmla="*/ 7 h 15"/>
                      <a:gd name="T4" fmla="*/ 0 w 75"/>
                      <a:gd name="T5" fmla="*/ 0 h 15"/>
                      <a:gd name="T6" fmla="*/ 0 w 75"/>
                      <a:gd name="T7" fmla="*/ 8 h 15"/>
                      <a:gd name="T8" fmla="*/ 75 w 75"/>
                      <a:gd name="T9" fmla="*/ 15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5">
                        <a:moveTo>
                          <a:pt x="75" y="15"/>
                        </a:moveTo>
                        <a:cubicBezTo>
                          <a:pt x="75" y="12"/>
                          <a:pt x="75" y="9"/>
                          <a:pt x="75" y="7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lnTo>
                          <a:pt x="75" y="1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6" name="Freeform 41">
                    <a:extLst>
                      <a:ext uri="{FF2B5EF4-FFF2-40B4-BE49-F238E27FC236}">
                        <a16:creationId xmlns:a16="http://schemas.microsoft.com/office/drawing/2014/main" id="{08844F03-2886-CB81-7460-65DCEB69D34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644900" y="2508251"/>
                    <a:ext cx="107950" cy="171450"/>
                  </a:xfrm>
                  <a:custGeom>
                    <a:avLst/>
                    <a:gdLst>
                      <a:gd name="T0" fmla="*/ 39 w 58"/>
                      <a:gd name="T1" fmla="*/ 0 h 93"/>
                      <a:gd name="T2" fmla="*/ 0 w 58"/>
                      <a:gd name="T3" fmla="*/ 85 h 93"/>
                      <a:gd name="T4" fmla="*/ 10 w 58"/>
                      <a:gd name="T5" fmla="*/ 89 h 93"/>
                      <a:gd name="T6" fmla="*/ 19 w 58"/>
                      <a:gd name="T7" fmla="*/ 93 h 93"/>
                      <a:gd name="T8" fmla="*/ 58 w 58"/>
                      <a:gd name="T9" fmla="*/ 8 h 93"/>
                      <a:gd name="T10" fmla="*/ 49 w 58"/>
                      <a:gd name="T11" fmla="*/ 4 h 93"/>
                      <a:gd name="T12" fmla="*/ 39 w 58"/>
                      <a:gd name="T13" fmla="*/ 0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39" y="0"/>
                        </a:moveTo>
                        <a:cubicBezTo>
                          <a:pt x="0" y="85"/>
                          <a:pt x="0" y="85"/>
                          <a:pt x="0" y="85"/>
                        </a:cubicBezTo>
                        <a:cubicBezTo>
                          <a:pt x="2" y="85"/>
                          <a:pt x="8" y="88"/>
                          <a:pt x="10" y="89"/>
                        </a:cubicBezTo>
                        <a:cubicBezTo>
                          <a:pt x="11" y="90"/>
                          <a:pt x="17" y="93"/>
                          <a:pt x="19" y="93"/>
                        </a:cubicBezTo>
                        <a:cubicBezTo>
                          <a:pt x="58" y="8"/>
                          <a:pt x="58" y="8"/>
                          <a:pt x="58" y="8"/>
                        </a:cubicBezTo>
                        <a:cubicBezTo>
                          <a:pt x="56" y="8"/>
                          <a:pt x="50" y="4"/>
                          <a:pt x="49" y="4"/>
                        </a:cubicBezTo>
                        <a:cubicBezTo>
                          <a:pt x="47" y="3"/>
                          <a:pt x="41" y="0"/>
                          <a:pt x="39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7" name="Freeform 42">
                    <a:extLst>
                      <a:ext uri="{FF2B5EF4-FFF2-40B4-BE49-F238E27FC236}">
                        <a16:creationId xmlns:a16="http://schemas.microsoft.com/office/drawing/2014/main" id="{C36A071C-AA77-389E-12E3-CBF4EC4ADEA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364038" y="3095626"/>
                    <a:ext cx="157163" cy="139700"/>
                  </a:xfrm>
                  <a:custGeom>
                    <a:avLst/>
                    <a:gdLst>
                      <a:gd name="T0" fmla="*/ 72 w 85"/>
                      <a:gd name="T1" fmla="*/ 0 h 76"/>
                      <a:gd name="T2" fmla="*/ 0 w 85"/>
                      <a:gd name="T3" fmla="*/ 60 h 76"/>
                      <a:gd name="T4" fmla="*/ 6 w 85"/>
                      <a:gd name="T5" fmla="*/ 68 h 76"/>
                      <a:gd name="T6" fmla="*/ 13 w 85"/>
                      <a:gd name="T7" fmla="*/ 76 h 76"/>
                      <a:gd name="T8" fmla="*/ 85 w 85"/>
                      <a:gd name="T9" fmla="*/ 16 h 76"/>
                      <a:gd name="T10" fmla="*/ 78 w 85"/>
                      <a:gd name="T11" fmla="*/ 8 h 76"/>
                      <a:gd name="T12" fmla="*/ 72 w 85"/>
                      <a:gd name="T13" fmla="*/ 0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6">
                        <a:moveTo>
                          <a:pt x="72" y="0"/>
                        </a:move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1" y="61"/>
                          <a:pt x="6" y="67"/>
                          <a:pt x="6" y="68"/>
                        </a:cubicBezTo>
                        <a:cubicBezTo>
                          <a:pt x="7" y="69"/>
                          <a:pt x="12" y="75"/>
                          <a:pt x="13" y="76"/>
                        </a:cubicBezTo>
                        <a:cubicBezTo>
                          <a:pt x="85" y="16"/>
                          <a:pt x="85" y="16"/>
                          <a:pt x="85" y="16"/>
                        </a:cubicBezTo>
                        <a:cubicBezTo>
                          <a:pt x="84" y="15"/>
                          <a:pt x="79" y="9"/>
                          <a:pt x="78" y="8"/>
                        </a:cubicBezTo>
                        <a:cubicBezTo>
                          <a:pt x="78" y="7"/>
                          <a:pt x="73" y="1"/>
                          <a:pt x="72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8" name="Freeform 43">
                    <a:extLst>
                      <a:ext uri="{FF2B5EF4-FFF2-40B4-BE49-F238E27FC236}">
                        <a16:creationId xmlns:a16="http://schemas.microsoft.com/office/drawing/2014/main" id="{FA09500C-85DE-99FD-0153-2256D144E76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814513" y="2506663"/>
                    <a:ext cx="107950" cy="171450"/>
                  </a:xfrm>
                  <a:custGeom>
                    <a:avLst/>
                    <a:gdLst>
                      <a:gd name="T0" fmla="*/ 0 w 58"/>
                      <a:gd name="T1" fmla="*/ 9 h 93"/>
                      <a:gd name="T2" fmla="*/ 40 w 58"/>
                      <a:gd name="T3" fmla="*/ 93 h 93"/>
                      <a:gd name="T4" fmla="*/ 49 w 58"/>
                      <a:gd name="T5" fmla="*/ 89 h 93"/>
                      <a:gd name="T6" fmla="*/ 58 w 58"/>
                      <a:gd name="T7" fmla="*/ 85 h 93"/>
                      <a:gd name="T8" fmla="*/ 18 w 58"/>
                      <a:gd name="T9" fmla="*/ 0 h 93"/>
                      <a:gd name="T10" fmla="*/ 9 w 58"/>
                      <a:gd name="T11" fmla="*/ 4 h 93"/>
                      <a:gd name="T12" fmla="*/ 0 w 58"/>
                      <a:gd name="T13" fmla="*/ 9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0" y="9"/>
                        </a:moveTo>
                        <a:cubicBezTo>
                          <a:pt x="40" y="93"/>
                          <a:pt x="40" y="93"/>
                          <a:pt x="40" y="93"/>
                        </a:cubicBezTo>
                        <a:cubicBezTo>
                          <a:pt x="41" y="93"/>
                          <a:pt x="47" y="90"/>
                          <a:pt x="49" y="89"/>
                        </a:cubicBezTo>
                        <a:cubicBezTo>
                          <a:pt x="50" y="88"/>
                          <a:pt x="57" y="85"/>
                          <a:pt x="58" y="85"/>
                        </a:cubicBezTo>
                        <a:cubicBezTo>
                          <a:pt x="18" y="0"/>
                          <a:pt x="18" y="0"/>
                          <a:pt x="18" y="0"/>
                        </a:cubicBezTo>
                        <a:cubicBezTo>
                          <a:pt x="17" y="1"/>
                          <a:pt x="10" y="4"/>
                          <a:pt x="9" y="4"/>
                        </a:cubicBezTo>
                        <a:cubicBezTo>
                          <a:pt x="7" y="5"/>
                          <a:pt x="1" y="8"/>
                          <a:pt x="0" y="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9" name="Freeform 44">
                    <a:extLst>
                      <a:ext uri="{FF2B5EF4-FFF2-40B4-BE49-F238E27FC236}">
                        <a16:creationId xmlns:a16="http://schemas.microsoft.com/office/drawing/2014/main" id="{F8BB8C07-1262-61B0-6B31-A1DA7B554E7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225" y="3100388"/>
                    <a:ext cx="157163" cy="139700"/>
                  </a:xfrm>
                  <a:custGeom>
                    <a:avLst/>
                    <a:gdLst>
                      <a:gd name="T0" fmla="*/ 0 w 85"/>
                      <a:gd name="T1" fmla="*/ 16 h 75"/>
                      <a:gd name="T2" fmla="*/ 72 w 85"/>
                      <a:gd name="T3" fmla="*/ 75 h 75"/>
                      <a:gd name="T4" fmla="*/ 78 w 85"/>
                      <a:gd name="T5" fmla="*/ 67 h 75"/>
                      <a:gd name="T6" fmla="*/ 85 w 85"/>
                      <a:gd name="T7" fmla="*/ 59 h 75"/>
                      <a:gd name="T8" fmla="*/ 12 w 85"/>
                      <a:gd name="T9" fmla="*/ 0 h 75"/>
                      <a:gd name="T10" fmla="*/ 6 w 85"/>
                      <a:gd name="T11" fmla="*/ 8 h 75"/>
                      <a:gd name="T12" fmla="*/ 0 w 85"/>
                      <a:gd name="T13" fmla="*/ 16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5">
                        <a:moveTo>
                          <a:pt x="0" y="16"/>
                        </a:moveTo>
                        <a:cubicBezTo>
                          <a:pt x="72" y="75"/>
                          <a:pt x="72" y="75"/>
                          <a:pt x="72" y="75"/>
                        </a:cubicBezTo>
                        <a:cubicBezTo>
                          <a:pt x="73" y="74"/>
                          <a:pt x="78" y="68"/>
                          <a:pt x="78" y="67"/>
                        </a:cubicBezTo>
                        <a:cubicBezTo>
                          <a:pt x="79" y="66"/>
                          <a:pt x="84" y="60"/>
                          <a:pt x="85" y="59"/>
                        </a:cubicBezTo>
                        <a:cubicBezTo>
                          <a:pt x="12" y="0"/>
                          <a:pt x="12" y="0"/>
                          <a:pt x="12" y="0"/>
                        </a:cubicBezTo>
                        <a:cubicBezTo>
                          <a:pt x="11" y="1"/>
                          <a:pt x="7" y="7"/>
                          <a:pt x="6" y="8"/>
                        </a:cubicBezTo>
                        <a:cubicBezTo>
                          <a:pt x="5" y="9"/>
                          <a:pt x="0" y="14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0" name="Freeform 46">
                    <a:extLst>
                      <a:ext uri="{FF2B5EF4-FFF2-40B4-BE49-F238E27FC236}">
                        <a16:creationId xmlns:a16="http://schemas.microsoft.com/office/drawing/2014/main" id="{E3DF4FDE-613F-342C-BB5C-F47283DBA1D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58800" y="4906963"/>
                    <a:ext cx="177800" cy="69850"/>
                  </a:xfrm>
                  <a:custGeom>
                    <a:avLst/>
                    <a:gdLst>
                      <a:gd name="T0" fmla="*/ 4 w 96"/>
                      <a:gd name="T1" fmla="*/ 37 h 37"/>
                      <a:gd name="T2" fmla="*/ 96 w 96"/>
                      <a:gd name="T3" fmla="*/ 20 h 37"/>
                      <a:gd name="T4" fmla="*/ 94 w 96"/>
                      <a:gd name="T5" fmla="*/ 10 h 37"/>
                      <a:gd name="T6" fmla="*/ 92 w 96"/>
                      <a:gd name="T7" fmla="*/ 0 h 37"/>
                      <a:gd name="T8" fmla="*/ 0 w 96"/>
                      <a:gd name="T9" fmla="*/ 17 h 37"/>
                      <a:gd name="T10" fmla="*/ 2 w 96"/>
                      <a:gd name="T11" fmla="*/ 27 h 37"/>
                      <a:gd name="T12" fmla="*/ 4 w 96"/>
                      <a:gd name="T13" fmla="*/ 37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6" h="37">
                        <a:moveTo>
                          <a:pt x="4" y="37"/>
                        </a:moveTo>
                        <a:cubicBezTo>
                          <a:pt x="96" y="20"/>
                          <a:pt x="96" y="20"/>
                          <a:pt x="96" y="20"/>
                        </a:cubicBezTo>
                        <a:cubicBezTo>
                          <a:pt x="96" y="19"/>
                          <a:pt x="94" y="12"/>
                          <a:pt x="94" y="10"/>
                        </a:cubicBezTo>
                        <a:cubicBezTo>
                          <a:pt x="94" y="9"/>
                          <a:pt x="93" y="2"/>
                          <a:pt x="92" y="0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1" y="18"/>
                          <a:pt x="2" y="25"/>
                          <a:pt x="2" y="27"/>
                        </a:cubicBezTo>
                        <a:cubicBezTo>
                          <a:pt x="2" y="28"/>
                          <a:pt x="4" y="35"/>
                          <a:pt x="4" y="3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244" name="Group 1019">
                <a:extLst>
                  <a:ext uri="{FF2B5EF4-FFF2-40B4-BE49-F238E27FC236}">
                    <a16:creationId xmlns:a16="http://schemas.microsoft.com/office/drawing/2014/main" id="{86F75D95-A3D1-92F6-A146-842B7C00194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486427" y="2263024"/>
                <a:ext cx="1699667" cy="2477857"/>
                <a:chOff x="1866900" y="3224213"/>
                <a:chExt cx="2184400" cy="3184525"/>
              </a:xfrm>
            </p:grpSpPr>
            <p:sp>
              <p:nvSpPr>
                <p:cNvPr id="369" name="Freeform 47">
                  <a:extLst>
                    <a:ext uri="{FF2B5EF4-FFF2-40B4-BE49-F238E27FC236}">
                      <a16:creationId xmlns:a16="http://schemas.microsoft.com/office/drawing/2014/main" id="{8AE17C04-AF1B-0167-BDA4-85282346BFE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933575" y="3373438"/>
                  <a:ext cx="2117725" cy="3035300"/>
                </a:xfrm>
                <a:custGeom>
                  <a:avLst/>
                  <a:gdLst>
                    <a:gd name="T0" fmla="*/ 1142 w 1142"/>
                    <a:gd name="T1" fmla="*/ 0 h 1640"/>
                    <a:gd name="T2" fmla="*/ 883 w 1142"/>
                    <a:gd name="T3" fmla="*/ 142 h 1640"/>
                    <a:gd name="T4" fmla="*/ 947 w 1142"/>
                    <a:gd name="T5" fmla="*/ 186 h 1640"/>
                    <a:gd name="T6" fmla="*/ 619 w 1142"/>
                    <a:gd name="T7" fmla="*/ 667 h 1640"/>
                    <a:gd name="T8" fmla="*/ 588 w 1142"/>
                    <a:gd name="T9" fmla="*/ 663 h 1640"/>
                    <a:gd name="T10" fmla="*/ 465 w 1142"/>
                    <a:gd name="T11" fmla="*/ 729 h 1640"/>
                    <a:gd name="T12" fmla="*/ 463 w 1142"/>
                    <a:gd name="T13" fmla="*/ 895 h 1640"/>
                    <a:gd name="T14" fmla="*/ 0 w 1142"/>
                    <a:gd name="T15" fmla="*/ 1576 h 1640"/>
                    <a:gd name="T16" fmla="*/ 93 w 1142"/>
                    <a:gd name="T17" fmla="*/ 1640 h 1640"/>
                    <a:gd name="T18" fmla="*/ 558 w 1142"/>
                    <a:gd name="T19" fmla="*/ 959 h 1640"/>
                    <a:gd name="T20" fmla="*/ 588 w 1142"/>
                    <a:gd name="T21" fmla="*/ 963 h 1640"/>
                    <a:gd name="T22" fmla="*/ 712 w 1142"/>
                    <a:gd name="T23" fmla="*/ 897 h 1640"/>
                    <a:gd name="T24" fmla="*/ 713 w 1142"/>
                    <a:gd name="T25" fmla="*/ 731 h 1640"/>
                    <a:gd name="T26" fmla="*/ 1041 w 1142"/>
                    <a:gd name="T27" fmla="*/ 250 h 1640"/>
                    <a:gd name="T28" fmla="*/ 1105 w 1142"/>
                    <a:gd name="T29" fmla="*/ 293 h 1640"/>
                    <a:gd name="T30" fmla="*/ 1142 w 1142"/>
                    <a:gd name="T31" fmla="*/ 0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142" h="1640">
                      <a:moveTo>
                        <a:pt x="1142" y="0"/>
                      </a:move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619" y="667"/>
                        <a:pt x="619" y="667"/>
                        <a:pt x="619" y="667"/>
                      </a:cubicBezTo>
                      <a:cubicBezTo>
                        <a:pt x="609" y="665"/>
                        <a:pt x="599" y="663"/>
                        <a:pt x="588" y="663"/>
                      </a:cubicBezTo>
                      <a:cubicBezTo>
                        <a:pt x="541" y="663"/>
                        <a:pt x="494" y="686"/>
                        <a:pt x="465" y="729"/>
                      </a:cubicBezTo>
                      <a:cubicBezTo>
                        <a:pt x="430" y="780"/>
                        <a:pt x="431" y="846"/>
                        <a:pt x="463" y="895"/>
                      </a:cubicBezTo>
                      <a:cubicBezTo>
                        <a:pt x="463" y="895"/>
                        <a:pt x="56" y="1493"/>
                        <a:pt x="0" y="1576"/>
                      </a:cubicBezTo>
                      <a:cubicBezTo>
                        <a:pt x="93" y="1640"/>
                        <a:pt x="93" y="1640"/>
                        <a:pt x="93" y="1640"/>
                      </a:cubicBezTo>
                      <a:cubicBezTo>
                        <a:pt x="153" y="1551"/>
                        <a:pt x="558" y="959"/>
                        <a:pt x="558" y="959"/>
                      </a:cubicBezTo>
                      <a:cubicBezTo>
                        <a:pt x="568" y="961"/>
                        <a:pt x="578" y="963"/>
                        <a:pt x="588" y="963"/>
                      </a:cubicBezTo>
                      <a:cubicBezTo>
                        <a:pt x="636" y="963"/>
                        <a:pt x="683" y="940"/>
                        <a:pt x="712" y="897"/>
                      </a:cubicBezTo>
                      <a:cubicBezTo>
                        <a:pt x="747" y="846"/>
                        <a:pt x="745" y="780"/>
                        <a:pt x="713" y="731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142" y="0"/>
                        <a:pt x="1142" y="0"/>
                        <a:pt x="1142" y="0"/>
                      </a:cubicBezTo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70" name="Freeform 48">
                  <a:extLst>
                    <a:ext uri="{FF2B5EF4-FFF2-40B4-BE49-F238E27FC236}">
                      <a16:creationId xmlns:a16="http://schemas.microsoft.com/office/drawing/2014/main" id="{839768E1-E9B3-EABC-1C1F-836394128D8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866900" y="3224213"/>
                  <a:ext cx="2117725" cy="3036888"/>
                </a:xfrm>
                <a:custGeom>
                  <a:avLst/>
                  <a:gdLst>
                    <a:gd name="T0" fmla="*/ 0 w 1142"/>
                    <a:gd name="T1" fmla="*/ 1576 h 1640"/>
                    <a:gd name="T2" fmla="*/ 463 w 1142"/>
                    <a:gd name="T3" fmla="*/ 895 h 1640"/>
                    <a:gd name="T4" fmla="*/ 465 w 1142"/>
                    <a:gd name="T5" fmla="*/ 729 h 1640"/>
                    <a:gd name="T6" fmla="*/ 619 w 1142"/>
                    <a:gd name="T7" fmla="*/ 667 h 1640"/>
                    <a:gd name="T8" fmla="*/ 947 w 1142"/>
                    <a:gd name="T9" fmla="*/ 186 h 1640"/>
                    <a:gd name="T10" fmla="*/ 883 w 1142"/>
                    <a:gd name="T11" fmla="*/ 142 h 1640"/>
                    <a:gd name="T12" fmla="*/ 1142 w 1142"/>
                    <a:gd name="T13" fmla="*/ 0 h 1640"/>
                    <a:gd name="T14" fmla="*/ 1105 w 1142"/>
                    <a:gd name="T15" fmla="*/ 293 h 1640"/>
                    <a:gd name="T16" fmla="*/ 1041 w 1142"/>
                    <a:gd name="T17" fmla="*/ 250 h 1640"/>
                    <a:gd name="T18" fmla="*/ 713 w 1142"/>
                    <a:gd name="T19" fmla="*/ 731 h 1640"/>
                    <a:gd name="T20" fmla="*/ 712 w 1142"/>
                    <a:gd name="T21" fmla="*/ 897 h 1640"/>
                    <a:gd name="T22" fmla="*/ 558 w 1142"/>
                    <a:gd name="T23" fmla="*/ 959 h 1640"/>
                    <a:gd name="T24" fmla="*/ 93 w 1142"/>
                    <a:gd name="T25" fmla="*/ 1640 h 1640"/>
                    <a:gd name="T26" fmla="*/ 0 w 1142"/>
                    <a:gd name="T27" fmla="*/ 1576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42" h="1640">
                      <a:moveTo>
                        <a:pt x="0" y="1576"/>
                      </a:moveTo>
                      <a:cubicBezTo>
                        <a:pt x="56" y="1493"/>
                        <a:pt x="463" y="895"/>
                        <a:pt x="463" y="895"/>
                      </a:cubicBezTo>
                      <a:cubicBezTo>
                        <a:pt x="431" y="846"/>
                        <a:pt x="430" y="780"/>
                        <a:pt x="465" y="729"/>
                      </a:cubicBezTo>
                      <a:cubicBezTo>
                        <a:pt x="500" y="677"/>
                        <a:pt x="562" y="655"/>
                        <a:pt x="619" y="667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1142" y="0"/>
                        <a:pt x="1142" y="0"/>
                        <a:pt x="1142" y="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713" y="731"/>
                        <a:pt x="713" y="731"/>
                        <a:pt x="713" y="731"/>
                      </a:cubicBezTo>
                      <a:cubicBezTo>
                        <a:pt x="745" y="780"/>
                        <a:pt x="747" y="846"/>
                        <a:pt x="712" y="897"/>
                      </a:cubicBezTo>
                      <a:cubicBezTo>
                        <a:pt x="677" y="949"/>
                        <a:pt x="615" y="971"/>
                        <a:pt x="558" y="959"/>
                      </a:cubicBezTo>
                      <a:cubicBezTo>
                        <a:pt x="558" y="959"/>
                        <a:pt x="153" y="1551"/>
                        <a:pt x="93" y="1640"/>
                      </a:cubicBezTo>
                      <a:lnTo>
                        <a:pt x="0" y="157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71" name="Freeform 49">
                  <a:extLst>
                    <a:ext uri="{FF2B5EF4-FFF2-40B4-BE49-F238E27FC236}">
                      <a16:creationId xmlns:a16="http://schemas.microsoft.com/office/drawing/2014/main" id="{5509E4D6-1CAB-2ACF-6BD0-E0CD1DAA8AB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849563" y="4622801"/>
                  <a:ext cx="215900" cy="214313"/>
                </a:xfrm>
                <a:custGeom>
                  <a:avLst/>
                  <a:gdLst>
                    <a:gd name="T0" fmla="*/ 100 w 116"/>
                    <a:gd name="T1" fmla="*/ 87 h 116"/>
                    <a:gd name="T2" fmla="*/ 30 w 116"/>
                    <a:gd name="T3" fmla="*/ 100 h 116"/>
                    <a:gd name="T4" fmla="*/ 16 w 116"/>
                    <a:gd name="T5" fmla="*/ 29 h 116"/>
                    <a:gd name="T6" fmla="*/ 87 w 116"/>
                    <a:gd name="T7" fmla="*/ 16 h 116"/>
                    <a:gd name="T8" fmla="*/ 100 w 116"/>
                    <a:gd name="T9" fmla="*/ 87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" h="116">
                      <a:moveTo>
                        <a:pt x="100" y="87"/>
                      </a:moveTo>
                      <a:cubicBezTo>
                        <a:pt x="85" y="110"/>
                        <a:pt x="53" y="116"/>
                        <a:pt x="30" y="100"/>
                      </a:cubicBezTo>
                      <a:cubicBezTo>
                        <a:pt x="6" y="84"/>
                        <a:pt x="0" y="53"/>
                        <a:pt x="16" y="29"/>
                      </a:cubicBezTo>
                      <a:cubicBezTo>
                        <a:pt x="32" y="6"/>
                        <a:pt x="64" y="0"/>
                        <a:pt x="87" y="16"/>
                      </a:cubicBezTo>
                      <a:cubicBezTo>
                        <a:pt x="110" y="32"/>
                        <a:pt x="116" y="63"/>
                        <a:pt x="100" y="87"/>
                      </a:cubicBezTo>
                      <a:close/>
                    </a:path>
                  </a:pathLst>
                </a:custGeom>
                <a:solidFill>
                  <a:srgbClr val="002B6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72" name="Oval 50">
                  <a:extLst>
                    <a:ext uri="{FF2B5EF4-FFF2-40B4-BE49-F238E27FC236}">
                      <a16:creationId xmlns:a16="http://schemas.microsoft.com/office/drawing/2014/main" id="{25C7D85A-CCC5-7029-5439-754A1DC5D45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2919413" y="4694238"/>
                  <a:ext cx="73025" cy="73025"/>
                </a:xfrm>
                <a:prstGeom prst="ellipse">
                  <a:avLst/>
                </a:prstGeom>
                <a:solidFill>
                  <a:srgbClr val="56B9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45" name="Group 1020">
                <a:extLst>
                  <a:ext uri="{FF2B5EF4-FFF2-40B4-BE49-F238E27FC236}">
                    <a16:creationId xmlns:a16="http://schemas.microsoft.com/office/drawing/2014/main" id="{C42862CF-2C74-4EBB-F3A4-43F17A1A7FD5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163860" y="3516775"/>
                <a:ext cx="839952" cy="104994"/>
                <a:chOff x="4022725" y="4835526"/>
                <a:chExt cx="1079500" cy="134938"/>
              </a:xfrm>
            </p:grpSpPr>
            <p:sp>
              <p:nvSpPr>
                <p:cNvPr id="246" name="Rectangle 53">
                  <a:extLst>
                    <a:ext uri="{FF2B5EF4-FFF2-40B4-BE49-F238E27FC236}">
                      <a16:creationId xmlns:a16="http://schemas.microsoft.com/office/drawing/2014/main" id="{D8FDB8B6-B46C-16BE-BCBF-B93AD29D93D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7" name="Rectangle 54">
                  <a:extLst>
                    <a:ext uri="{FF2B5EF4-FFF2-40B4-BE49-F238E27FC236}">
                      <a16:creationId xmlns:a16="http://schemas.microsoft.com/office/drawing/2014/main" id="{090192ED-53E0-8C1E-DDAF-BB8A8ADBA64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8" name="Rectangle 55">
                  <a:extLst>
                    <a:ext uri="{FF2B5EF4-FFF2-40B4-BE49-F238E27FC236}">
                      <a16:creationId xmlns:a16="http://schemas.microsoft.com/office/drawing/2014/main" id="{D0976311-2D5A-D052-1792-4A0B557E7F5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9" name="Rectangle 56">
                  <a:extLst>
                    <a:ext uri="{FF2B5EF4-FFF2-40B4-BE49-F238E27FC236}">
                      <a16:creationId xmlns:a16="http://schemas.microsoft.com/office/drawing/2014/main" id="{AD94C263-29C6-F3E0-D8EB-9C74D9ACA89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0" name="Rectangle 57">
                  <a:extLst>
                    <a:ext uri="{FF2B5EF4-FFF2-40B4-BE49-F238E27FC236}">
                      <a16:creationId xmlns:a16="http://schemas.microsoft.com/office/drawing/2014/main" id="{C53AF5EA-1DA5-62BB-34E3-B8845BCC1E8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1" name="Rectangle 58">
                  <a:extLst>
                    <a:ext uri="{FF2B5EF4-FFF2-40B4-BE49-F238E27FC236}">
                      <a16:creationId xmlns:a16="http://schemas.microsoft.com/office/drawing/2014/main" id="{9DF5341A-70F7-22C9-FE49-0C4896BA115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2" name="Freeform 59">
                  <a:extLst>
                    <a:ext uri="{FF2B5EF4-FFF2-40B4-BE49-F238E27FC236}">
                      <a16:creationId xmlns:a16="http://schemas.microsoft.com/office/drawing/2014/main" id="{8E596586-39C9-B83B-7CED-7499B9A0AD3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3" name="Freeform 60">
                  <a:extLst>
                    <a:ext uri="{FF2B5EF4-FFF2-40B4-BE49-F238E27FC236}">
                      <a16:creationId xmlns:a16="http://schemas.microsoft.com/office/drawing/2014/main" id="{A075867A-AF9A-34D8-4819-C930357BB87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4" name="Freeform 61">
                  <a:extLst>
                    <a:ext uri="{FF2B5EF4-FFF2-40B4-BE49-F238E27FC236}">
                      <a16:creationId xmlns:a16="http://schemas.microsoft.com/office/drawing/2014/main" id="{406C9FD1-1B95-D08C-3A13-74F5F96660D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5" name="Freeform 62">
                  <a:extLst>
                    <a:ext uri="{FF2B5EF4-FFF2-40B4-BE49-F238E27FC236}">
                      <a16:creationId xmlns:a16="http://schemas.microsoft.com/office/drawing/2014/main" id="{3F859760-A9F8-FB1C-B365-97812086E0D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6" name="Rectangle 63">
                  <a:extLst>
                    <a:ext uri="{FF2B5EF4-FFF2-40B4-BE49-F238E27FC236}">
                      <a16:creationId xmlns:a16="http://schemas.microsoft.com/office/drawing/2014/main" id="{0D0BF6B9-C43E-2F18-E7F6-0A02152D2BB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7" name="Rectangle 64">
                  <a:extLst>
                    <a:ext uri="{FF2B5EF4-FFF2-40B4-BE49-F238E27FC236}">
                      <a16:creationId xmlns:a16="http://schemas.microsoft.com/office/drawing/2014/main" id="{F38CB410-FCDF-EBBA-3136-646B6768BA0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8" name="Rectangle 65">
                  <a:extLst>
                    <a:ext uri="{FF2B5EF4-FFF2-40B4-BE49-F238E27FC236}">
                      <a16:creationId xmlns:a16="http://schemas.microsoft.com/office/drawing/2014/main" id="{77FD0758-24CE-6991-8C68-19A3A16B438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9" name="Rectangle 66">
                  <a:extLst>
                    <a:ext uri="{FF2B5EF4-FFF2-40B4-BE49-F238E27FC236}">
                      <a16:creationId xmlns:a16="http://schemas.microsoft.com/office/drawing/2014/main" id="{C41FE2E2-C608-A08A-A778-1BE06AD7B91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0" name="Rectangle 67">
                  <a:extLst>
                    <a:ext uri="{FF2B5EF4-FFF2-40B4-BE49-F238E27FC236}">
                      <a16:creationId xmlns:a16="http://schemas.microsoft.com/office/drawing/2014/main" id="{201FC517-3E23-D1AE-A80D-523C7AB8497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1" name="Rectangle 68">
                  <a:extLst>
                    <a:ext uri="{FF2B5EF4-FFF2-40B4-BE49-F238E27FC236}">
                      <a16:creationId xmlns:a16="http://schemas.microsoft.com/office/drawing/2014/main" id="{2E42B160-1146-A04D-4EE7-AEF0B4556EA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2" name="Rectangle 69">
                  <a:extLst>
                    <a:ext uri="{FF2B5EF4-FFF2-40B4-BE49-F238E27FC236}">
                      <a16:creationId xmlns:a16="http://schemas.microsoft.com/office/drawing/2014/main" id="{F30B4CB7-7734-AC5F-5F03-964E8BA203E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3" name="Rectangle 70">
                  <a:extLst>
                    <a:ext uri="{FF2B5EF4-FFF2-40B4-BE49-F238E27FC236}">
                      <a16:creationId xmlns:a16="http://schemas.microsoft.com/office/drawing/2014/main" id="{9826B67F-DEC8-077E-C9BE-1FE4486C6C7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4" name="Rectangle 71">
                  <a:extLst>
                    <a:ext uri="{FF2B5EF4-FFF2-40B4-BE49-F238E27FC236}">
                      <a16:creationId xmlns:a16="http://schemas.microsoft.com/office/drawing/2014/main" id="{0C866DC1-ED69-94B0-E0A5-50A8CE44031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5" name="Rectangle 72">
                  <a:extLst>
                    <a:ext uri="{FF2B5EF4-FFF2-40B4-BE49-F238E27FC236}">
                      <a16:creationId xmlns:a16="http://schemas.microsoft.com/office/drawing/2014/main" id="{04720DE0-D523-70DF-C918-F45C18BD720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6" name="Rectangle 73">
                  <a:extLst>
                    <a:ext uri="{FF2B5EF4-FFF2-40B4-BE49-F238E27FC236}">
                      <a16:creationId xmlns:a16="http://schemas.microsoft.com/office/drawing/2014/main" id="{0351C320-65B7-A6AC-E4D8-470E6D15B70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7" name="Rectangle 74">
                  <a:extLst>
                    <a:ext uri="{FF2B5EF4-FFF2-40B4-BE49-F238E27FC236}">
                      <a16:creationId xmlns:a16="http://schemas.microsoft.com/office/drawing/2014/main" id="{A2C2B49B-63EA-FD8D-4DCF-F13E134111B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8" name="Rectangle 75">
                  <a:extLst>
                    <a:ext uri="{FF2B5EF4-FFF2-40B4-BE49-F238E27FC236}">
                      <a16:creationId xmlns:a16="http://schemas.microsoft.com/office/drawing/2014/main" id="{0ABA9325-24BD-E788-290B-AB4F48BF287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9" name="Rectangle 76">
                  <a:extLst>
                    <a:ext uri="{FF2B5EF4-FFF2-40B4-BE49-F238E27FC236}">
                      <a16:creationId xmlns:a16="http://schemas.microsoft.com/office/drawing/2014/main" id="{EF98B422-00EB-8316-B252-A8F48FD9F48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0" name="Rectangle 77">
                  <a:extLst>
                    <a:ext uri="{FF2B5EF4-FFF2-40B4-BE49-F238E27FC236}">
                      <a16:creationId xmlns:a16="http://schemas.microsoft.com/office/drawing/2014/main" id="{FF5B0AF2-9ADE-A8DA-03E2-5F1BFF1444D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1" name="Rectangle 78">
                  <a:extLst>
                    <a:ext uri="{FF2B5EF4-FFF2-40B4-BE49-F238E27FC236}">
                      <a16:creationId xmlns:a16="http://schemas.microsoft.com/office/drawing/2014/main" id="{5BF34B6E-8857-A654-B381-B81085CBD9C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2" name="Rectangle 79">
                  <a:extLst>
                    <a:ext uri="{FF2B5EF4-FFF2-40B4-BE49-F238E27FC236}">
                      <a16:creationId xmlns:a16="http://schemas.microsoft.com/office/drawing/2014/main" id="{F67F91DD-77D3-476B-27F6-FC958A33273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3" name="Rectangle 80">
                  <a:extLst>
                    <a:ext uri="{FF2B5EF4-FFF2-40B4-BE49-F238E27FC236}">
                      <a16:creationId xmlns:a16="http://schemas.microsoft.com/office/drawing/2014/main" id="{EC6385B3-8308-F4FB-7F5E-AB4769C82AE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4" name="Rectangle 81">
                  <a:extLst>
                    <a:ext uri="{FF2B5EF4-FFF2-40B4-BE49-F238E27FC236}">
                      <a16:creationId xmlns:a16="http://schemas.microsoft.com/office/drawing/2014/main" id="{1DA8E00A-D8BD-FA15-5AC1-4F2BAF27E10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5" name="Rectangle 82">
                  <a:extLst>
                    <a:ext uri="{FF2B5EF4-FFF2-40B4-BE49-F238E27FC236}">
                      <a16:creationId xmlns:a16="http://schemas.microsoft.com/office/drawing/2014/main" id="{E275C476-18EA-8270-AAE1-EEA2868195E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6" name="Rectangle 83">
                  <a:extLst>
                    <a:ext uri="{FF2B5EF4-FFF2-40B4-BE49-F238E27FC236}">
                      <a16:creationId xmlns:a16="http://schemas.microsoft.com/office/drawing/2014/main" id="{32AE9BA0-36F2-1B2A-6FD0-9AFBF73B626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7" name="Rectangle 84">
                  <a:extLst>
                    <a:ext uri="{FF2B5EF4-FFF2-40B4-BE49-F238E27FC236}">
                      <a16:creationId xmlns:a16="http://schemas.microsoft.com/office/drawing/2014/main" id="{01BE264F-6059-552E-D602-65597D8982C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8" name="Rectangle 85">
                  <a:extLst>
                    <a:ext uri="{FF2B5EF4-FFF2-40B4-BE49-F238E27FC236}">
                      <a16:creationId xmlns:a16="http://schemas.microsoft.com/office/drawing/2014/main" id="{23138207-D26C-216D-83B1-9FA78A687E7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9" name="Rectangle 86">
                  <a:extLst>
                    <a:ext uri="{FF2B5EF4-FFF2-40B4-BE49-F238E27FC236}">
                      <a16:creationId xmlns:a16="http://schemas.microsoft.com/office/drawing/2014/main" id="{4BBA811A-56E8-18CA-334F-945B684E4D6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0" name="Rectangle 87">
                  <a:extLst>
                    <a:ext uri="{FF2B5EF4-FFF2-40B4-BE49-F238E27FC236}">
                      <a16:creationId xmlns:a16="http://schemas.microsoft.com/office/drawing/2014/main" id="{9BC24974-74A8-07B9-5966-113C6CCA18D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1" name="Rectangle 88">
                  <a:extLst>
                    <a:ext uri="{FF2B5EF4-FFF2-40B4-BE49-F238E27FC236}">
                      <a16:creationId xmlns:a16="http://schemas.microsoft.com/office/drawing/2014/main" id="{7BC84F77-F43A-2AF6-F082-FB6C16AFFFF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2" name="Freeform 89">
                  <a:extLst>
                    <a:ext uri="{FF2B5EF4-FFF2-40B4-BE49-F238E27FC236}">
                      <a16:creationId xmlns:a16="http://schemas.microsoft.com/office/drawing/2014/main" id="{5037B27F-1371-6DFE-D104-F29C880E707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3" name="Freeform 90">
                  <a:extLst>
                    <a:ext uri="{FF2B5EF4-FFF2-40B4-BE49-F238E27FC236}">
                      <a16:creationId xmlns:a16="http://schemas.microsoft.com/office/drawing/2014/main" id="{A75D81E7-580E-9CD1-3D01-D3F3D64E00C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4" name="Freeform 91">
                  <a:extLst>
                    <a:ext uri="{FF2B5EF4-FFF2-40B4-BE49-F238E27FC236}">
                      <a16:creationId xmlns:a16="http://schemas.microsoft.com/office/drawing/2014/main" id="{8D08B687-45D5-0EC7-AE39-3384A38D840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951413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5" name="Rectangle 92">
                  <a:extLst>
                    <a:ext uri="{FF2B5EF4-FFF2-40B4-BE49-F238E27FC236}">
                      <a16:creationId xmlns:a16="http://schemas.microsoft.com/office/drawing/2014/main" id="{D6CF993E-7FC7-5D38-2558-E0A452A7828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6" name="Rectangle 93">
                  <a:extLst>
                    <a:ext uri="{FF2B5EF4-FFF2-40B4-BE49-F238E27FC236}">
                      <a16:creationId xmlns:a16="http://schemas.microsoft.com/office/drawing/2014/main" id="{48D59C28-D5E6-82BC-EDBB-34122F6E208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7" name="Rectangle 94">
                  <a:extLst>
                    <a:ext uri="{FF2B5EF4-FFF2-40B4-BE49-F238E27FC236}">
                      <a16:creationId xmlns:a16="http://schemas.microsoft.com/office/drawing/2014/main" id="{3EBF0940-D120-65D3-21AD-9ED92DACB41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8" name="Rectangle 95">
                  <a:extLst>
                    <a:ext uri="{FF2B5EF4-FFF2-40B4-BE49-F238E27FC236}">
                      <a16:creationId xmlns:a16="http://schemas.microsoft.com/office/drawing/2014/main" id="{BE184B3B-A4DD-A9B9-E8FD-E5287DFB940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9" name="Freeform 96">
                  <a:extLst>
                    <a:ext uri="{FF2B5EF4-FFF2-40B4-BE49-F238E27FC236}">
                      <a16:creationId xmlns:a16="http://schemas.microsoft.com/office/drawing/2014/main" id="{BA03FD63-830C-3F54-4CC5-A8C51B04C8C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0" name="Freeform 97">
                  <a:extLst>
                    <a:ext uri="{FF2B5EF4-FFF2-40B4-BE49-F238E27FC236}">
                      <a16:creationId xmlns:a16="http://schemas.microsoft.com/office/drawing/2014/main" id="{A1C1FB82-8B78-B1A3-76AA-A44E2860134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1" name="Rectangle 98">
                  <a:extLst>
                    <a:ext uri="{FF2B5EF4-FFF2-40B4-BE49-F238E27FC236}">
                      <a16:creationId xmlns:a16="http://schemas.microsoft.com/office/drawing/2014/main" id="{B000409A-6031-BED7-0104-B4BEA3D427E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2" name="Rectangle 99">
                  <a:extLst>
                    <a:ext uri="{FF2B5EF4-FFF2-40B4-BE49-F238E27FC236}">
                      <a16:creationId xmlns:a16="http://schemas.microsoft.com/office/drawing/2014/main" id="{45214FA4-63F1-D424-436D-4DB58AE0D94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3" name="Freeform 100">
                  <a:extLst>
                    <a:ext uri="{FF2B5EF4-FFF2-40B4-BE49-F238E27FC236}">
                      <a16:creationId xmlns:a16="http://schemas.microsoft.com/office/drawing/2014/main" id="{24936490-D77F-09C6-5AA5-3D094E8BE66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4" name="Freeform 101">
                  <a:extLst>
                    <a:ext uri="{FF2B5EF4-FFF2-40B4-BE49-F238E27FC236}">
                      <a16:creationId xmlns:a16="http://schemas.microsoft.com/office/drawing/2014/main" id="{A0497B03-35CE-1C78-3F28-42E5BF19852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5" name="Freeform 102">
                  <a:extLst>
                    <a:ext uri="{FF2B5EF4-FFF2-40B4-BE49-F238E27FC236}">
                      <a16:creationId xmlns:a16="http://schemas.microsoft.com/office/drawing/2014/main" id="{FDEB6B85-C1AE-497F-FE6E-904222EA15C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6" name="Freeform 103">
                  <a:extLst>
                    <a:ext uri="{FF2B5EF4-FFF2-40B4-BE49-F238E27FC236}">
                      <a16:creationId xmlns:a16="http://schemas.microsoft.com/office/drawing/2014/main" id="{8084B243-F23A-F989-E61C-015E2E01C11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7" name="Rectangle 104">
                  <a:extLst>
                    <a:ext uri="{FF2B5EF4-FFF2-40B4-BE49-F238E27FC236}">
                      <a16:creationId xmlns:a16="http://schemas.microsoft.com/office/drawing/2014/main" id="{D81EFE49-20A6-8441-D143-6849D06C54F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8" name="Rectangle 105">
                  <a:extLst>
                    <a:ext uri="{FF2B5EF4-FFF2-40B4-BE49-F238E27FC236}">
                      <a16:creationId xmlns:a16="http://schemas.microsoft.com/office/drawing/2014/main" id="{D19FD528-B831-DCE0-8672-72F3967B661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9" name="Rectangle 106">
                  <a:extLst>
                    <a:ext uri="{FF2B5EF4-FFF2-40B4-BE49-F238E27FC236}">
                      <a16:creationId xmlns:a16="http://schemas.microsoft.com/office/drawing/2014/main" id="{6996BA70-36EF-A353-F55E-67279CD4F85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0" name="Rectangle 107">
                  <a:extLst>
                    <a:ext uri="{FF2B5EF4-FFF2-40B4-BE49-F238E27FC236}">
                      <a16:creationId xmlns:a16="http://schemas.microsoft.com/office/drawing/2014/main" id="{8F6E1B3B-A2A8-81F2-3804-2DEC0CE475C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1" name="Rectangle 108">
                  <a:extLst>
                    <a:ext uri="{FF2B5EF4-FFF2-40B4-BE49-F238E27FC236}">
                      <a16:creationId xmlns:a16="http://schemas.microsoft.com/office/drawing/2014/main" id="{E0F82C6C-ACDE-0953-D30F-0EB9CBF5B39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2" name="Rectangle 109">
                  <a:extLst>
                    <a:ext uri="{FF2B5EF4-FFF2-40B4-BE49-F238E27FC236}">
                      <a16:creationId xmlns:a16="http://schemas.microsoft.com/office/drawing/2014/main" id="{876A65A0-917F-8A4B-5B93-F7F28634190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3" name="Freeform 110">
                  <a:extLst>
                    <a:ext uri="{FF2B5EF4-FFF2-40B4-BE49-F238E27FC236}">
                      <a16:creationId xmlns:a16="http://schemas.microsoft.com/office/drawing/2014/main" id="{1C150532-E567-8FCF-EA9F-1ACE4D42910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4" name="Freeform 111">
                  <a:extLst>
                    <a:ext uri="{FF2B5EF4-FFF2-40B4-BE49-F238E27FC236}">
                      <a16:creationId xmlns:a16="http://schemas.microsoft.com/office/drawing/2014/main" id="{5369C116-FBE6-AEBE-F76B-DACBFF48C97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5" name="Rectangle 112">
                  <a:extLst>
                    <a:ext uri="{FF2B5EF4-FFF2-40B4-BE49-F238E27FC236}">
                      <a16:creationId xmlns:a16="http://schemas.microsoft.com/office/drawing/2014/main" id="{23CB5B63-C9B2-05D0-642D-20F06863038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6" name="Rectangle 113">
                  <a:extLst>
                    <a:ext uri="{FF2B5EF4-FFF2-40B4-BE49-F238E27FC236}">
                      <a16:creationId xmlns:a16="http://schemas.microsoft.com/office/drawing/2014/main" id="{ED1BD39E-4F79-8186-CC51-65116B3531C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7" name="Rectangle 114">
                  <a:extLst>
                    <a:ext uri="{FF2B5EF4-FFF2-40B4-BE49-F238E27FC236}">
                      <a16:creationId xmlns:a16="http://schemas.microsoft.com/office/drawing/2014/main" id="{275B6A8B-0D1C-6CB7-5A67-D3EC2A67FD1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8" name="Rectangle 115">
                  <a:extLst>
                    <a:ext uri="{FF2B5EF4-FFF2-40B4-BE49-F238E27FC236}">
                      <a16:creationId xmlns:a16="http://schemas.microsoft.com/office/drawing/2014/main" id="{429FC26E-7769-E1B8-FA9D-D2525A625D9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9" name="Freeform 116">
                  <a:extLst>
                    <a:ext uri="{FF2B5EF4-FFF2-40B4-BE49-F238E27FC236}">
                      <a16:creationId xmlns:a16="http://schemas.microsoft.com/office/drawing/2014/main" id="{7101289B-625D-6C6B-0FED-162227962A4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0" name="Freeform 117">
                  <a:extLst>
                    <a:ext uri="{FF2B5EF4-FFF2-40B4-BE49-F238E27FC236}">
                      <a16:creationId xmlns:a16="http://schemas.microsoft.com/office/drawing/2014/main" id="{636E4474-8225-57CB-6663-49E40759887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1" name="Rectangle 118">
                  <a:extLst>
                    <a:ext uri="{FF2B5EF4-FFF2-40B4-BE49-F238E27FC236}">
                      <a16:creationId xmlns:a16="http://schemas.microsoft.com/office/drawing/2014/main" id="{583EED81-EFA5-CA33-8896-664C3D8DC4B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Rectangle 119">
                  <a:extLst>
                    <a:ext uri="{FF2B5EF4-FFF2-40B4-BE49-F238E27FC236}">
                      <a16:creationId xmlns:a16="http://schemas.microsoft.com/office/drawing/2014/main" id="{275E821C-3F9F-8FB8-C47B-621B45E62CA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Rectangle 120">
                  <a:extLst>
                    <a:ext uri="{FF2B5EF4-FFF2-40B4-BE49-F238E27FC236}">
                      <a16:creationId xmlns:a16="http://schemas.microsoft.com/office/drawing/2014/main" id="{8786619D-E318-D9E7-45CA-CF60B5BA8B4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4" name="Rectangle 121">
                  <a:extLst>
                    <a:ext uri="{FF2B5EF4-FFF2-40B4-BE49-F238E27FC236}">
                      <a16:creationId xmlns:a16="http://schemas.microsoft.com/office/drawing/2014/main" id="{747BA0F3-FF58-61BA-294D-AF914B68E27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5" name="Rectangle 122">
                  <a:extLst>
                    <a:ext uri="{FF2B5EF4-FFF2-40B4-BE49-F238E27FC236}">
                      <a16:creationId xmlns:a16="http://schemas.microsoft.com/office/drawing/2014/main" id="{F61AF915-70BF-6ED6-6E68-B8FC83004DF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6" name="Rectangle 123">
                  <a:extLst>
                    <a:ext uri="{FF2B5EF4-FFF2-40B4-BE49-F238E27FC236}">
                      <a16:creationId xmlns:a16="http://schemas.microsoft.com/office/drawing/2014/main" id="{0C3A51C8-93FC-8642-4581-47A29A1D3EB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7" name="Freeform 124">
                  <a:extLst>
                    <a:ext uri="{FF2B5EF4-FFF2-40B4-BE49-F238E27FC236}">
                      <a16:creationId xmlns:a16="http://schemas.microsoft.com/office/drawing/2014/main" id="{E5F71795-B9AC-A61B-2EBC-BFE549154C4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8" name="Freeform 125">
                  <a:extLst>
                    <a:ext uri="{FF2B5EF4-FFF2-40B4-BE49-F238E27FC236}">
                      <a16:creationId xmlns:a16="http://schemas.microsoft.com/office/drawing/2014/main" id="{ABE9991D-01EF-F45E-D7F9-AD802E562BD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9" name="Rectangle 126">
                  <a:extLst>
                    <a:ext uri="{FF2B5EF4-FFF2-40B4-BE49-F238E27FC236}">
                      <a16:creationId xmlns:a16="http://schemas.microsoft.com/office/drawing/2014/main" id="{DD3A4306-9AD9-7A2C-9FA5-4150E6D0B8D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0" name="Rectangle 127">
                  <a:extLst>
                    <a:ext uri="{FF2B5EF4-FFF2-40B4-BE49-F238E27FC236}">
                      <a16:creationId xmlns:a16="http://schemas.microsoft.com/office/drawing/2014/main" id="{F5351B61-BEA0-5C30-9385-3C9C13A7DD1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1" name="Rectangle 128">
                  <a:extLst>
                    <a:ext uri="{FF2B5EF4-FFF2-40B4-BE49-F238E27FC236}">
                      <a16:creationId xmlns:a16="http://schemas.microsoft.com/office/drawing/2014/main" id="{9F560FEE-6901-D924-C834-C79D4B801FD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2" name="Rectangle 129">
                  <a:extLst>
                    <a:ext uri="{FF2B5EF4-FFF2-40B4-BE49-F238E27FC236}">
                      <a16:creationId xmlns:a16="http://schemas.microsoft.com/office/drawing/2014/main" id="{732F5C8C-D20B-C5B2-8FAB-96EB480A792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3" name="Freeform 130">
                  <a:extLst>
                    <a:ext uri="{FF2B5EF4-FFF2-40B4-BE49-F238E27FC236}">
                      <a16:creationId xmlns:a16="http://schemas.microsoft.com/office/drawing/2014/main" id="{2C54BF10-C7EA-34AF-664B-4DD8471071D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4" name="Freeform 131">
                  <a:extLst>
                    <a:ext uri="{FF2B5EF4-FFF2-40B4-BE49-F238E27FC236}">
                      <a16:creationId xmlns:a16="http://schemas.microsoft.com/office/drawing/2014/main" id="{15DB0052-D1B9-4CA5-14C1-71F8FA1D232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5" name="Freeform 132">
                  <a:extLst>
                    <a:ext uri="{FF2B5EF4-FFF2-40B4-BE49-F238E27FC236}">
                      <a16:creationId xmlns:a16="http://schemas.microsoft.com/office/drawing/2014/main" id="{B8334D26-1EB6-39B6-E9C2-1FCC99BB690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40288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6" name="Rectangle 133">
                  <a:extLst>
                    <a:ext uri="{FF2B5EF4-FFF2-40B4-BE49-F238E27FC236}">
                      <a16:creationId xmlns:a16="http://schemas.microsoft.com/office/drawing/2014/main" id="{1080090F-37FD-A8E8-25D9-9FB6E24F98C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7" name="Rectangle 134">
                  <a:extLst>
                    <a:ext uri="{FF2B5EF4-FFF2-40B4-BE49-F238E27FC236}">
                      <a16:creationId xmlns:a16="http://schemas.microsoft.com/office/drawing/2014/main" id="{2FA911A3-6B9C-D5AB-BD7B-1FCE1ECDB24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8" name="Rectangle 135">
                  <a:extLst>
                    <a:ext uri="{FF2B5EF4-FFF2-40B4-BE49-F238E27FC236}">
                      <a16:creationId xmlns:a16="http://schemas.microsoft.com/office/drawing/2014/main" id="{94F456AC-5ABA-C527-09C7-BC6B305A3E9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9" name="Rectangle 136">
                  <a:extLst>
                    <a:ext uri="{FF2B5EF4-FFF2-40B4-BE49-F238E27FC236}">
                      <a16:creationId xmlns:a16="http://schemas.microsoft.com/office/drawing/2014/main" id="{65A4DD68-0E59-87C9-7977-22F76F757CF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0" name="Rectangle 137">
                  <a:extLst>
                    <a:ext uri="{FF2B5EF4-FFF2-40B4-BE49-F238E27FC236}">
                      <a16:creationId xmlns:a16="http://schemas.microsoft.com/office/drawing/2014/main" id="{3B14325B-006D-0A39-D67C-9BF40731109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1" name="Rectangle 138">
                  <a:extLst>
                    <a:ext uri="{FF2B5EF4-FFF2-40B4-BE49-F238E27FC236}">
                      <a16:creationId xmlns:a16="http://schemas.microsoft.com/office/drawing/2014/main" id="{F3810BB6-5507-10AC-EFDB-2A2882E2797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Rectangle 139">
                  <a:extLst>
                    <a:ext uri="{FF2B5EF4-FFF2-40B4-BE49-F238E27FC236}">
                      <a16:creationId xmlns:a16="http://schemas.microsoft.com/office/drawing/2014/main" id="{1CD2C2C7-F557-8C86-B524-E0C1CF137C6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3" name="Rectangle 140">
                  <a:extLst>
                    <a:ext uri="{FF2B5EF4-FFF2-40B4-BE49-F238E27FC236}">
                      <a16:creationId xmlns:a16="http://schemas.microsoft.com/office/drawing/2014/main" id="{2317F2F7-5713-1D18-7EF5-3044D3D0300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4" name="Rectangle 141">
                  <a:extLst>
                    <a:ext uri="{FF2B5EF4-FFF2-40B4-BE49-F238E27FC236}">
                      <a16:creationId xmlns:a16="http://schemas.microsoft.com/office/drawing/2014/main" id="{9F69E8D2-3A0B-593A-4865-E807FF72764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5" name="Rectangle 142">
                  <a:extLst>
                    <a:ext uri="{FF2B5EF4-FFF2-40B4-BE49-F238E27FC236}">
                      <a16:creationId xmlns:a16="http://schemas.microsoft.com/office/drawing/2014/main" id="{70FE4551-ADEB-A827-E445-08B9E342080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6" name="Freeform 143">
                  <a:extLst>
                    <a:ext uri="{FF2B5EF4-FFF2-40B4-BE49-F238E27FC236}">
                      <a16:creationId xmlns:a16="http://schemas.microsoft.com/office/drawing/2014/main" id="{2992DD1B-FEA4-E205-FA11-C0C7F2EF7EB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7" name="Freeform 144">
                  <a:extLst>
                    <a:ext uri="{FF2B5EF4-FFF2-40B4-BE49-F238E27FC236}">
                      <a16:creationId xmlns:a16="http://schemas.microsoft.com/office/drawing/2014/main" id="{24DA8145-B618-C3F0-EEE7-99E146787AC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8" name="Rectangle 145">
                  <a:extLst>
                    <a:ext uri="{FF2B5EF4-FFF2-40B4-BE49-F238E27FC236}">
                      <a16:creationId xmlns:a16="http://schemas.microsoft.com/office/drawing/2014/main" id="{66995FA9-070F-BFF0-C27E-EBF94066D64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9" name="Rectangle 146">
                  <a:extLst>
                    <a:ext uri="{FF2B5EF4-FFF2-40B4-BE49-F238E27FC236}">
                      <a16:creationId xmlns:a16="http://schemas.microsoft.com/office/drawing/2014/main" id="{160D42B2-5C4D-BBCA-4F05-BBD7A786325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0" name="Freeform 147">
                  <a:extLst>
                    <a:ext uri="{FF2B5EF4-FFF2-40B4-BE49-F238E27FC236}">
                      <a16:creationId xmlns:a16="http://schemas.microsoft.com/office/drawing/2014/main" id="{7C632BE2-68EE-0FC3-6942-D7EF81FE58E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1" name="Freeform 148">
                  <a:extLst>
                    <a:ext uri="{FF2B5EF4-FFF2-40B4-BE49-F238E27FC236}">
                      <a16:creationId xmlns:a16="http://schemas.microsoft.com/office/drawing/2014/main" id="{53C27E8B-E7C6-0412-650D-EFD2AC6EA3E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2" name="Freeform 149">
                  <a:extLst>
                    <a:ext uri="{FF2B5EF4-FFF2-40B4-BE49-F238E27FC236}">
                      <a16:creationId xmlns:a16="http://schemas.microsoft.com/office/drawing/2014/main" id="{C37D9C99-7213-E558-A364-A70933779C3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3" name="Freeform 150">
                  <a:extLst>
                    <a:ext uri="{FF2B5EF4-FFF2-40B4-BE49-F238E27FC236}">
                      <a16:creationId xmlns:a16="http://schemas.microsoft.com/office/drawing/2014/main" id="{8FC68EDC-08C5-0487-FB6B-31B561C25D8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4" name="Rectangle 151">
                  <a:extLst>
                    <a:ext uri="{FF2B5EF4-FFF2-40B4-BE49-F238E27FC236}">
                      <a16:creationId xmlns:a16="http://schemas.microsoft.com/office/drawing/2014/main" id="{018F7C03-5C96-40D0-53AF-8C8AAF0538E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5" name="Rectangle 152">
                  <a:extLst>
                    <a:ext uri="{FF2B5EF4-FFF2-40B4-BE49-F238E27FC236}">
                      <a16:creationId xmlns:a16="http://schemas.microsoft.com/office/drawing/2014/main" id="{210550BD-D6C1-291C-1534-8FD76005DF1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6" name="Rectangle 153">
                  <a:extLst>
                    <a:ext uri="{FF2B5EF4-FFF2-40B4-BE49-F238E27FC236}">
                      <a16:creationId xmlns:a16="http://schemas.microsoft.com/office/drawing/2014/main" id="{156AA904-A7C8-8108-75AF-973E1A1CC48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7" name="Rectangle 154">
                  <a:extLst>
                    <a:ext uri="{FF2B5EF4-FFF2-40B4-BE49-F238E27FC236}">
                      <a16:creationId xmlns:a16="http://schemas.microsoft.com/office/drawing/2014/main" id="{22462760-6FF7-99F1-BF0C-377449249D3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8" name="Rectangle 155">
                  <a:extLst>
                    <a:ext uri="{FF2B5EF4-FFF2-40B4-BE49-F238E27FC236}">
                      <a16:creationId xmlns:a16="http://schemas.microsoft.com/office/drawing/2014/main" id="{E8827454-CECF-5093-2115-1A88FB2F522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9" name="Rectangle 156">
                  <a:extLst>
                    <a:ext uri="{FF2B5EF4-FFF2-40B4-BE49-F238E27FC236}">
                      <a16:creationId xmlns:a16="http://schemas.microsoft.com/office/drawing/2014/main" id="{F079304C-3402-686C-4191-982F16279DF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0" name="Freeform 157">
                  <a:extLst>
                    <a:ext uri="{FF2B5EF4-FFF2-40B4-BE49-F238E27FC236}">
                      <a16:creationId xmlns:a16="http://schemas.microsoft.com/office/drawing/2014/main" id="{EEBD5EA1-9D68-4D48-E44B-D351E555C31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1" name="Freeform 158">
                  <a:extLst>
                    <a:ext uri="{FF2B5EF4-FFF2-40B4-BE49-F238E27FC236}">
                      <a16:creationId xmlns:a16="http://schemas.microsoft.com/office/drawing/2014/main" id="{278CB3E6-13CE-E5C4-ECE4-F16941A4C59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2" name="Rectangle 159">
                  <a:extLst>
                    <a:ext uri="{FF2B5EF4-FFF2-40B4-BE49-F238E27FC236}">
                      <a16:creationId xmlns:a16="http://schemas.microsoft.com/office/drawing/2014/main" id="{5D28E70B-53B7-DDB2-BE99-3DE04609A01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3" name="Rectangle 160">
                  <a:extLst>
                    <a:ext uri="{FF2B5EF4-FFF2-40B4-BE49-F238E27FC236}">
                      <a16:creationId xmlns:a16="http://schemas.microsoft.com/office/drawing/2014/main" id="{3CA22CA7-8858-88B5-96CA-F20788DBCE3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4" name="Rectangle 161">
                  <a:extLst>
                    <a:ext uri="{FF2B5EF4-FFF2-40B4-BE49-F238E27FC236}">
                      <a16:creationId xmlns:a16="http://schemas.microsoft.com/office/drawing/2014/main" id="{A209225A-D143-D6C1-3139-BE42B37517F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5" name="Rectangle 162">
                  <a:extLst>
                    <a:ext uri="{FF2B5EF4-FFF2-40B4-BE49-F238E27FC236}">
                      <a16:creationId xmlns:a16="http://schemas.microsoft.com/office/drawing/2014/main" id="{E77123A4-219A-2508-510D-DAA75E0EDF5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Rectangle 163">
                  <a:extLst>
                    <a:ext uri="{FF2B5EF4-FFF2-40B4-BE49-F238E27FC236}">
                      <a16:creationId xmlns:a16="http://schemas.microsoft.com/office/drawing/2014/main" id="{7D89853E-0BE8-B2DA-E408-2708FB3CA67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7" name="Rectangle 164">
                  <a:extLst>
                    <a:ext uri="{FF2B5EF4-FFF2-40B4-BE49-F238E27FC236}">
                      <a16:creationId xmlns:a16="http://schemas.microsoft.com/office/drawing/2014/main" id="{3053ABA1-0E7D-FC71-F509-81E73727A83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8" name="Rectangle 165">
                  <a:extLst>
                    <a:ext uri="{FF2B5EF4-FFF2-40B4-BE49-F238E27FC236}">
                      <a16:creationId xmlns:a16="http://schemas.microsoft.com/office/drawing/2014/main" id="{A776E100-0C56-343B-92D2-D6640BDC3DC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9" name="Rectangle 166">
                  <a:extLst>
                    <a:ext uri="{FF2B5EF4-FFF2-40B4-BE49-F238E27FC236}">
                      <a16:creationId xmlns:a16="http://schemas.microsoft.com/office/drawing/2014/main" id="{959D46F5-D8F6-6E96-128B-34923415B42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0" name="Rectangle 167">
                  <a:extLst>
                    <a:ext uri="{FF2B5EF4-FFF2-40B4-BE49-F238E27FC236}">
                      <a16:creationId xmlns:a16="http://schemas.microsoft.com/office/drawing/2014/main" id="{FD790DBD-20B5-007D-6C04-B49828038F8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1" name="Rectangle 168">
                  <a:extLst>
                    <a:ext uri="{FF2B5EF4-FFF2-40B4-BE49-F238E27FC236}">
                      <a16:creationId xmlns:a16="http://schemas.microsoft.com/office/drawing/2014/main" id="{C4769069-75F9-CF20-1799-3BBBAA042B0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2" name="Rectangle 169">
                  <a:extLst>
                    <a:ext uri="{FF2B5EF4-FFF2-40B4-BE49-F238E27FC236}">
                      <a16:creationId xmlns:a16="http://schemas.microsoft.com/office/drawing/2014/main" id="{1131CD54-EAE6-72C2-EC59-F028951FD51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3" name="Rectangle 170">
                  <a:extLst>
                    <a:ext uri="{FF2B5EF4-FFF2-40B4-BE49-F238E27FC236}">
                      <a16:creationId xmlns:a16="http://schemas.microsoft.com/office/drawing/2014/main" id="{F681B263-7BFA-2154-699A-C5A3DBDB1BA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4" name="Freeform 171">
                  <a:extLst>
                    <a:ext uri="{FF2B5EF4-FFF2-40B4-BE49-F238E27FC236}">
                      <a16:creationId xmlns:a16="http://schemas.microsoft.com/office/drawing/2014/main" id="{C77EA9A8-3DB8-62B8-84C3-A631C0C041C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5" name="Freeform 172">
                  <a:extLst>
                    <a:ext uri="{FF2B5EF4-FFF2-40B4-BE49-F238E27FC236}">
                      <a16:creationId xmlns:a16="http://schemas.microsoft.com/office/drawing/2014/main" id="{15E09BE0-6077-4527-83B0-E883A734DC5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6" name="Rectangle 173">
                  <a:extLst>
                    <a:ext uri="{FF2B5EF4-FFF2-40B4-BE49-F238E27FC236}">
                      <a16:creationId xmlns:a16="http://schemas.microsoft.com/office/drawing/2014/main" id="{42702BD5-B830-993E-434F-196C871D078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19563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7" name="Rectangle 174">
                  <a:extLst>
                    <a:ext uri="{FF2B5EF4-FFF2-40B4-BE49-F238E27FC236}">
                      <a16:creationId xmlns:a16="http://schemas.microsoft.com/office/drawing/2014/main" id="{761B7910-51CB-792F-87E4-6355A4CEF3D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1938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8" name="Freeform 175">
                  <a:extLst>
                    <a:ext uri="{FF2B5EF4-FFF2-40B4-BE49-F238E27FC236}">
                      <a16:creationId xmlns:a16="http://schemas.microsoft.com/office/drawing/2014/main" id="{58A86A99-5171-B3F6-9C17-C23F179E898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022725" y="4899026"/>
                  <a:ext cx="20638" cy="17463"/>
                </a:xfrm>
                <a:custGeom>
                  <a:avLst/>
                  <a:gdLst>
                    <a:gd name="T0" fmla="*/ 1 w 13"/>
                    <a:gd name="T1" fmla="*/ 11 h 11"/>
                    <a:gd name="T2" fmla="*/ 13 w 13"/>
                    <a:gd name="T3" fmla="*/ 11 h 11"/>
                    <a:gd name="T4" fmla="*/ 13 w 13"/>
                    <a:gd name="T5" fmla="*/ 0 h 11"/>
                    <a:gd name="T6" fmla="*/ 0 w 13"/>
                    <a:gd name="T7" fmla="*/ 0 h 11"/>
                    <a:gd name="T8" fmla="*/ 1 w 13"/>
                    <a:gd name="T9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1">
                      <a:moveTo>
                        <a:pt x="1" y="11"/>
                      </a:moveTo>
                      <a:lnTo>
                        <a:pt x="13" y="11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1" y="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5" name="Group 6">
              <a:extLst>
                <a:ext uri="{FF2B5EF4-FFF2-40B4-BE49-F238E27FC236}">
                  <a16:creationId xmlns:a16="http://schemas.microsoft.com/office/drawing/2014/main" id="{4D1F4660-053D-AF81-ADB4-308302B1D0C3}"/>
                </a:ext>
              </a:extLst>
            </p:cNvPr>
            <p:cNvGrpSpPr/>
            <p:nvPr/>
          </p:nvGrpSpPr>
          <p:grpSpPr>
            <a:xfrm>
              <a:off x="1868421" y="3874372"/>
              <a:ext cx="2908640" cy="1223224"/>
              <a:chOff x="1868421" y="3874372"/>
              <a:chExt cx="2908640" cy="1223224"/>
            </a:xfrm>
          </p:grpSpPr>
          <p:grpSp>
            <p:nvGrpSpPr>
              <p:cNvPr id="14" name="Group 2">
                <a:extLst>
                  <a:ext uri="{FF2B5EF4-FFF2-40B4-BE49-F238E27FC236}">
                    <a16:creationId xmlns:a16="http://schemas.microsoft.com/office/drawing/2014/main" id="{80666164-4B7C-32FD-4324-BFEFCA735064}"/>
                  </a:ext>
                </a:extLst>
              </p:cNvPr>
              <p:cNvGrpSpPr/>
              <p:nvPr/>
            </p:nvGrpSpPr>
            <p:grpSpPr>
              <a:xfrm>
                <a:off x="1868421" y="3874372"/>
                <a:ext cx="1112318" cy="1215895"/>
                <a:chOff x="1868421" y="3874372"/>
                <a:chExt cx="1112318" cy="1215895"/>
              </a:xfrm>
            </p:grpSpPr>
            <p:sp>
              <p:nvSpPr>
                <p:cNvPr id="218" name="Freeform 177">
                  <a:extLst>
                    <a:ext uri="{FF2B5EF4-FFF2-40B4-BE49-F238E27FC236}">
                      <a16:creationId xmlns:a16="http://schemas.microsoft.com/office/drawing/2014/main" id="{EAF95CE4-4167-8148-B955-237CA69E983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163948" y="4817283"/>
                  <a:ext cx="124002" cy="272984"/>
                </a:xfrm>
                <a:custGeom>
                  <a:avLst/>
                  <a:gdLst>
                    <a:gd name="T0" fmla="*/ 20 w 119"/>
                    <a:gd name="T1" fmla="*/ 0 h 262"/>
                    <a:gd name="T2" fmla="*/ 3 w 119"/>
                    <a:gd name="T3" fmla="*/ 0 h 262"/>
                    <a:gd name="T4" fmla="*/ 4 w 119"/>
                    <a:gd name="T5" fmla="*/ 6 h 262"/>
                    <a:gd name="T6" fmla="*/ 22 w 119"/>
                    <a:gd name="T7" fmla="*/ 13 h 262"/>
                    <a:gd name="T8" fmla="*/ 42 w 119"/>
                    <a:gd name="T9" fmla="*/ 23 h 262"/>
                    <a:gd name="T10" fmla="*/ 46 w 119"/>
                    <a:gd name="T11" fmla="*/ 26 h 262"/>
                    <a:gd name="T12" fmla="*/ 35 w 119"/>
                    <a:gd name="T13" fmla="*/ 28 h 262"/>
                    <a:gd name="T14" fmla="*/ 37 w 119"/>
                    <a:gd name="T15" fmla="*/ 262 h 262"/>
                    <a:gd name="T16" fmla="*/ 119 w 119"/>
                    <a:gd name="T17" fmla="*/ 262 h 262"/>
                    <a:gd name="T18" fmla="*/ 69 w 119"/>
                    <a:gd name="T19" fmla="*/ 23 h 262"/>
                    <a:gd name="T20" fmla="*/ 68 w 119"/>
                    <a:gd name="T21" fmla="*/ 23 h 262"/>
                    <a:gd name="T22" fmla="*/ 69 w 119"/>
                    <a:gd name="T23" fmla="*/ 1 h 262"/>
                    <a:gd name="T24" fmla="*/ 49 w 119"/>
                    <a:gd name="T25" fmla="*/ 1 h 262"/>
                    <a:gd name="T26" fmla="*/ 48 w 119"/>
                    <a:gd name="T27" fmla="*/ 9 h 262"/>
                    <a:gd name="T28" fmla="*/ 20 w 119"/>
                    <a:gd name="T29" fmla="*/ 0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9" h="262">
                      <a:moveTo>
                        <a:pt x="20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0" y="5"/>
                        <a:pt x="4" y="6"/>
                      </a:cubicBezTo>
                      <a:cubicBezTo>
                        <a:pt x="6" y="7"/>
                        <a:pt x="22" y="13"/>
                        <a:pt x="22" y="13"/>
                      </a:cubicBezTo>
                      <a:cubicBezTo>
                        <a:pt x="42" y="23"/>
                        <a:pt x="42" y="23"/>
                        <a:pt x="42" y="23"/>
                      </a:cubicBezTo>
                      <a:cubicBezTo>
                        <a:pt x="46" y="26"/>
                        <a:pt x="46" y="26"/>
                        <a:pt x="46" y="26"/>
                      </a:cubicBezTo>
                      <a:cubicBezTo>
                        <a:pt x="35" y="28"/>
                        <a:pt x="35" y="28"/>
                        <a:pt x="35" y="28"/>
                      </a:cubicBezTo>
                      <a:cubicBezTo>
                        <a:pt x="37" y="262"/>
                        <a:pt x="37" y="262"/>
                        <a:pt x="37" y="262"/>
                      </a:cubicBezTo>
                      <a:cubicBezTo>
                        <a:pt x="119" y="262"/>
                        <a:pt x="119" y="262"/>
                        <a:pt x="119" y="262"/>
                      </a:cubicBezTo>
                      <a:cubicBezTo>
                        <a:pt x="105" y="159"/>
                        <a:pt x="69" y="23"/>
                        <a:pt x="69" y="23"/>
                      </a:cubicBezTo>
                      <a:cubicBezTo>
                        <a:pt x="68" y="23"/>
                        <a:pt x="68" y="23"/>
                        <a:pt x="68" y="23"/>
                      </a:cubicBezTo>
                      <a:cubicBezTo>
                        <a:pt x="69" y="1"/>
                        <a:pt x="69" y="1"/>
                        <a:pt x="69" y="1"/>
                      </a:cubicBezTo>
                      <a:cubicBezTo>
                        <a:pt x="49" y="1"/>
                        <a:pt x="49" y="1"/>
                        <a:pt x="49" y="1"/>
                      </a:cubicBezTo>
                      <a:cubicBezTo>
                        <a:pt x="48" y="9"/>
                        <a:pt x="48" y="9"/>
                        <a:pt x="48" y="9"/>
                      </a:cubicBezTo>
                      <a:cubicBezTo>
                        <a:pt x="20" y="0"/>
                        <a:pt x="20" y="0"/>
                        <a:pt x="20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grpSp>
              <p:nvGrpSpPr>
                <p:cNvPr id="219" name="Group 1087">
                  <a:extLst>
                    <a:ext uri="{FF2B5EF4-FFF2-40B4-BE49-F238E27FC236}">
                      <a16:creationId xmlns:a16="http://schemas.microsoft.com/office/drawing/2014/main" id="{0773BAC7-1D22-7B82-8F4A-3D01EE2C047A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1868421" y="3874372"/>
                  <a:ext cx="1112318" cy="907889"/>
                  <a:chOff x="10205244" y="514350"/>
                  <a:chExt cx="1429544" cy="1166813"/>
                </a:xfrm>
              </p:grpSpPr>
              <p:sp>
                <p:nvSpPr>
                  <p:cNvPr id="220" name="Freeform 254">
                    <a:extLst>
                      <a:ext uri="{FF2B5EF4-FFF2-40B4-BE49-F238E27FC236}">
                        <a16:creationId xmlns:a16="http://schemas.microsoft.com/office/drawing/2014/main" id="{DAD40144-EAA3-03AB-B009-743CB04B47A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05244" y="950913"/>
                    <a:ext cx="88900" cy="63500"/>
                  </a:xfrm>
                  <a:custGeom>
                    <a:avLst/>
                    <a:gdLst>
                      <a:gd name="T0" fmla="*/ 47 w 48"/>
                      <a:gd name="T1" fmla="*/ 8 h 35"/>
                      <a:gd name="T2" fmla="*/ 47 w 48"/>
                      <a:gd name="T3" fmla="*/ 0 h 35"/>
                      <a:gd name="T4" fmla="*/ 16 w 48"/>
                      <a:gd name="T5" fmla="*/ 3 h 35"/>
                      <a:gd name="T6" fmla="*/ 21 w 48"/>
                      <a:gd name="T7" fmla="*/ 6 h 35"/>
                      <a:gd name="T8" fmla="*/ 29 w 48"/>
                      <a:gd name="T9" fmla="*/ 7 h 35"/>
                      <a:gd name="T10" fmla="*/ 14 w 48"/>
                      <a:gd name="T11" fmla="*/ 24 h 35"/>
                      <a:gd name="T12" fmla="*/ 2 w 48"/>
                      <a:gd name="T13" fmla="*/ 24 h 35"/>
                      <a:gd name="T14" fmla="*/ 0 w 48"/>
                      <a:gd name="T15" fmla="*/ 28 h 35"/>
                      <a:gd name="T16" fmla="*/ 15 w 48"/>
                      <a:gd name="T17" fmla="*/ 29 h 35"/>
                      <a:gd name="T18" fmla="*/ 5 w 48"/>
                      <a:gd name="T19" fmla="*/ 33 h 35"/>
                      <a:gd name="T20" fmla="*/ 6 w 48"/>
                      <a:gd name="T21" fmla="*/ 35 h 35"/>
                      <a:gd name="T22" fmla="*/ 27 w 48"/>
                      <a:gd name="T23" fmla="*/ 31 h 35"/>
                      <a:gd name="T24" fmla="*/ 31 w 48"/>
                      <a:gd name="T25" fmla="*/ 27 h 35"/>
                      <a:gd name="T26" fmla="*/ 39 w 48"/>
                      <a:gd name="T27" fmla="*/ 19 h 35"/>
                      <a:gd name="T28" fmla="*/ 44 w 48"/>
                      <a:gd name="T29" fmla="*/ 14 h 35"/>
                      <a:gd name="T30" fmla="*/ 48 w 48"/>
                      <a:gd name="T31" fmla="*/ 14 h 35"/>
                      <a:gd name="T32" fmla="*/ 47 w 48"/>
                      <a:gd name="T33" fmla="*/ 8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48" h="35">
                        <a:moveTo>
                          <a:pt x="47" y="8"/>
                        </a:moveTo>
                        <a:cubicBezTo>
                          <a:pt x="47" y="4"/>
                          <a:pt x="47" y="2"/>
                          <a:pt x="47" y="0"/>
                        </a:cubicBezTo>
                        <a:cubicBezTo>
                          <a:pt x="36" y="0"/>
                          <a:pt x="16" y="3"/>
                          <a:pt x="16" y="3"/>
                        </a:cubicBezTo>
                        <a:cubicBezTo>
                          <a:pt x="16" y="3"/>
                          <a:pt x="16" y="6"/>
                          <a:pt x="21" y="6"/>
                        </a:cubicBezTo>
                        <a:cubicBezTo>
                          <a:pt x="26" y="6"/>
                          <a:pt x="29" y="7"/>
                          <a:pt x="29" y="7"/>
                        </a:cubicBezTo>
                        <a:cubicBezTo>
                          <a:pt x="14" y="24"/>
                          <a:pt x="14" y="24"/>
                          <a:pt x="14" y="24"/>
                        </a:cubicBezTo>
                        <a:cubicBezTo>
                          <a:pt x="14" y="24"/>
                          <a:pt x="4" y="24"/>
                          <a:pt x="2" y="24"/>
                        </a:cubicBezTo>
                        <a:cubicBezTo>
                          <a:pt x="1" y="25"/>
                          <a:pt x="0" y="27"/>
                          <a:pt x="0" y="28"/>
                        </a:cubicBezTo>
                        <a:cubicBezTo>
                          <a:pt x="4" y="28"/>
                          <a:pt x="15" y="29"/>
                          <a:pt x="15" y="29"/>
                        </a:cubicBezTo>
                        <a:cubicBezTo>
                          <a:pt x="15" y="29"/>
                          <a:pt x="7" y="31"/>
                          <a:pt x="5" y="33"/>
                        </a:cubicBezTo>
                        <a:cubicBezTo>
                          <a:pt x="5" y="33"/>
                          <a:pt x="4" y="35"/>
                          <a:pt x="6" y="35"/>
                        </a:cubicBezTo>
                        <a:cubicBezTo>
                          <a:pt x="15" y="34"/>
                          <a:pt x="26" y="32"/>
                          <a:pt x="27" y="31"/>
                        </a:cubicBezTo>
                        <a:cubicBezTo>
                          <a:pt x="29" y="29"/>
                          <a:pt x="31" y="27"/>
                          <a:pt x="31" y="27"/>
                        </a:cubicBezTo>
                        <a:cubicBezTo>
                          <a:pt x="31" y="27"/>
                          <a:pt x="35" y="23"/>
                          <a:pt x="39" y="19"/>
                        </a:cubicBezTo>
                        <a:cubicBezTo>
                          <a:pt x="43" y="16"/>
                          <a:pt x="44" y="14"/>
                          <a:pt x="44" y="14"/>
                        </a:cubicBezTo>
                        <a:cubicBezTo>
                          <a:pt x="48" y="14"/>
                          <a:pt x="48" y="14"/>
                          <a:pt x="48" y="14"/>
                        </a:cubicBezTo>
                        <a:cubicBezTo>
                          <a:pt x="48" y="14"/>
                          <a:pt x="47" y="11"/>
                          <a:pt x="47" y="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1" name="Freeform 235">
                    <a:extLst>
                      <a:ext uri="{FF2B5EF4-FFF2-40B4-BE49-F238E27FC236}">
                        <a16:creationId xmlns:a16="http://schemas.microsoft.com/office/drawing/2014/main" id="{193C5B05-688C-82FC-6A37-B183125FD0D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20438" y="976313"/>
                    <a:ext cx="206375" cy="155575"/>
                  </a:xfrm>
                  <a:custGeom>
                    <a:avLst/>
                    <a:gdLst>
                      <a:gd name="T0" fmla="*/ 112 w 112"/>
                      <a:gd name="T1" fmla="*/ 84 h 84"/>
                      <a:gd name="T2" fmla="*/ 30 w 112"/>
                      <a:gd name="T3" fmla="*/ 73 h 84"/>
                      <a:gd name="T4" fmla="*/ 0 w 112"/>
                      <a:gd name="T5" fmla="*/ 0 h 84"/>
                      <a:gd name="T6" fmla="*/ 68 w 112"/>
                      <a:gd name="T7" fmla="*/ 23 h 84"/>
                      <a:gd name="T8" fmla="*/ 112 w 112"/>
                      <a:gd name="T9" fmla="*/ 84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2" h="84">
                        <a:moveTo>
                          <a:pt x="112" y="84"/>
                        </a:moveTo>
                        <a:cubicBezTo>
                          <a:pt x="112" y="84"/>
                          <a:pt x="80" y="48"/>
                          <a:pt x="30" y="73"/>
                        </a:cubicBezTo>
                        <a:cubicBezTo>
                          <a:pt x="9" y="83"/>
                          <a:pt x="0" y="0"/>
                          <a:pt x="0" y="0"/>
                        </a:cubicBezTo>
                        <a:cubicBezTo>
                          <a:pt x="0" y="0"/>
                          <a:pt x="11" y="5"/>
                          <a:pt x="68" y="23"/>
                        </a:cubicBezTo>
                        <a:cubicBezTo>
                          <a:pt x="83" y="28"/>
                          <a:pt x="112" y="84"/>
                          <a:pt x="112" y="84"/>
                        </a:cubicBezTo>
                        <a:close/>
                      </a:path>
                    </a:pathLst>
                  </a:custGeom>
                  <a:solidFill>
                    <a:srgbClr val="5D819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2" name="Freeform 236">
                    <a:extLst>
                      <a:ext uri="{FF2B5EF4-FFF2-40B4-BE49-F238E27FC236}">
                        <a16:creationId xmlns:a16="http://schemas.microsoft.com/office/drawing/2014/main" id="{9BDFCBBA-880D-3499-4B03-DC7F590DACC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555413" y="1190625"/>
                    <a:ext cx="79375" cy="52388"/>
                  </a:xfrm>
                  <a:custGeom>
                    <a:avLst/>
                    <a:gdLst>
                      <a:gd name="T0" fmla="*/ 0 w 43"/>
                      <a:gd name="T1" fmla="*/ 12 h 28"/>
                      <a:gd name="T2" fmla="*/ 7 w 43"/>
                      <a:gd name="T3" fmla="*/ 0 h 28"/>
                      <a:gd name="T4" fmla="*/ 19 w 43"/>
                      <a:gd name="T5" fmla="*/ 7 h 28"/>
                      <a:gd name="T6" fmla="*/ 16 w 43"/>
                      <a:gd name="T7" fmla="*/ 12 h 28"/>
                      <a:gd name="T8" fmla="*/ 35 w 43"/>
                      <a:gd name="T9" fmla="*/ 18 h 28"/>
                      <a:gd name="T10" fmla="*/ 43 w 43"/>
                      <a:gd name="T11" fmla="*/ 24 h 28"/>
                      <a:gd name="T12" fmla="*/ 40 w 43"/>
                      <a:gd name="T13" fmla="*/ 27 h 28"/>
                      <a:gd name="T14" fmla="*/ 29 w 43"/>
                      <a:gd name="T15" fmla="*/ 25 h 28"/>
                      <a:gd name="T16" fmla="*/ 12 w 43"/>
                      <a:gd name="T17" fmla="*/ 24 h 28"/>
                      <a:gd name="T18" fmla="*/ 0 w 43"/>
                      <a:gd name="T19" fmla="*/ 12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3" h="28">
                        <a:moveTo>
                          <a:pt x="0" y="12"/>
                        </a:move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19" y="7"/>
                          <a:pt x="19" y="7"/>
                          <a:pt x="19" y="7"/>
                        </a:cubicBezTo>
                        <a:cubicBezTo>
                          <a:pt x="16" y="12"/>
                          <a:pt x="16" y="12"/>
                          <a:pt x="16" y="12"/>
                        </a:cubicBezTo>
                        <a:cubicBezTo>
                          <a:pt x="35" y="18"/>
                          <a:pt x="35" y="18"/>
                          <a:pt x="35" y="18"/>
                        </a:cubicBezTo>
                        <a:cubicBezTo>
                          <a:pt x="43" y="24"/>
                          <a:pt x="43" y="24"/>
                          <a:pt x="43" y="24"/>
                        </a:cubicBezTo>
                        <a:cubicBezTo>
                          <a:pt x="43" y="24"/>
                          <a:pt x="43" y="28"/>
                          <a:pt x="40" y="27"/>
                        </a:cubicBezTo>
                        <a:cubicBezTo>
                          <a:pt x="39" y="27"/>
                          <a:pt x="29" y="25"/>
                          <a:pt x="29" y="25"/>
                        </a:cubicBezTo>
                        <a:cubicBezTo>
                          <a:pt x="12" y="24"/>
                          <a:pt x="12" y="24"/>
                          <a:pt x="12" y="24"/>
                        </a:cubicBez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3" name="Freeform 237">
                    <a:extLst>
                      <a:ext uri="{FF2B5EF4-FFF2-40B4-BE49-F238E27FC236}">
                        <a16:creationId xmlns:a16="http://schemas.microsoft.com/office/drawing/2014/main" id="{C028A688-BF2E-FBCF-ADF6-A67921C2C65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049000" y="1157288"/>
                    <a:ext cx="534988" cy="444500"/>
                  </a:xfrm>
                  <a:custGeom>
                    <a:avLst/>
                    <a:gdLst>
                      <a:gd name="T0" fmla="*/ 13 w 288"/>
                      <a:gd name="T1" fmla="*/ 30 h 240"/>
                      <a:gd name="T2" fmla="*/ 97 w 288"/>
                      <a:gd name="T3" fmla="*/ 29 h 240"/>
                      <a:gd name="T4" fmla="*/ 121 w 288"/>
                      <a:gd name="T5" fmla="*/ 154 h 240"/>
                      <a:gd name="T6" fmla="*/ 269 w 288"/>
                      <a:gd name="T7" fmla="*/ 26 h 240"/>
                      <a:gd name="T8" fmla="*/ 288 w 288"/>
                      <a:gd name="T9" fmla="*/ 44 h 240"/>
                      <a:gd name="T10" fmla="*/ 145 w 288"/>
                      <a:gd name="T11" fmla="*/ 206 h 240"/>
                      <a:gd name="T12" fmla="*/ 78 w 288"/>
                      <a:gd name="T13" fmla="*/ 202 h 240"/>
                      <a:gd name="T14" fmla="*/ 0 w 288"/>
                      <a:gd name="T15" fmla="*/ 68 h 240"/>
                      <a:gd name="T16" fmla="*/ 13 w 288"/>
                      <a:gd name="T17" fmla="*/ 30 h 2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88" h="240">
                        <a:moveTo>
                          <a:pt x="13" y="30"/>
                        </a:moveTo>
                        <a:cubicBezTo>
                          <a:pt x="13" y="30"/>
                          <a:pt x="86" y="0"/>
                          <a:pt x="97" y="29"/>
                        </a:cubicBezTo>
                        <a:cubicBezTo>
                          <a:pt x="114" y="69"/>
                          <a:pt x="119" y="127"/>
                          <a:pt x="121" y="154"/>
                        </a:cubicBezTo>
                        <a:cubicBezTo>
                          <a:pt x="269" y="26"/>
                          <a:pt x="269" y="26"/>
                          <a:pt x="269" y="26"/>
                        </a:cubicBezTo>
                        <a:cubicBezTo>
                          <a:pt x="288" y="44"/>
                          <a:pt x="288" y="44"/>
                          <a:pt x="288" y="44"/>
                        </a:cubicBezTo>
                        <a:cubicBezTo>
                          <a:pt x="288" y="44"/>
                          <a:pt x="154" y="192"/>
                          <a:pt x="145" y="206"/>
                        </a:cubicBezTo>
                        <a:cubicBezTo>
                          <a:pt x="135" y="220"/>
                          <a:pt x="102" y="240"/>
                          <a:pt x="78" y="202"/>
                        </a:cubicBezTo>
                        <a:cubicBezTo>
                          <a:pt x="55" y="163"/>
                          <a:pt x="14" y="93"/>
                          <a:pt x="0" y="68"/>
                        </a:cubicBezTo>
                        <a:cubicBezTo>
                          <a:pt x="107" y="63"/>
                          <a:pt x="13" y="30"/>
                          <a:pt x="13" y="3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4" name="Freeform 238">
                    <a:extLst>
                      <a:ext uri="{FF2B5EF4-FFF2-40B4-BE49-F238E27FC236}">
                        <a16:creationId xmlns:a16="http://schemas.microsoft.com/office/drawing/2014/main" id="{09BA38C1-3324-FFB6-E839-2D18CBBB028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50513" y="677863"/>
                    <a:ext cx="373063" cy="328613"/>
                  </a:xfrm>
                  <a:custGeom>
                    <a:avLst/>
                    <a:gdLst>
                      <a:gd name="T0" fmla="*/ 179 w 201"/>
                      <a:gd name="T1" fmla="*/ 0 h 177"/>
                      <a:gd name="T2" fmla="*/ 134 w 201"/>
                      <a:gd name="T3" fmla="*/ 67 h 177"/>
                      <a:gd name="T4" fmla="*/ 99 w 201"/>
                      <a:gd name="T5" fmla="*/ 122 h 177"/>
                      <a:gd name="T6" fmla="*/ 9 w 201"/>
                      <a:gd name="T7" fmla="*/ 39 h 177"/>
                      <a:gd name="T8" fmla="*/ 0 w 201"/>
                      <a:gd name="T9" fmla="*/ 48 h 177"/>
                      <a:gd name="T10" fmla="*/ 65 w 201"/>
                      <a:gd name="T11" fmla="*/ 141 h 177"/>
                      <a:gd name="T12" fmla="*/ 116 w 201"/>
                      <a:gd name="T13" fmla="*/ 177 h 177"/>
                      <a:gd name="T14" fmla="*/ 201 w 201"/>
                      <a:gd name="T15" fmla="*/ 87 h 177"/>
                      <a:gd name="T16" fmla="*/ 179 w 201"/>
                      <a:gd name="T17" fmla="*/ 0 h 1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1" h="177">
                        <a:moveTo>
                          <a:pt x="179" y="0"/>
                        </a:moveTo>
                        <a:cubicBezTo>
                          <a:pt x="179" y="0"/>
                          <a:pt x="155" y="11"/>
                          <a:pt x="134" y="67"/>
                        </a:cubicBezTo>
                        <a:cubicBezTo>
                          <a:pt x="121" y="98"/>
                          <a:pt x="99" y="122"/>
                          <a:pt x="99" y="122"/>
                        </a:cubicBezTo>
                        <a:cubicBezTo>
                          <a:pt x="9" y="39"/>
                          <a:pt x="9" y="39"/>
                          <a:pt x="9" y="39"/>
                        </a:cubicBezTo>
                        <a:cubicBezTo>
                          <a:pt x="0" y="48"/>
                          <a:pt x="0" y="48"/>
                          <a:pt x="0" y="48"/>
                        </a:cubicBezTo>
                        <a:cubicBezTo>
                          <a:pt x="0" y="48"/>
                          <a:pt x="41" y="108"/>
                          <a:pt x="65" y="141"/>
                        </a:cubicBezTo>
                        <a:cubicBezTo>
                          <a:pt x="86" y="172"/>
                          <a:pt x="116" y="177"/>
                          <a:pt x="116" y="177"/>
                        </a:cubicBezTo>
                        <a:cubicBezTo>
                          <a:pt x="201" y="87"/>
                          <a:pt x="201" y="87"/>
                          <a:pt x="201" y="87"/>
                        </a:cubicBezTo>
                        <a:lnTo>
                          <a:pt x="179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5" name="Freeform 239">
                    <a:extLst>
                      <a:ext uri="{FF2B5EF4-FFF2-40B4-BE49-F238E27FC236}">
                        <a16:creationId xmlns:a16="http://schemas.microsoft.com/office/drawing/2014/main" id="{8F8EDBB4-B6A2-F549-41DA-B2975566AB6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7525" y="700088"/>
                    <a:ext cx="284163" cy="404813"/>
                  </a:xfrm>
                  <a:custGeom>
                    <a:avLst/>
                    <a:gdLst>
                      <a:gd name="T0" fmla="*/ 154 w 154"/>
                      <a:gd name="T1" fmla="*/ 219 h 219"/>
                      <a:gd name="T2" fmla="*/ 32 w 154"/>
                      <a:gd name="T3" fmla="*/ 117 h 219"/>
                      <a:gd name="T4" fmla="*/ 43 w 154"/>
                      <a:gd name="T5" fmla="*/ 0 h 219"/>
                      <a:gd name="T6" fmla="*/ 154 w 154"/>
                      <a:gd name="T7" fmla="*/ 219 h 2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54" h="219">
                        <a:moveTo>
                          <a:pt x="154" y="219"/>
                        </a:moveTo>
                        <a:cubicBezTo>
                          <a:pt x="154" y="219"/>
                          <a:pt x="59" y="173"/>
                          <a:pt x="32" y="117"/>
                        </a:cubicBezTo>
                        <a:cubicBezTo>
                          <a:pt x="0" y="47"/>
                          <a:pt x="43" y="0"/>
                          <a:pt x="43" y="0"/>
                        </a:cubicBezTo>
                        <a:cubicBezTo>
                          <a:pt x="154" y="219"/>
                          <a:pt x="154" y="219"/>
                          <a:pt x="154" y="219"/>
                        </a:cubicBezTo>
                      </a:path>
                    </a:pathLst>
                  </a:custGeom>
                  <a:solidFill>
                    <a:srgbClr val="9FCDD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6" name="Freeform 240">
                    <a:extLst>
                      <a:ext uri="{FF2B5EF4-FFF2-40B4-BE49-F238E27FC236}">
                        <a16:creationId xmlns:a16="http://schemas.microsoft.com/office/drawing/2014/main" id="{212F0DDC-512E-3FD8-56E7-F4C8D6D9485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18800" y="666750"/>
                    <a:ext cx="525463" cy="481013"/>
                  </a:xfrm>
                  <a:custGeom>
                    <a:avLst/>
                    <a:gdLst>
                      <a:gd name="T0" fmla="*/ 135 w 283"/>
                      <a:gd name="T1" fmla="*/ 260 h 260"/>
                      <a:gd name="T2" fmla="*/ 32 w 283"/>
                      <a:gd name="T3" fmla="*/ 116 h 260"/>
                      <a:gd name="T4" fmla="*/ 13 w 283"/>
                      <a:gd name="T5" fmla="*/ 25 h 260"/>
                      <a:gd name="T6" fmla="*/ 45 w 283"/>
                      <a:gd name="T7" fmla="*/ 0 h 260"/>
                      <a:gd name="T8" fmla="*/ 174 w 283"/>
                      <a:gd name="T9" fmla="*/ 74 h 260"/>
                      <a:gd name="T10" fmla="*/ 283 w 283"/>
                      <a:gd name="T11" fmla="*/ 245 h 260"/>
                      <a:gd name="T12" fmla="*/ 135 w 283"/>
                      <a:gd name="T13" fmla="*/ 26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3" h="260">
                        <a:moveTo>
                          <a:pt x="135" y="260"/>
                        </a:moveTo>
                        <a:cubicBezTo>
                          <a:pt x="135" y="260"/>
                          <a:pt x="85" y="180"/>
                          <a:pt x="32" y="116"/>
                        </a:cubicBezTo>
                        <a:cubicBezTo>
                          <a:pt x="0" y="76"/>
                          <a:pt x="13" y="25"/>
                          <a:pt x="13" y="25"/>
                        </a:cubicBezTo>
                        <a:cubicBezTo>
                          <a:pt x="13" y="25"/>
                          <a:pt x="30" y="1"/>
                          <a:pt x="45" y="0"/>
                        </a:cubicBezTo>
                        <a:cubicBezTo>
                          <a:pt x="71" y="7"/>
                          <a:pt x="133" y="22"/>
                          <a:pt x="174" y="74"/>
                        </a:cubicBezTo>
                        <a:cubicBezTo>
                          <a:pt x="232" y="148"/>
                          <a:pt x="283" y="245"/>
                          <a:pt x="283" y="245"/>
                        </a:cubicBezTo>
                        <a:cubicBezTo>
                          <a:pt x="135" y="260"/>
                          <a:pt x="135" y="260"/>
                          <a:pt x="135" y="260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7" name="Freeform 241">
                    <a:extLst>
                      <a:ext uri="{FF2B5EF4-FFF2-40B4-BE49-F238E27FC236}">
                        <a16:creationId xmlns:a16="http://schemas.microsoft.com/office/drawing/2014/main" id="{8B4D61CD-D29E-DA65-ADB1-B39B552238E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01350" y="911225"/>
                    <a:ext cx="23813" cy="30163"/>
                  </a:xfrm>
                  <a:custGeom>
                    <a:avLst/>
                    <a:gdLst>
                      <a:gd name="T0" fmla="*/ 0 w 13"/>
                      <a:gd name="T1" fmla="*/ 0 h 16"/>
                      <a:gd name="T2" fmla="*/ 13 w 13"/>
                      <a:gd name="T3" fmla="*/ 16 h 16"/>
                      <a:gd name="T4" fmla="*/ 6 w 13"/>
                      <a:gd name="T5" fmla="*/ 5 h 16"/>
                      <a:gd name="T6" fmla="*/ 0 w 13"/>
                      <a:gd name="T7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3" h="16">
                        <a:moveTo>
                          <a:pt x="0" y="0"/>
                        </a:moveTo>
                        <a:cubicBezTo>
                          <a:pt x="0" y="0"/>
                          <a:pt x="5" y="7"/>
                          <a:pt x="13" y="16"/>
                        </a:cubicBezTo>
                        <a:cubicBezTo>
                          <a:pt x="11" y="12"/>
                          <a:pt x="8" y="9"/>
                          <a:pt x="6" y="5"/>
                        </a:cubicBezTo>
                        <a:cubicBezTo>
                          <a:pt x="2" y="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8" name="Freeform 242">
                    <a:extLst>
                      <a:ext uri="{FF2B5EF4-FFF2-40B4-BE49-F238E27FC236}">
                        <a16:creationId xmlns:a16="http://schemas.microsoft.com/office/drawing/2014/main" id="{800C2FEE-C9D7-E62E-D558-EA7BC785286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2463" y="920750"/>
                    <a:ext cx="252413" cy="200025"/>
                  </a:xfrm>
                  <a:custGeom>
                    <a:avLst/>
                    <a:gdLst>
                      <a:gd name="T0" fmla="*/ 0 w 136"/>
                      <a:gd name="T1" fmla="*/ 0 h 108"/>
                      <a:gd name="T2" fmla="*/ 7 w 136"/>
                      <a:gd name="T3" fmla="*/ 11 h 108"/>
                      <a:gd name="T4" fmla="*/ 63 w 136"/>
                      <a:gd name="T5" fmla="*/ 48 h 108"/>
                      <a:gd name="T6" fmla="*/ 124 w 136"/>
                      <a:gd name="T7" fmla="*/ 107 h 108"/>
                      <a:gd name="T8" fmla="*/ 136 w 136"/>
                      <a:gd name="T9" fmla="*/ 108 h 108"/>
                      <a:gd name="T10" fmla="*/ 62 w 136"/>
                      <a:gd name="T11" fmla="*/ 43 h 108"/>
                      <a:gd name="T12" fmla="*/ 0 w 136"/>
                      <a:gd name="T13" fmla="*/ 0 h 1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36" h="108">
                        <a:moveTo>
                          <a:pt x="0" y="0"/>
                        </a:moveTo>
                        <a:cubicBezTo>
                          <a:pt x="2" y="4"/>
                          <a:pt x="5" y="7"/>
                          <a:pt x="7" y="11"/>
                        </a:cubicBezTo>
                        <a:cubicBezTo>
                          <a:pt x="20" y="24"/>
                          <a:pt x="40" y="41"/>
                          <a:pt x="63" y="48"/>
                        </a:cubicBezTo>
                        <a:cubicBezTo>
                          <a:pt x="97" y="58"/>
                          <a:pt x="124" y="107"/>
                          <a:pt x="124" y="107"/>
                        </a:cubicBezTo>
                        <a:cubicBezTo>
                          <a:pt x="136" y="108"/>
                          <a:pt x="136" y="108"/>
                          <a:pt x="136" y="108"/>
                        </a:cubicBezTo>
                        <a:cubicBezTo>
                          <a:pt x="136" y="108"/>
                          <a:pt x="100" y="63"/>
                          <a:pt x="62" y="43"/>
                        </a:cubicBezTo>
                        <a:cubicBezTo>
                          <a:pt x="33" y="29"/>
                          <a:pt x="10" y="1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9" name="Freeform 243">
                    <a:extLst>
                      <a:ext uri="{FF2B5EF4-FFF2-40B4-BE49-F238E27FC236}">
                        <a16:creationId xmlns:a16="http://schemas.microsoft.com/office/drawing/2014/main" id="{15FF1C98-D290-B508-128D-F9703456BB7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9438" y="730250"/>
                    <a:ext cx="211138" cy="368300"/>
                  </a:xfrm>
                  <a:custGeom>
                    <a:avLst/>
                    <a:gdLst>
                      <a:gd name="T0" fmla="*/ 5 w 114"/>
                      <a:gd name="T1" fmla="*/ 0 h 199"/>
                      <a:gd name="T2" fmla="*/ 2 w 114"/>
                      <a:gd name="T3" fmla="*/ 9 h 199"/>
                      <a:gd name="T4" fmla="*/ 8 w 114"/>
                      <a:gd name="T5" fmla="*/ 18 h 199"/>
                      <a:gd name="T6" fmla="*/ 17 w 114"/>
                      <a:gd name="T7" fmla="*/ 94 h 199"/>
                      <a:gd name="T8" fmla="*/ 83 w 114"/>
                      <a:gd name="T9" fmla="*/ 194 h 199"/>
                      <a:gd name="T10" fmla="*/ 114 w 114"/>
                      <a:gd name="T11" fmla="*/ 199 h 199"/>
                      <a:gd name="T12" fmla="*/ 111 w 114"/>
                      <a:gd name="T13" fmla="*/ 166 h 199"/>
                      <a:gd name="T14" fmla="*/ 33 w 114"/>
                      <a:gd name="T15" fmla="*/ 84 h 199"/>
                      <a:gd name="T16" fmla="*/ 14 w 114"/>
                      <a:gd name="T17" fmla="*/ 17 h 199"/>
                      <a:gd name="T18" fmla="*/ 17 w 114"/>
                      <a:gd name="T19" fmla="*/ 7 h 199"/>
                      <a:gd name="T20" fmla="*/ 5 w 114"/>
                      <a:gd name="T21" fmla="*/ 0 h 1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14" h="199">
                        <a:moveTo>
                          <a:pt x="5" y="0"/>
                        </a:moveTo>
                        <a:cubicBezTo>
                          <a:pt x="5" y="0"/>
                          <a:pt x="2" y="4"/>
                          <a:pt x="2" y="9"/>
                        </a:cubicBezTo>
                        <a:cubicBezTo>
                          <a:pt x="3" y="14"/>
                          <a:pt x="8" y="18"/>
                          <a:pt x="8" y="18"/>
                        </a:cubicBezTo>
                        <a:cubicBezTo>
                          <a:pt x="8" y="18"/>
                          <a:pt x="0" y="55"/>
                          <a:pt x="17" y="94"/>
                        </a:cubicBezTo>
                        <a:cubicBezTo>
                          <a:pt x="43" y="154"/>
                          <a:pt x="83" y="194"/>
                          <a:pt x="83" y="194"/>
                        </a:cubicBezTo>
                        <a:cubicBezTo>
                          <a:pt x="114" y="199"/>
                          <a:pt x="114" y="199"/>
                          <a:pt x="114" y="199"/>
                        </a:cubicBezTo>
                        <a:cubicBezTo>
                          <a:pt x="111" y="166"/>
                          <a:pt x="111" y="166"/>
                          <a:pt x="111" y="166"/>
                        </a:cubicBezTo>
                        <a:cubicBezTo>
                          <a:pt x="111" y="166"/>
                          <a:pt x="65" y="139"/>
                          <a:pt x="33" y="84"/>
                        </a:cubicBezTo>
                        <a:cubicBezTo>
                          <a:pt x="11" y="46"/>
                          <a:pt x="14" y="17"/>
                          <a:pt x="14" y="17"/>
                        </a:cubicBezTo>
                        <a:cubicBezTo>
                          <a:pt x="14" y="17"/>
                          <a:pt x="15" y="12"/>
                          <a:pt x="17" y="7"/>
                        </a:cubicBezTo>
                        <a:cubicBezTo>
                          <a:pt x="9" y="4"/>
                          <a:pt x="5" y="0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0" name="Freeform 244">
                    <a:extLst>
                      <a:ext uri="{FF2B5EF4-FFF2-40B4-BE49-F238E27FC236}">
                        <a16:creationId xmlns:a16="http://schemas.microsoft.com/office/drawing/2014/main" id="{20E0C6A2-EC78-5BC5-8E84-B4FF5D6F91C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80700" y="617538"/>
                    <a:ext cx="131763" cy="107950"/>
                  </a:xfrm>
                  <a:custGeom>
                    <a:avLst/>
                    <a:gdLst>
                      <a:gd name="T0" fmla="*/ 70 w 71"/>
                      <a:gd name="T1" fmla="*/ 28 h 59"/>
                      <a:gd name="T2" fmla="*/ 71 w 71"/>
                      <a:gd name="T3" fmla="*/ 24 h 59"/>
                      <a:gd name="T4" fmla="*/ 62 w 71"/>
                      <a:gd name="T5" fmla="*/ 0 h 59"/>
                      <a:gd name="T6" fmla="*/ 42 w 71"/>
                      <a:gd name="T7" fmla="*/ 17 h 59"/>
                      <a:gd name="T8" fmla="*/ 21 w 71"/>
                      <a:gd name="T9" fmla="*/ 23 h 59"/>
                      <a:gd name="T10" fmla="*/ 0 w 71"/>
                      <a:gd name="T11" fmla="*/ 11 h 59"/>
                      <a:gd name="T12" fmla="*/ 36 w 71"/>
                      <a:gd name="T13" fmla="*/ 59 h 59"/>
                      <a:gd name="T14" fmla="*/ 70 w 71"/>
                      <a:gd name="T15" fmla="*/ 28 h 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1" h="59">
                        <a:moveTo>
                          <a:pt x="70" y="28"/>
                        </a:moveTo>
                        <a:cubicBezTo>
                          <a:pt x="69" y="26"/>
                          <a:pt x="71" y="24"/>
                          <a:pt x="71" y="24"/>
                        </a:cubicBezTo>
                        <a:cubicBezTo>
                          <a:pt x="62" y="0"/>
                          <a:pt x="62" y="0"/>
                          <a:pt x="62" y="0"/>
                        </a:cubicBezTo>
                        <a:cubicBezTo>
                          <a:pt x="62" y="0"/>
                          <a:pt x="48" y="10"/>
                          <a:pt x="42" y="17"/>
                        </a:cubicBezTo>
                        <a:cubicBezTo>
                          <a:pt x="36" y="24"/>
                          <a:pt x="25" y="24"/>
                          <a:pt x="21" y="23"/>
                        </a:cubicBezTo>
                        <a:cubicBezTo>
                          <a:pt x="13" y="19"/>
                          <a:pt x="0" y="11"/>
                          <a:pt x="0" y="11"/>
                        </a:cubicBezTo>
                        <a:cubicBezTo>
                          <a:pt x="0" y="11"/>
                          <a:pt x="24" y="28"/>
                          <a:pt x="36" y="59"/>
                        </a:cubicBezTo>
                        <a:cubicBezTo>
                          <a:pt x="60" y="44"/>
                          <a:pt x="67" y="33"/>
                          <a:pt x="70" y="2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1" name="Freeform 245">
                    <a:extLst>
                      <a:ext uri="{FF2B5EF4-FFF2-40B4-BE49-F238E27FC236}">
                        <a16:creationId xmlns:a16="http://schemas.microsoft.com/office/drawing/2014/main" id="{19C225C3-C084-39E7-4F53-801EAE41FD5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9113" y="541338"/>
                    <a:ext cx="138113" cy="127000"/>
                  </a:xfrm>
                  <a:custGeom>
                    <a:avLst/>
                    <a:gdLst>
                      <a:gd name="T0" fmla="*/ 1 w 75"/>
                      <a:gd name="T1" fmla="*/ 52 h 69"/>
                      <a:gd name="T2" fmla="*/ 25 w 75"/>
                      <a:gd name="T3" fmla="*/ 65 h 69"/>
                      <a:gd name="T4" fmla="*/ 39 w 75"/>
                      <a:gd name="T5" fmla="*/ 62 h 69"/>
                      <a:gd name="T6" fmla="*/ 52 w 75"/>
                      <a:gd name="T7" fmla="*/ 51 h 69"/>
                      <a:gd name="T8" fmla="*/ 60 w 75"/>
                      <a:gd name="T9" fmla="*/ 50 h 69"/>
                      <a:gd name="T10" fmla="*/ 62 w 75"/>
                      <a:gd name="T11" fmla="*/ 39 h 69"/>
                      <a:gd name="T12" fmla="*/ 75 w 75"/>
                      <a:gd name="T13" fmla="*/ 12 h 69"/>
                      <a:gd name="T14" fmla="*/ 65 w 75"/>
                      <a:gd name="T15" fmla="*/ 1 h 69"/>
                      <a:gd name="T16" fmla="*/ 50 w 75"/>
                      <a:gd name="T17" fmla="*/ 0 h 69"/>
                      <a:gd name="T18" fmla="*/ 12 w 75"/>
                      <a:gd name="T19" fmla="*/ 20 h 69"/>
                      <a:gd name="T20" fmla="*/ 13 w 75"/>
                      <a:gd name="T21" fmla="*/ 23 h 69"/>
                      <a:gd name="T22" fmla="*/ 18 w 75"/>
                      <a:gd name="T23" fmla="*/ 27 h 69"/>
                      <a:gd name="T24" fmla="*/ 1 w 75"/>
                      <a:gd name="T25" fmla="*/ 51 h 69"/>
                      <a:gd name="T26" fmla="*/ 1 w 75"/>
                      <a:gd name="T27" fmla="*/ 52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75" h="69">
                        <a:moveTo>
                          <a:pt x="1" y="52"/>
                        </a:moveTo>
                        <a:cubicBezTo>
                          <a:pt x="7" y="56"/>
                          <a:pt x="19" y="63"/>
                          <a:pt x="25" y="65"/>
                        </a:cubicBezTo>
                        <a:cubicBezTo>
                          <a:pt x="33" y="69"/>
                          <a:pt x="39" y="62"/>
                          <a:pt x="39" y="62"/>
                        </a:cubicBezTo>
                        <a:cubicBezTo>
                          <a:pt x="52" y="51"/>
                          <a:pt x="52" y="51"/>
                          <a:pt x="52" y="51"/>
                        </a:cubicBezTo>
                        <a:cubicBezTo>
                          <a:pt x="52" y="51"/>
                          <a:pt x="56" y="51"/>
                          <a:pt x="60" y="50"/>
                        </a:cubicBezTo>
                        <a:cubicBezTo>
                          <a:pt x="62" y="49"/>
                          <a:pt x="66" y="45"/>
                          <a:pt x="62" y="39"/>
                        </a:cubicBezTo>
                        <a:cubicBezTo>
                          <a:pt x="54" y="30"/>
                          <a:pt x="75" y="12"/>
                          <a:pt x="75" y="12"/>
                        </a:cubicBezTo>
                        <a:cubicBezTo>
                          <a:pt x="65" y="1"/>
                          <a:pt x="65" y="1"/>
                          <a:pt x="65" y="1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12" y="20"/>
                          <a:pt x="12" y="20"/>
                          <a:pt x="12" y="20"/>
                        </a:cubicBezTo>
                        <a:cubicBezTo>
                          <a:pt x="12" y="20"/>
                          <a:pt x="11" y="22"/>
                          <a:pt x="13" y="23"/>
                        </a:cubicBezTo>
                        <a:cubicBezTo>
                          <a:pt x="15" y="25"/>
                          <a:pt x="18" y="27"/>
                          <a:pt x="18" y="27"/>
                        </a:cubicBezTo>
                        <a:cubicBezTo>
                          <a:pt x="18" y="27"/>
                          <a:pt x="2" y="50"/>
                          <a:pt x="1" y="51"/>
                        </a:cubicBezTo>
                        <a:cubicBezTo>
                          <a:pt x="0" y="52"/>
                          <a:pt x="1" y="52"/>
                          <a:pt x="1" y="52"/>
                        </a:cubicBezTo>
                        <a:close/>
                      </a:path>
                    </a:pathLst>
                  </a:custGeom>
                  <a:solidFill>
                    <a:srgbClr val="E9F6F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2" name="Freeform 246">
                    <a:extLst>
                      <a:ext uri="{FF2B5EF4-FFF2-40B4-BE49-F238E27FC236}">
                        <a16:creationId xmlns:a16="http://schemas.microsoft.com/office/drawing/2014/main" id="{868D4EA8-12DB-CAA1-DD6B-F0174D37141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6263" y="563563"/>
                    <a:ext cx="19050" cy="22225"/>
                  </a:xfrm>
                  <a:custGeom>
                    <a:avLst/>
                    <a:gdLst>
                      <a:gd name="T0" fmla="*/ 1 w 10"/>
                      <a:gd name="T1" fmla="*/ 4 h 12"/>
                      <a:gd name="T2" fmla="*/ 2 w 10"/>
                      <a:gd name="T3" fmla="*/ 7 h 12"/>
                      <a:gd name="T4" fmla="*/ 9 w 10"/>
                      <a:gd name="T5" fmla="*/ 11 h 12"/>
                      <a:gd name="T6" fmla="*/ 4 w 10"/>
                      <a:gd name="T7" fmla="*/ 2 h 12"/>
                      <a:gd name="T8" fmla="*/ 1 w 10"/>
                      <a:gd name="T9" fmla="*/ 4 h 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" h="12">
                        <a:moveTo>
                          <a:pt x="1" y="4"/>
                        </a:moveTo>
                        <a:cubicBezTo>
                          <a:pt x="0" y="6"/>
                          <a:pt x="1" y="6"/>
                          <a:pt x="2" y="7"/>
                        </a:cubicBezTo>
                        <a:cubicBezTo>
                          <a:pt x="4" y="8"/>
                          <a:pt x="10" y="12"/>
                          <a:pt x="9" y="11"/>
                        </a:cubicBezTo>
                        <a:cubicBezTo>
                          <a:pt x="9" y="10"/>
                          <a:pt x="7" y="7"/>
                          <a:pt x="4" y="2"/>
                        </a:cubicBezTo>
                        <a:cubicBezTo>
                          <a:pt x="3" y="0"/>
                          <a:pt x="2" y="2"/>
                          <a:pt x="1" y="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3" name="Freeform 247">
                    <a:extLst>
                      <a:ext uri="{FF2B5EF4-FFF2-40B4-BE49-F238E27FC236}">
                        <a16:creationId xmlns:a16="http://schemas.microsoft.com/office/drawing/2014/main" id="{F1E4F7C1-46F0-A249-BCCC-C58BC98B545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514350"/>
                    <a:ext cx="103188" cy="147638"/>
                  </a:xfrm>
                  <a:custGeom>
                    <a:avLst/>
                    <a:gdLst>
                      <a:gd name="T0" fmla="*/ 56 w 56"/>
                      <a:gd name="T1" fmla="*/ 44 h 79"/>
                      <a:gd name="T2" fmla="*/ 15 w 56"/>
                      <a:gd name="T3" fmla="*/ 6 h 79"/>
                      <a:gd name="T4" fmla="*/ 12 w 56"/>
                      <a:gd name="T5" fmla="*/ 14 h 79"/>
                      <a:gd name="T6" fmla="*/ 26 w 56"/>
                      <a:gd name="T7" fmla="*/ 30 h 79"/>
                      <a:gd name="T8" fmla="*/ 8 w 56"/>
                      <a:gd name="T9" fmla="*/ 55 h 79"/>
                      <a:gd name="T10" fmla="*/ 25 w 56"/>
                      <a:gd name="T11" fmla="*/ 55 h 79"/>
                      <a:gd name="T12" fmla="*/ 34 w 56"/>
                      <a:gd name="T13" fmla="*/ 79 h 79"/>
                      <a:gd name="T14" fmla="*/ 56 w 56"/>
                      <a:gd name="T15" fmla="*/ 44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6" h="79">
                        <a:moveTo>
                          <a:pt x="56" y="44"/>
                        </a:moveTo>
                        <a:cubicBezTo>
                          <a:pt x="35" y="8"/>
                          <a:pt x="23" y="0"/>
                          <a:pt x="15" y="6"/>
                        </a:cubicBezTo>
                        <a:cubicBezTo>
                          <a:pt x="13" y="7"/>
                          <a:pt x="11" y="11"/>
                          <a:pt x="12" y="14"/>
                        </a:cubicBezTo>
                        <a:cubicBezTo>
                          <a:pt x="23" y="19"/>
                          <a:pt x="33" y="25"/>
                          <a:pt x="26" y="30"/>
                        </a:cubicBezTo>
                        <a:cubicBezTo>
                          <a:pt x="24" y="32"/>
                          <a:pt x="0" y="50"/>
                          <a:pt x="8" y="55"/>
                        </a:cubicBezTo>
                        <a:cubicBezTo>
                          <a:pt x="12" y="53"/>
                          <a:pt x="21" y="48"/>
                          <a:pt x="25" y="55"/>
                        </a:cubicBezTo>
                        <a:cubicBezTo>
                          <a:pt x="28" y="60"/>
                          <a:pt x="19" y="66"/>
                          <a:pt x="34" y="79"/>
                        </a:cubicBezTo>
                        <a:cubicBezTo>
                          <a:pt x="43" y="66"/>
                          <a:pt x="55" y="51"/>
                          <a:pt x="56" y="4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4" name="Freeform 248">
                    <a:extLst>
                      <a:ext uri="{FF2B5EF4-FFF2-40B4-BE49-F238E27FC236}">
                        <a16:creationId xmlns:a16="http://schemas.microsoft.com/office/drawing/2014/main" id="{B71AB8D8-85E8-1B81-8166-62BEB89ED1E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87038" y="1652588"/>
                    <a:ext cx="85725" cy="28575"/>
                  </a:xfrm>
                  <a:custGeom>
                    <a:avLst/>
                    <a:gdLst>
                      <a:gd name="T0" fmla="*/ 46 w 46"/>
                      <a:gd name="T1" fmla="*/ 0 h 16"/>
                      <a:gd name="T2" fmla="*/ 46 w 46"/>
                      <a:gd name="T3" fmla="*/ 15 h 16"/>
                      <a:gd name="T4" fmla="*/ 33 w 46"/>
                      <a:gd name="T5" fmla="*/ 15 h 16"/>
                      <a:gd name="T6" fmla="*/ 32 w 46"/>
                      <a:gd name="T7" fmla="*/ 10 h 16"/>
                      <a:gd name="T8" fmla="*/ 14 w 46"/>
                      <a:gd name="T9" fmla="*/ 16 h 16"/>
                      <a:gd name="T10" fmla="*/ 2 w 46"/>
                      <a:gd name="T11" fmla="*/ 15 h 16"/>
                      <a:gd name="T12" fmla="*/ 3 w 46"/>
                      <a:gd name="T13" fmla="*/ 11 h 16"/>
                      <a:gd name="T14" fmla="*/ 15 w 46"/>
                      <a:gd name="T15" fmla="*/ 7 h 16"/>
                      <a:gd name="T16" fmla="*/ 28 w 46"/>
                      <a:gd name="T17" fmla="*/ 0 h 16"/>
                      <a:gd name="T18" fmla="*/ 46 w 46"/>
                      <a:gd name="T19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6" h="16">
                        <a:moveTo>
                          <a:pt x="46" y="0"/>
                        </a:moveTo>
                        <a:cubicBezTo>
                          <a:pt x="46" y="15"/>
                          <a:pt x="46" y="15"/>
                          <a:pt x="46" y="15"/>
                        </a:cubicBezTo>
                        <a:cubicBezTo>
                          <a:pt x="33" y="15"/>
                          <a:pt x="33" y="15"/>
                          <a:pt x="33" y="15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14" y="16"/>
                          <a:pt x="14" y="16"/>
                          <a:pt x="14" y="16"/>
                        </a:cubicBezTo>
                        <a:cubicBezTo>
                          <a:pt x="2" y="15"/>
                          <a:pt x="2" y="15"/>
                          <a:pt x="2" y="15"/>
                        </a:cubicBezTo>
                        <a:cubicBezTo>
                          <a:pt x="2" y="15"/>
                          <a:pt x="0" y="12"/>
                          <a:pt x="3" y="11"/>
                        </a:cubicBezTo>
                        <a:cubicBezTo>
                          <a:pt x="4" y="11"/>
                          <a:pt x="15" y="7"/>
                          <a:pt x="15" y="7"/>
                        </a:cubicBezTo>
                        <a:cubicBezTo>
                          <a:pt x="28" y="0"/>
                          <a:pt x="28" y="0"/>
                          <a:pt x="28" y="0"/>
                        </a:cubicBez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5" name="Freeform 249">
                    <a:extLst>
                      <a:ext uri="{FF2B5EF4-FFF2-40B4-BE49-F238E27FC236}">
                        <a16:creationId xmlns:a16="http://schemas.microsoft.com/office/drawing/2014/main" id="{F20380CE-5E85-789B-598B-CB4CE7F99D9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31488" y="1119188"/>
                    <a:ext cx="693738" cy="533400"/>
                  </a:xfrm>
                  <a:custGeom>
                    <a:avLst/>
                    <a:gdLst>
                      <a:gd name="T0" fmla="*/ 0 w 374"/>
                      <a:gd name="T1" fmla="*/ 285 h 288"/>
                      <a:gd name="T2" fmla="*/ 1 w 374"/>
                      <a:gd name="T3" fmla="*/ 52 h 288"/>
                      <a:gd name="T4" fmla="*/ 50 w 374"/>
                      <a:gd name="T5" fmla="*/ 0 h 288"/>
                      <a:gd name="T6" fmla="*/ 330 w 374"/>
                      <a:gd name="T7" fmla="*/ 1 h 288"/>
                      <a:gd name="T8" fmla="*/ 207 w 374"/>
                      <a:gd name="T9" fmla="*/ 81 h 288"/>
                      <a:gd name="T10" fmla="*/ 56 w 374"/>
                      <a:gd name="T11" fmla="*/ 59 h 288"/>
                      <a:gd name="T12" fmla="*/ 22 w 374"/>
                      <a:gd name="T13" fmla="*/ 288 h 288"/>
                      <a:gd name="T14" fmla="*/ 0 w 374"/>
                      <a:gd name="T15" fmla="*/ 285 h 2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74" h="288">
                        <a:moveTo>
                          <a:pt x="0" y="285"/>
                        </a:moveTo>
                        <a:cubicBezTo>
                          <a:pt x="1" y="52"/>
                          <a:pt x="1" y="52"/>
                          <a:pt x="1" y="52"/>
                        </a:cubicBezTo>
                        <a:cubicBezTo>
                          <a:pt x="0" y="11"/>
                          <a:pt x="39" y="0"/>
                          <a:pt x="50" y="0"/>
                        </a:cubicBezTo>
                        <a:cubicBezTo>
                          <a:pt x="61" y="0"/>
                          <a:pt x="330" y="1"/>
                          <a:pt x="330" y="1"/>
                        </a:cubicBezTo>
                        <a:cubicBezTo>
                          <a:pt x="330" y="1"/>
                          <a:pt x="374" y="98"/>
                          <a:pt x="207" y="81"/>
                        </a:cubicBezTo>
                        <a:cubicBezTo>
                          <a:pt x="166" y="77"/>
                          <a:pt x="165" y="71"/>
                          <a:pt x="56" y="59"/>
                        </a:cubicBezTo>
                        <a:cubicBezTo>
                          <a:pt x="72" y="103"/>
                          <a:pt x="22" y="288"/>
                          <a:pt x="22" y="288"/>
                        </a:cubicBezTo>
                        <a:lnTo>
                          <a:pt x="0" y="28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6" name="Freeform 250">
                    <a:extLst>
                      <a:ext uri="{FF2B5EF4-FFF2-40B4-BE49-F238E27FC236}">
                        <a16:creationId xmlns:a16="http://schemas.microsoft.com/office/drawing/2014/main" id="{39EFB25D-E781-02BA-CE2F-9A8ADC23A1C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668338"/>
                    <a:ext cx="65088" cy="76200"/>
                  </a:xfrm>
                  <a:custGeom>
                    <a:avLst/>
                    <a:gdLst>
                      <a:gd name="T0" fmla="*/ 33 w 35"/>
                      <a:gd name="T1" fmla="*/ 0 h 41"/>
                      <a:gd name="T2" fmla="*/ 35 w 35"/>
                      <a:gd name="T3" fmla="*/ 1 h 41"/>
                      <a:gd name="T4" fmla="*/ 21 w 35"/>
                      <a:gd name="T5" fmla="*/ 41 h 41"/>
                      <a:gd name="T6" fmla="*/ 0 w 35"/>
                      <a:gd name="T7" fmla="*/ 31 h 41"/>
                      <a:gd name="T8" fmla="*/ 33 w 35"/>
                      <a:gd name="T9" fmla="*/ 0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5" h="41">
                        <a:moveTo>
                          <a:pt x="33" y="0"/>
                        </a:moveTo>
                        <a:cubicBezTo>
                          <a:pt x="35" y="1"/>
                          <a:pt x="35" y="1"/>
                          <a:pt x="35" y="1"/>
                        </a:cubicBezTo>
                        <a:cubicBezTo>
                          <a:pt x="21" y="41"/>
                          <a:pt x="21" y="41"/>
                          <a:pt x="21" y="41"/>
                        </a:cubicBezTo>
                        <a:cubicBezTo>
                          <a:pt x="21" y="41"/>
                          <a:pt x="11" y="41"/>
                          <a:pt x="0" y="31"/>
                        </a:cubicBezTo>
                        <a:cubicBezTo>
                          <a:pt x="28" y="12"/>
                          <a:pt x="33" y="0"/>
                          <a:pt x="33" y="0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7" name="Freeform 251">
                    <a:extLst>
                      <a:ext uri="{FF2B5EF4-FFF2-40B4-BE49-F238E27FC236}">
                        <a16:creationId xmlns:a16="http://schemas.microsoft.com/office/drawing/2014/main" id="{9572C976-D228-3E4B-7E03-065C56B6ACB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8813" y="673100"/>
                    <a:ext cx="574675" cy="481013"/>
                  </a:xfrm>
                  <a:custGeom>
                    <a:avLst/>
                    <a:gdLst>
                      <a:gd name="T0" fmla="*/ 0 w 310"/>
                      <a:gd name="T1" fmla="*/ 0 h 260"/>
                      <a:gd name="T2" fmla="*/ 134 w 310"/>
                      <a:gd name="T3" fmla="*/ 182 h 260"/>
                      <a:gd name="T4" fmla="*/ 274 w 310"/>
                      <a:gd name="T5" fmla="*/ 260 h 260"/>
                      <a:gd name="T6" fmla="*/ 194 w 310"/>
                      <a:gd name="T7" fmla="*/ 161 h 260"/>
                      <a:gd name="T8" fmla="*/ 0 w 310"/>
                      <a:gd name="T9" fmla="*/ 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10" h="260">
                        <a:moveTo>
                          <a:pt x="0" y="0"/>
                        </a:moveTo>
                        <a:cubicBezTo>
                          <a:pt x="0" y="0"/>
                          <a:pt x="14" y="153"/>
                          <a:pt x="134" y="182"/>
                        </a:cubicBezTo>
                        <a:cubicBezTo>
                          <a:pt x="250" y="210"/>
                          <a:pt x="274" y="260"/>
                          <a:pt x="274" y="260"/>
                        </a:cubicBezTo>
                        <a:cubicBezTo>
                          <a:pt x="274" y="260"/>
                          <a:pt x="310" y="203"/>
                          <a:pt x="194" y="161"/>
                        </a:cubicBezTo>
                        <a:cubicBezTo>
                          <a:pt x="77" y="118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8" name="Freeform 252">
                    <a:extLst>
                      <a:ext uri="{FF2B5EF4-FFF2-40B4-BE49-F238E27FC236}">
                        <a16:creationId xmlns:a16="http://schemas.microsoft.com/office/drawing/2014/main" id="{B50A0B51-C8CC-704E-E690-09373769C32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93413" y="666750"/>
                    <a:ext cx="369888" cy="306388"/>
                  </a:xfrm>
                  <a:custGeom>
                    <a:avLst/>
                    <a:gdLst>
                      <a:gd name="T0" fmla="*/ 199 w 199"/>
                      <a:gd name="T1" fmla="*/ 165 h 165"/>
                      <a:gd name="T2" fmla="*/ 108 w 199"/>
                      <a:gd name="T3" fmla="*/ 43 h 165"/>
                      <a:gd name="T4" fmla="*/ 9 w 199"/>
                      <a:gd name="T5" fmla="*/ 0 h 165"/>
                      <a:gd name="T6" fmla="*/ 75 w 199"/>
                      <a:gd name="T7" fmla="*/ 119 h 165"/>
                      <a:gd name="T8" fmla="*/ 199 w 199"/>
                      <a:gd name="T9" fmla="*/ 165 h 1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99" h="165">
                        <a:moveTo>
                          <a:pt x="199" y="165"/>
                        </a:moveTo>
                        <a:cubicBezTo>
                          <a:pt x="199" y="165"/>
                          <a:pt x="134" y="65"/>
                          <a:pt x="108" y="43"/>
                        </a:cubicBezTo>
                        <a:cubicBezTo>
                          <a:pt x="82" y="21"/>
                          <a:pt x="9" y="0"/>
                          <a:pt x="9" y="0"/>
                        </a:cubicBezTo>
                        <a:cubicBezTo>
                          <a:pt x="9" y="0"/>
                          <a:pt x="0" y="87"/>
                          <a:pt x="75" y="119"/>
                        </a:cubicBezTo>
                        <a:cubicBezTo>
                          <a:pt x="150" y="151"/>
                          <a:pt x="199" y="165"/>
                          <a:pt x="199" y="165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9" name="Freeform 253">
                    <a:extLst>
                      <a:ext uri="{FF2B5EF4-FFF2-40B4-BE49-F238E27FC236}">
                        <a16:creationId xmlns:a16="http://schemas.microsoft.com/office/drawing/2014/main" id="{63D9920F-910C-08AD-64CA-F777DB8634B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91763" y="669925"/>
                    <a:ext cx="630238" cy="344488"/>
                  </a:xfrm>
                  <a:custGeom>
                    <a:avLst/>
                    <a:gdLst>
                      <a:gd name="T0" fmla="*/ 337 w 340"/>
                      <a:gd name="T1" fmla="*/ 78 h 186"/>
                      <a:gd name="T2" fmla="*/ 196 w 340"/>
                      <a:gd name="T3" fmla="*/ 184 h 186"/>
                      <a:gd name="T4" fmla="*/ 2 w 340"/>
                      <a:gd name="T5" fmla="*/ 166 h 186"/>
                      <a:gd name="T6" fmla="*/ 0 w 340"/>
                      <a:gd name="T7" fmla="*/ 151 h 186"/>
                      <a:gd name="T8" fmla="*/ 189 w 340"/>
                      <a:gd name="T9" fmla="*/ 144 h 186"/>
                      <a:gd name="T10" fmla="*/ 266 w 340"/>
                      <a:gd name="T11" fmla="*/ 49 h 186"/>
                      <a:gd name="T12" fmla="*/ 337 w 340"/>
                      <a:gd name="T13" fmla="*/ 78 h 1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0" h="186">
                        <a:moveTo>
                          <a:pt x="337" y="78"/>
                        </a:moveTo>
                        <a:cubicBezTo>
                          <a:pt x="301" y="123"/>
                          <a:pt x="230" y="173"/>
                          <a:pt x="196" y="184"/>
                        </a:cubicBezTo>
                        <a:cubicBezTo>
                          <a:pt x="125" y="186"/>
                          <a:pt x="2" y="166"/>
                          <a:pt x="2" y="166"/>
                        </a:cubicBezTo>
                        <a:cubicBezTo>
                          <a:pt x="2" y="166"/>
                          <a:pt x="0" y="159"/>
                          <a:pt x="0" y="151"/>
                        </a:cubicBezTo>
                        <a:cubicBezTo>
                          <a:pt x="52" y="147"/>
                          <a:pt x="159" y="142"/>
                          <a:pt x="189" y="144"/>
                        </a:cubicBezTo>
                        <a:cubicBezTo>
                          <a:pt x="223" y="116"/>
                          <a:pt x="255" y="98"/>
                          <a:pt x="266" y="49"/>
                        </a:cubicBezTo>
                        <a:cubicBezTo>
                          <a:pt x="278" y="0"/>
                          <a:pt x="340" y="16"/>
                          <a:pt x="337" y="78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0" name="Freeform 255">
                    <a:extLst>
                      <a:ext uri="{FF2B5EF4-FFF2-40B4-BE49-F238E27FC236}">
                        <a16:creationId xmlns:a16="http://schemas.microsoft.com/office/drawing/2014/main" id="{D44C8AD7-8A18-CCFF-0B20-B66FC58DA2E1}"/>
                      </a:ext>
                    </a:extLst>
                  </p:cNvPr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10396538" y="666750"/>
                    <a:ext cx="66675" cy="95250"/>
                  </a:xfrm>
                  <a:custGeom>
                    <a:avLst/>
                    <a:gdLst>
                      <a:gd name="T0" fmla="*/ 34 w 36"/>
                      <a:gd name="T1" fmla="*/ 42 h 51"/>
                      <a:gd name="T2" fmla="*/ 30 w 36"/>
                      <a:gd name="T3" fmla="*/ 30 h 51"/>
                      <a:gd name="T4" fmla="*/ 29 w 36"/>
                      <a:gd name="T5" fmla="*/ 20 h 51"/>
                      <a:gd name="T6" fmla="*/ 34 w 36"/>
                      <a:gd name="T7" fmla="*/ 11 h 51"/>
                      <a:gd name="T8" fmla="*/ 30 w 36"/>
                      <a:gd name="T9" fmla="*/ 6 h 51"/>
                      <a:gd name="T10" fmla="*/ 32 w 36"/>
                      <a:gd name="T11" fmla="*/ 1 h 51"/>
                      <a:gd name="T12" fmla="*/ 27 w 36"/>
                      <a:gd name="T13" fmla="*/ 3 h 51"/>
                      <a:gd name="T14" fmla="*/ 19 w 36"/>
                      <a:gd name="T15" fmla="*/ 16 h 51"/>
                      <a:gd name="T16" fmla="*/ 16 w 36"/>
                      <a:gd name="T17" fmla="*/ 31 h 51"/>
                      <a:gd name="T18" fmla="*/ 8 w 36"/>
                      <a:gd name="T19" fmla="*/ 30 h 51"/>
                      <a:gd name="T20" fmla="*/ 0 w 36"/>
                      <a:gd name="T21" fmla="*/ 31 h 51"/>
                      <a:gd name="T22" fmla="*/ 21 w 36"/>
                      <a:gd name="T23" fmla="*/ 46 h 51"/>
                      <a:gd name="T24" fmla="*/ 28 w 36"/>
                      <a:gd name="T25" fmla="*/ 51 h 51"/>
                      <a:gd name="T26" fmla="*/ 36 w 36"/>
                      <a:gd name="T27" fmla="*/ 44 h 51"/>
                      <a:gd name="T28" fmla="*/ 34 w 36"/>
                      <a:gd name="T29" fmla="*/ 42 h 51"/>
                      <a:gd name="T30" fmla="*/ 29 w 36"/>
                      <a:gd name="T31" fmla="*/ 9 h 51"/>
                      <a:gd name="T32" fmla="*/ 31 w 36"/>
                      <a:gd name="T33" fmla="*/ 12 h 51"/>
                      <a:gd name="T34" fmla="*/ 29 w 36"/>
                      <a:gd name="T35" fmla="*/ 14 h 51"/>
                      <a:gd name="T36" fmla="*/ 29 w 36"/>
                      <a:gd name="T37" fmla="*/ 9 h 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36" h="51">
                        <a:moveTo>
                          <a:pt x="34" y="42"/>
                        </a:moveTo>
                        <a:cubicBezTo>
                          <a:pt x="34" y="42"/>
                          <a:pt x="31" y="36"/>
                          <a:pt x="30" y="30"/>
                        </a:cubicBezTo>
                        <a:cubicBezTo>
                          <a:pt x="29" y="25"/>
                          <a:pt x="29" y="20"/>
                          <a:pt x="29" y="20"/>
                        </a:cubicBezTo>
                        <a:cubicBezTo>
                          <a:pt x="29" y="20"/>
                          <a:pt x="36" y="13"/>
                          <a:pt x="34" y="11"/>
                        </a:cubicBezTo>
                        <a:cubicBezTo>
                          <a:pt x="33" y="9"/>
                          <a:pt x="30" y="6"/>
                          <a:pt x="30" y="6"/>
                        </a:cubicBezTo>
                        <a:cubicBezTo>
                          <a:pt x="30" y="6"/>
                          <a:pt x="33" y="1"/>
                          <a:pt x="32" y="1"/>
                        </a:cubicBezTo>
                        <a:cubicBezTo>
                          <a:pt x="32" y="1"/>
                          <a:pt x="29" y="0"/>
                          <a:pt x="27" y="3"/>
                        </a:cubicBezTo>
                        <a:cubicBezTo>
                          <a:pt x="26" y="4"/>
                          <a:pt x="21" y="12"/>
                          <a:pt x="19" y="16"/>
                        </a:cubicBezTo>
                        <a:cubicBezTo>
                          <a:pt x="17" y="20"/>
                          <a:pt x="16" y="31"/>
                          <a:pt x="16" y="31"/>
                        </a:cubicBezTo>
                        <a:cubicBezTo>
                          <a:pt x="16" y="31"/>
                          <a:pt x="11" y="32"/>
                          <a:pt x="8" y="30"/>
                        </a:cubicBezTo>
                        <a:cubicBezTo>
                          <a:pt x="5" y="28"/>
                          <a:pt x="0" y="31"/>
                          <a:pt x="0" y="31"/>
                        </a:cubicBezTo>
                        <a:cubicBezTo>
                          <a:pt x="0" y="31"/>
                          <a:pt x="8" y="35"/>
                          <a:pt x="21" y="46"/>
                        </a:cubicBezTo>
                        <a:cubicBezTo>
                          <a:pt x="23" y="48"/>
                          <a:pt x="28" y="51"/>
                          <a:pt x="28" y="51"/>
                        </a:cubicBezTo>
                        <a:cubicBezTo>
                          <a:pt x="36" y="44"/>
                          <a:pt x="36" y="44"/>
                          <a:pt x="36" y="44"/>
                        </a:cubicBezTo>
                        <a:lnTo>
                          <a:pt x="34" y="42"/>
                        </a:lnTo>
                        <a:close/>
                        <a:moveTo>
                          <a:pt x="29" y="9"/>
                        </a:moveTo>
                        <a:cubicBezTo>
                          <a:pt x="31" y="12"/>
                          <a:pt x="31" y="12"/>
                          <a:pt x="31" y="12"/>
                        </a:cubicBezTo>
                        <a:cubicBezTo>
                          <a:pt x="29" y="14"/>
                          <a:pt x="29" y="14"/>
                          <a:pt x="29" y="14"/>
                        </a:cubicBezTo>
                        <a:lnTo>
                          <a:pt x="29" y="9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6" name="Group 4">
                <a:extLst>
                  <a:ext uri="{FF2B5EF4-FFF2-40B4-BE49-F238E27FC236}">
                    <a16:creationId xmlns:a16="http://schemas.microsoft.com/office/drawing/2014/main" id="{03BD8DBD-2353-D98F-FF98-AD2069395DA0}"/>
                  </a:ext>
                </a:extLst>
              </p:cNvPr>
              <p:cNvGrpSpPr/>
              <p:nvPr/>
            </p:nvGrpSpPr>
            <p:grpSpPr>
              <a:xfrm>
                <a:off x="2494061" y="3997897"/>
                <a:ext cx="1127759" cy="1089959"/>
                <a:chOff x="2494061" y="3997897"/>
                <a:chExt cx="1127759" cy="1089959"/>
              </a:xfrm>
            </p:grpSpPr>
            <p:grpSp>
              <p:nvGrpSpPr>
                <p:cNvPr id="199" name="Group 1068">
                  <a:extLst>
                    <a:ext uri="{FF2B5EF4-FFF2-40B4-BE49-F238E27FC236}">
                      <a16:creationId xmlns:a16="http://schemas.microsoft.com/office/drawing/2014/main" id="{5E755705-F841-9835-241D-E2B35CFBAD0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2494061" y="3997897"/>
                  <a:ext cx="1127759" cy="815248"/>
                  <a:chOff x="10001250" y="2782888"/>
                  <a:chExt cx="1449388" cy="1047750"/>
                </a:xfrm>
              </p:grpSpPr>
              <p:sp>
                <p:nvSpPr>
                  <p:cNvPr id="201" name="Freeform 217">
                    <a:extLst>
                      <a:ext uri="{FF2B5EF4-FFF2-40B4-BE49-F238E27FC236}">
                        <a16:creationId xmlns:a16="http://schemas.microsoft.com/office/drawing/2014/main" id="{565A9C76-61CE-19DE-6CD7-3AF8A313FFA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5425" y="3303588"/>
                    <a:ext cx="728663" cy="525463"/>
                  </a:xfrm>
                  <a:custGeom>
                    <a:avLst/>
                    <a:gdLst>
                      <a:gd name="T0" fmla="*/ 3 w 393"/>
                      <a:gd name="T1" fmla="*/ 279 h 283"/>
                      <a:gd name="T2" fmla="*/ 12 w 393"/>
                      <a:gd name="T3" fmla="*/ 275 h 283"/>
                      <a:gd name="T4" fmla="*/ 25 w 393"/>
                      <a:gd name="T5" fmla="*/ 258 h 283"/>
                      <a:gd name="T6" fmla="*/ 22 w 393"/>
                      <a:gd name="T7" fmla="*/ 42 h 283"/>
                      <a:gd name="T8" fmla="*/ 22 w 393"/>
                      <a:gd name="T9" fmla="*/ 42 h 283"/>
                      <a:gd name="T10" fmla="*/ 61 w 393"/>
                      <a:gd name="T11" fmla="*/ 0 h 283"/>
                      <a:gd name="T12" fmla="*/ 319 w 393"/>
                      <a:gd name="T13" fmla="*/ 3 h 283"/>
                      <a:gd name="T14" fmla="*/ 236 w 393"/>
                      <a:gd name="T15" fmla="*/ 79 h 283"/>
                      <a:gd name="T16" fmla="*/ 65 w 393"/>
                      <a:gd name="T17" fmla="*/ 46 h 283"/>
                      <a:gd name="T18" fmla="*/ 37 w 393"/>
                      <a:gd name="T19" fmla="*/ 259 h 283"/>
                      <a:gd name="T20" fmla="*/ 37 w 393"/>
                      <a:gd name="T21" fmla="*/ 267 h 283"/>
                      <a:gd name="T22" fmla="*/ 34 w 393"/>
                      <a:gd name="T23" fmla="*/ 283 h 283"/>
                      <a:gd name="T24" fmla="*/ 29 w 393"/>
                      <a:gd name="T25" fmla="*/ 283 h 283"/>
                      <a:gd name="T26" fmla="*/ 28 w 393"/>
                      <a:gd name="T27" fmla="*/ 274 h 283"/>
                      <a:gd name="T28" fmla="*/ 15 w 393"/>
                      <a:gd name="T29" fmla="*/ 283 h 283"/>
                      <a:gd name="T30" fmla="*/ 2 w 393"/>
                      <a:gd name="T31" fmla="*/ 283 h 283"/>
                      <a:gd name="T32" fmla="*/ 3 w 393"/>
                      <a:gd name="T33" fmla="*/ 279 h 2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93" h="283">
                        <a:moveTo>
                          <a:pt x="3" y="279"/>
                        </a:moveTo>
                        <a:cubicBezTo>
                          <a:pt x="4" y="279"/>
                          <a:pt x="12" y="275"/>
                          <a:pt x="12" y="275"/>
                        </a:cubicBezTo>
                        <a:cubicBezTo>
                          <a:pt x="25" y="258"/>
                          <a:pt x="25" y="258"/>
                          <a:pt x="25" y="258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0" y="5"/>
                          <a:pt x="61" y="0"/>
                          <a:pt x="61" y="0"/>
                        </a:cubicBezTo>
                        <a:cubicBezTo>
                          <a:pt x="319" y="3"/>
                          <a:pt x="319" y="3"/>
                          <a:pt x="319" y="3"/>
                        </a:cubicBezTo>
                        <a:cubicBezTo>
                          <a:pt x="319" y="3"/>
                          <a:pt x="393" y="97"/>
                          <a:pt x="236" y="79"/>
                        </a:cubicBezTo>
                        <a:cubicBezTo>
                          <a:pt x="197" y="74"/>
                          <a:pt x="167" y="59"/>
                          <a:pt x="65" y="46"/>
                        </a:cubicBezTo>
                        <a:cubicBezTo>
                          <a:pt x="79" y="87"/>
                          <a:pt x="37" y="259"/>
                          <a:pt x="37" y="259"/>
                        </a:cubicBezTo>
                        <a:cubicBezTo>
                          <a:pt x="37" y="267"/>
                          <a:pt x="37" y="267"/>
                          <a:pt x="37" y="267"/>
                        </a:cubicBezTo>
                        <a:cubicBezTo>
                          <a:pt x="34" y="283"/>
                          <a:pt x="34" y="283"/>
                          <a:pt x="34" y="283"/>
                        </a:cubicBezTo>
                        <a:cubicBezTo>
                          <a:pt x="29" y="283"/>
                          <a:pt x="29" y="283"/>
                          <a:pt x="29" y="283"/>
                        </a:cubicBezTo>
                        <a:cubicBezTo>
                          <a:pt x="28" y="274"/>
                          <a:pt x="28" y="274"/>
                          <a:pt x="28" y="274"/>
                        </a:cubicBezTo>
                        <a:cubicBezTo>
                          <a:pt x="15" y="283"/>
                          <a:pt x="15" y="283"/>
                          <a:pt x="15" y="283"/>
                        </a:cubicBezTo>
                        <a:cubicBezTo>
                          <a:pt x="2" y="283"/>
                          <a:pt x="2" y="283"/>
                          <a:pt x="2" y="283"/>
                        </a:cubicBezTo>
                        <a:cubicBezTo>
                          <a:pt x="2" y="283"/>
                          <a:pt x="0" y="280"/>
                          <a:pt x="3" y="27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2" name="Freeform 218">
                    <a:extLst>
                      <a:ext uri="{FF2B5EF4-FFF2-40B4-BE49-F238E27FC236}">
                        <a16:creationId xmlns:a16="http://schemas.microsoft.com/office/drawing/2014/main" id="{E4C61802-D475-211A-C2DF-96D1D915665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3838" y="3784600"/>
                    <a:ext cx="71438" cy="46038"/>
                  </a:xfrm>
                  <a:custGeom>
                    <a:avLst/>
                    <a:gdLst>
                      <a:gd name="T0" fmla="*/ 13 w 38"/>
                      <a:gd name="T1" fmla="*/ 16 h 25"/>
                      <a:gd name="T2" fmla="*/ 3 w 38"/>
                      <a:gd name="T3" fmla="*/ 20 h 25"/>
                      <a:gd name="T4" fmla="*/ 2 w 38"/>
                      <a:gd name="T5" fmla="*/ 24 h 25"/>
                      <a:gd name="T6" fmla="*/ 18 w 38"/>
                      <a:gd name="T7" fmla="*/ 24 h 25"/>
                      <a:gd name="T8" fmla="*/ 29 w 38"/>
                      <a:gd name="T9" fmla="*/ 15 h 25"/>
                      <a:gd name="T10" fmla="*/ 30 w 38"/>
                      <a:gd name="T11" fmla="*/ 25 h 25"/>
                      <a:gd name="T12" fmla="*/ 35 w 38"/>
                      <a:gd name="T13" fmla="*/ 25 h 25"/>
                      <a:gd name="T14" fmla="*/ 38 w 38"/>
                      <a:gd name="T15" fmla="*/ 8 h 25"/>
                      <a:gd name="T16" fmla="*/ 38 w 38"/>
                      <a:gd name="T17" fmla="*/ 0 h 25"/>
                      <a:gd name="T18" fmla="*/ 28 w 38"/>
                      <a:gd name="T19" fmla="*/ 8 h 25"/>
                      <a:gd name="T20" fmla="*/ 13 w 38"/>
                      <a:gd name="T21" fmla="*/ 16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8" h="25">
                        <a:moveTo>
                          <a:pt x="13" y="16"/>
                        </a:moveTo>
                        <a:cubicBezTo>
                          <a:pt x="11" y="17"/>
                          <a:pt x="4" y="20"/>
                          <a:pt x="3" y="20"/>
                        </a:cubicBezTo>
                        <a:cubicBezTo>
                          <a:pt x="0" y="21"/>
                          <a:pt x="2" y="24"/>
                          <a:pt x="2" y="24"/>
                        </a:cubicBezTo>
                        <a:cubicBezTo>
                          <a:pt x="2" y="24"/>
                          <a:pt x="15" y="24"/>
                          <a:pt x="18" y="24"/>
                        </a:cubicBezTo>
                        <a:cubicBezTo>
                          <a:pt x="21" y="24"/>
                          <a:pt x="29" y="15"/>
                          <a:pt x="29" y="15"/>
                        </a:cubicBezTo>
                        <a:cubicBezTo>
                          <a:pt x="30" y="25"/>
                          <a:pt x="30" y="25"/>
                          <a:pt x="30" y="25"/>
                        </a:cubicBezTo>
                        <a:cubicBezTo>
                          <a:pt x="35" y="25"/>
                          <a:pt x="35" y="25"/>
                          <a:pt x="35" y="25"/>
                        </a:cubicBezTo>
                        <a:cubicBezTo>
                          <a:pt x="35" y="25"/>
                          <a:pt x="36" y="15"/>
                          <a:pt x="38" y="8"/>
                        </a:cubicBezTo>
                        <a:cubicBezTo>
                          <a:pt x="38" y="4"/>
                          <a:pt x="38" y="0"/>
                          <a:pt x="38" y="0"/>
                        </a:cubicBezTo>
                        <a:cubicBezTo>
                          <a:pt x="38" y="0"/>
                          <a:pt x="35" y="0"/>
                          <a:pt x="28" y="8"/>
                        </a:cubicBezTo>
                        <a:cubicBezTo>
                          <a:pt x="22" y="17"/>
                          <a:pt x="16" y="16"/>
                          <a:pt x="13" y="16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3" name="Freeform 219">
                    <a:extLst>
                      <a:ext uri="{FF2B5EF4-FFF2-40B4-BE49-F238E27FC236}">
                        <a16:creationId xmlns:a16="http://schemas.microsoft.com/office/drawing/2014/main" id="{8503EDCB-9AD8-97B1-2C18-F3DEF69EF58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58488" y="3311525"/>
                    <a:ext cx="692150" cy="390525"/>
                  </a:xfrm>
                  <a:custGeom>
                    <a:avLst/>
                    <a:gdLst>
                      <a:gd name="T0" fmla="*/ 371 w 373"/>
                      <a:gd name="T1" fmla="*/ 182 h 211"/>
                      <a:gd name="T2" fmla="*/ 360 w 373"/>
                      <a:gd name="T3" fmla="*/ 170 h 211"/>
                      <a:gd name="T4" fmla="*/ 370 w 373"/>
                      <a:gd name="T5" fmla="*/ 168 h 211"/>
                      <a:gd name="T6" fmla="*/ 369 w 373"/>
                      <a:gd name="T7" fmla="*/ 164 h 211"/>
                      <a:gd name="T8" fmla="*/ 353 w 373"/>
                      <a:gd name="T9" fmla="*/ 163 h 211"/>
                      <a:gd name="T10" fmla="*/ 345 w 373"/>
                      <a:gd name="T11" fmla="*/ 164 h 211"/>
                      <a:gd name="T12" fmla="*/ 142 w 373"/>
                      <a:gd name="T13" fmla="*/ 172 h 211"/>
                      <a:gd name="T14" fmla="*/ 115 w 373"/>
                      <a:gd name="T15" fmla="*/ 25 h 211"/>
                      <a:gd name="T16" fmla="*/ 0 w 373"/>
                      <a:gd name="T17" fmla="*/ 15 h 211"/>
                      <a:gd name="T18" fmla="*/ 107 w 373"/>
                      <a:gd name="T19" fmla="*/ 191 h 211"/>
                      <a:gd name="T20" fmla="*/ 142 w 373"/>
                      <a:gd name="T21" fmla="*/ 211 h 211"/>
                      <a:gd name="T22" fmla="*/ 211 w 373"/>
                      <a:gd name="T23" fmla="*/ 198 h 211"/>
                      <a:gd name="T24" fmla="*/ 346 w 373"/>
                      <a:gd name="T25" fmla="*/ 176 h 211"/>
                      <a:gd name="T26" fmla="*/ 363 w 373"/>
                      <a:gd name="T27" fmla="*/ 186 h 211"/>
                      <a:gd name="T28" fmla="*/ 369 w 373"/>
                      <a:gd name="T29" fmla="*/ 195 h 211"/>
                      <a:gd name="T30" fmla="*/ 373 w 373"/>
                      <a:gd name="T31" fmla="*/ 196 h 211"/>
                      <a:gd name="T32" fmla="*/ 371 w 373"/>
                      <a:gd name="T33" fmla="*/ 182 h 2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73" h="211">
                        <a:moveTo>
                          <a:pt x="371" y="182"/>
                        </a:moveTo>
                        <a:cubicBezTo>
                          <a:pt x="360" y="170"/>
                          <a:pt x="360" y="170"/>
                          <a:pt x="360" y="170"/>
                        </a:cubicBezTo>
                        <a:cubicBezTo>
                          <a:pt x="370" y="168"/>
                          <a:pt x="370" y="168"/>
                          <a:pt x="370" y="168"/>
                        </a:cubicBezTo>
                        <a:cubicBezTo>
                          <a:pt x="369" y="164"/>
                          <a:pt x="369" y="164"/>
                          <a:pt x="369" y="164"/>
                        </a:cubicBezTo>
                        <a:cubicBezTo>
                          <a:pt x="353" y="163"/>
                          <a:pt x="353" y="163"/>
                          <a:pt x="353" y="163"/>
                        </a:cubicBezTo>
                        <a:cubicBezTo>
                          <a:pt x="353" y="163"/>
                          <a:pt x="348" y="164"/>
                          <a:pt x="345" y="164"/>
                        </a:cubicBezTo>
                        <a:cubicBezTo>
                          <a:pt x="274" y="167"/>
                          <a:pt x="157" y="159"/>
                          <a:pt x="142" y="172"/>
                        </a:cubicBezTo>
                        <a:cubicBezTo>
                          <a:pt x="140" y="136"/>
                          <a:pt x="136" y="58"/>
                          <a:pt x="115" y="25"/>
                        </a:cubicBezTo>
                        <a:cubicBezTo>
                          <a:pt x="100" y="0"/>
                          <a:pt x="0" y="15"/>
                          <a:pt x="0" y="15"/>
                        </a:cubicBezTo>
                        <a:cubicBezTo>
                          <a:pt x="0" y="15"/>
                          <a:pt x="102" y="185"/>
                          <a:pt x="107" y="191"/>
                        </a:cubicBezTo>
                        <a:cubicBezTo>
                          <a:pt x="121" y="210"/>
                          <a:pt x="142" y="211"/>
                          <a:pt x="142" y="211"/>
                        </a:cubicBezTo>
                        <a:cubicBezTo>
                          <a:pt x="211" y="198"/>
                          <a:pt x="211" y="198"/>
                          <a:pt x="211" y="198"/>
                        </a:cubicBezTo>
                        <a:cubicBezTo>
                          <a:pt x="346" y="176"/>
                          <a:pt x="346" y="176"/>
                          <a:pt x="346" y="176"/>
                        </a:cubicBezTo>
                        <a:cubicBezTo>
                          <a:pt x="363" y="186"/>
                          <a:pt x="363" y="186"/>
                          <a:pt x="363" y="186"/>
                        </a:cubicBezTo>
                        <a:cubicBezTo>
                          <a:pt x="363" y="186"/>
                          <a:pt x="369" y="194"/>
                          <a:pt x="369" y="195"/>
                        </a:cubicBezTo>
                        <a:cubicBezTo>
                          <a:pt x="370" y="198"/>
                          <a:pt x="373" y="196"/>
                          <a:pt x="373" y="196"/>
                        </a:cubicBezTo>
                        <a:lnTo>
                          <a:pt x="371" y="182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4" name="Freeform 221">
                    <a:extLst>
                      <a:ext uri="{FF2B5EF4-FFF2-40B4-BE49-F238E27FC236}">
                        <a16:creationId xmlns:a16="http://schemas.microsoft.com/office/drawing/2014/main" id="{A3EEECC4-E8F5-9A7D-7209-E4B6FB279B5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61600" y="2940050"/>
                    <a:ext cx="304800" cy="269875"/>
                  </a:xfrm>
                  <a:custGeom>
                    <a:avLst/>
                    <a:gdLst>
                      <a:gd name="T0" fmla="*/ 0 w 164"/>
                      <a:gd name="T1" fmla="*/ 113 h 146"/>
                      <a:gd name="T2" fmla="*/ 37 w 164"/>
                      <a:gd name="T3" fmla="*/ 114 h 146"/>
                      <a:gd name="T4" fmla="*/ 66 w 164"/>
                      <a:gd name="T5" fmla="*/ 77 h 146"/>
                      <a:gd name="T6" fmla="*/ 97 w 164"/>
                      <a:gd name="T7" fmla="*/ 41 h 146"/>
                      <a:gd name="T8" fmla="*/ 164 w 164"/>
                      <a:gd name="T9" fmla="*/ 11 h 146"/>
                      <a:gd name="T10" fmla="*/ 133 w 164"/>
                      <a:gd name="T11" fmla="*/ 72 h 146"/>
                      <a:gd name="T12" fmla="*/ 67 w 164"/>
                      <a:gd name="T13" fmla="*/ 130 h 146"/>
                      <a:gd name="T14" fmla="*/ 23 w 164"/>
                      <a:gd name="T15" fmla="*/ 141 h 146"/>
                      <a:gd name="T16" fmla="*/ 0 w 164"/>
                      <a:gd name="T17" fmla="*/ 113 h 1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64" h="146">
                        <a:moveTo>
                          <a:pt x="0" y="113"/>
                        </a:moveTo>
                        <a:cubicBezTo>
                          <a:pt x="37" y="114"/>
                          <a:pt x="37" y="114"/>
                          <a:pt x="37" y="114"/>
                        </a:cubicBezTo>
                        <a:cubicBezTo>
                          <a:pt x="37" y="114"/>
                          <a:pt x="47" y="99"/>
                          <a:pt x="66" y="77"/>
                        </a:cubicBezTo>
                        <a:cubicBezTo>
                          <a:pt x="127" y="79"/>
                          <a:pt x="85" y="55"/>
                          <a:pt x="97" y="41"/>
                        </a:cubicBezTo>
                        <a:cubicBezTo>
                          <a:pt x="135" y="0"/>
                          <a:pt x="164" y="11"/>
                          <a:pt x="164" y="11"/>
                        </a:cubicBezTo>
                        <a:cubicBezTo>
                          <a:pt x="133" y="72"/>
                          <a:pt x="133" y="72"/>
                          <a:pt x="133" y="72"/>
                        </a:cubicBezTo>
                        <a:cubicBezTo>
                          <a:pt x="133" y="72"/>
                          <a:pt x="76" y="122"/>
                          <a:pt x="67" y="130"/>
                        </a:cubicBezTo>
                        <a:cubicBezTo>
                          <a:pt x="58" y="137"/>
                          <a:pt x="46" y="146"/>
                          <a:pt x="23" y="141"/>
                        </a:cubicBezTo>
                        <a:cubicBezTo>
                          <a:pt x="19" y="126"/>
                          <a:pt x="0" y="113"/>
                          <a:pt x="0" y="11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5" name="Freeform 222">
                    <a:extLst>
                      <a:ext uri="{FF2B5EF4-FFF2-40B4-BE49-F238E27FC236}">
                        <a16:creationId xmlns:a16="http://schemas.microsoft.com/office/drawing/2014/main" id="{09BB7036-001A-1FF1-A3A4-38DE1A2B87D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4638" y="2954338"/>
                    <a:ext cx="317500" cy="319088"/>
                  </a:xfrm>
                  <a:custGeom>
                    <a:avLst/>
                    <a:gdLst>
                      <a:gd name="T0" fmla="*/ 171 w 171"/>
                      <a:gd name="T1" fmla="*/ 172 h 172"/>
                      <a:gd name="T2" fmla="*/ 29 w 171"/>
                      <a:gd name="T3" fmla="*/ 97 h 172"/>
                      <a:gd name="T4" fmla="*/ 33 w 171"/>
                      <a:gd name="T5" fmla="*/ 0 h 172"/>
                      <a:gd name="T6" fmla="*/ 171 w 171"/>
                      <a:gd name="T7" fmla="*/ 172 h 1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71" h="172">
                        <a:moveTo>
                          <a:pt x="171" y="172"/>
                        </a:moveTo>
                        <a:cubicBezTo>
                          <a:pt x="171" y="172"/>
                          <a:pt x="57" y="148"/>
                          <a:pt x="29" y="97"/>
                        </a:cubicBezTo>
                        <a:cubicBezTo>
                          <a:pt x="0" y="43"/>
                          <a:pt x="33" y="0"/>
                          <a:pt x="33" y="0"/>
                        </a:cubicBezTo>
                        <a:lnTo>
                          <a:pt x="171" y="17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6" name="Freeform 223">
                    <a:extLst>
                      <a:ext uri="{FF2B5EF4-FFF2-40B4-BE49-F238E27FC236}">
                        <a16:creationId xmlns:a16="http://schemas.microsoft.com/office/drawing/2014/main" id="{F39D2D2E-BA14-7C90-658D-EA129872E99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67975" y="2906713"/>
                    <a:ext cx="520700" cy="411163"/>
                  </a:xfrm>
                  <a:custGeom>
                    <a:avLst/>
                    <a:gdLst>
                      <a:gd name="T0" fmla="*/ 153 w 281"/>
                      <a:gd name="T1" fmla="*/ 222 h 222"/>
                      <a:gd name="T2" fmla="*/ 62 w 281"/>
                      <a:gd name="T3" fmla="*/ 147 h 222"/>
                      <a:gd name="T4" fmla="*/ 0 w 281"/>
                      <a:gd name="T5" fmla="*/ 23 h 222"/>
                      <a:gd name="T6" fmla="*/ 31 w 281"/>
                      <a:gd name="T7" fmla="*/ 8 h 222"/>
                      <a:gd name="T8" fmla="*/ 158 w 281"/>
                      <a:gd name="T9" fmla="*/ 64 h 222"/>
                      <a:gd name="T10" fmla="*/ 281 w 281"/>
                      <a:gd name="T11" fmla="*/ 219 h 222"/>
                      <a:gd name="T12" fmla="*/ 153 w 281"/>
                      <a:gd name="T13" fmla="*/ 222 h 2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1" h="222">
                        <a:moveTo>
                          <a:pt x="153" y="222"/>
                        </a:moveTo>
                        <a:cubicBezTo>
                          <a:pt x="153" y="222"/>
                          <a:pt x="136" y="170"/>
                          <a:pt x="62" y="147"/>
                        </a:cubicBezTo>
                        <a:cubicBezTo>
                          <a:pt x="16" y="134"/>
                          <a:pt x="0" y="23"/>
                          <a:pt x="0" y="23"/>
                        </a:cubicBezTo>
                        <a:cubicBezTo>
                          <a:pt x="0" y="23"/>
                          <a:pt x="17" y="10"/>
                          <a:pt x="31" y="8"/>
                        </a:cubicBezTo>
                        <a:cubicBezTo>
                          <a:pt x="64" y="0"/>
                          <a:pt x="115" y="18"/>
                          <a:pt x="158" y="64"/>
                        </a:cubicBezTo>
                        <a:cubicBezTo>
                          <a:pt x="219" y="128"/>
                          <a:pt x="281" y="219"/>
                          <a:pt x="281" y="219"/>
                        </a:cubicBezTo>
                        <a:lnTo>
                          <a:pt x="153" y="222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7" name="Freeform 224">
                    <a:extLst>
                      <a:ext uri="{FF2B5EF4-FFF2-40B4-BE49-F238E27FC236}">
                        <a16:creationId xmlns:a16="http://schemas.microsoft.com/office/drawing/2014/main" id="{7964466E-05A4-0159-9896-4FE68682A07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9413" y="3076575"/>
                    <a:ext cx="247650" cy="242888"/>
                  </a:xfrm>
                  <a:custGeom>
                    <a:avLst/>
                    <a:gdLst>
                      <a:gd name="T0" fmla="*/ 121 w 133"/>
                      <a:gd name="T1" fmla="*/ 129 h 131"/>
                      <a:gd name="T2" fmla="*/ 64 w 133"/>
                      <a:gd name="T3" fmla="*/ 62 h 131"/>
                      <a:gd name="T4" fmla="*/ 0 w 133"/>
                      <a:gd name="T5" fmla="*/ 0 h 131"/>
                      <a:gd name="T6" fmla="*/ 64 w 133"/>
                      <a:gd name="T7" fmla="*/ 57 h 131"/>
                      <a:gd name="T8" fmla="*/ 133 w 133"/>
                      <a:gd name="T9" fmla="*/ 131 h 131"/>
                      <a:gd name="T10" fmla="*/ 121 w 133"/>
                      <a:gd name="T11" fmla="*/ 129 h 1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33" h="131">
                        <a:moveTo>
                          <a:pt x="121" y="129"/>
                        </a:moveTo>
                        <a:cubicBezTo>
                          <a:pt x="121" y="129"/>
                          <a:pt x="99" y="76"/>
                          <a:pt x="64" y="62"/>
                        </a:cubicBezTo>
                        <a:cubicBezTo>
                          <a:pt x="27" y="47"/>
                          <a:pt x="0" y="0"/>
                          <a:pt x="0" y="0"/>
                        </a:cubicBezTo>
                        <a:cubicBezTo>
                          <a:pt x="0" y="0"/>
                          <a:pt x="27" y="33"/>
                          <a:pt x="64" y="57"/>
                        </a:cubicBezTo>
                        <a:cubicBezTo>
                          <a:pt x="101" y="81"/>
                          <a:pt x="133" y="131"/>
                          <a:pt x="133" y="131"/>
                        </a:cubicBezTo>
                        <a:lnTo>
                          <a:pt x="121" y="129"/>
                        </a:ln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8" name="Freeform 225">
                    <a:extLst>
                      <a:ext uri="{FF2B5EF4-FFF2-40B4-BE49-F238E27FC236}">
                        <a16:creationId xmlns:a16="http://schemas.microsoft.com/office/drawing/2014/main" id="{341D4DEA-C6B1-A9F8-2C57-5810D4EA249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3063" y="2906713"/>
                    <a:ext cx="430213" cy="357188"/>
                  </a:xfrm>
                  <a:custGeom>
                    <a:avLst/>
                    <a:gdLst>
                      <a:gd name="T0" fmla="*/ 232 w 232"/>
                      <a:gd name="T1" fmla="*/ 182 h 193"/>
                      <a:gd name="T2" fmla="*/ 59 w 232"/>
                      <a:gd name="T3" fmla="*/ 13 h 193"/>
                      <a:gd name="T4" fmla="*/ 3 w 232"/>
                      <a:gd name="T5" fmla="*/ 6 h 193"/>
                      <a:gd name="T6" fmla="*/ 129 w 232"/>
                      <a:gd name="T7" fmla="*/ 156 h 193"/>
                      <a:gd name="T8" fmla="*/ 232 w 232"/>
                      <a:gd name="T9" fmla="*/ 182 h 1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2" h="193">
                        <a:moveTo>
                          <a:pt x="232" y="182"/>
                        </a:moveTo>
                        <a:cubicBezTo>
                          <a:pt x="232" y="182"/>
                          <a:pt x="112" y="25"/>
                          <a:pt x="59" y="13"/>
                        </a:cubicBezTo>
                        <a:cubicBezTo>
                          <a:pt x="7" y="0"/>
                          <a:pt x="3" y="6"/>
                          <a:pt x="3" y="6"/>
                        </a:cubicBezTo>
                        <a:cubicBezTo>
                          <a:pt x="3" y="6"/>
                          <a:pt x="0" y="89"/>
                          <a:pt x="129" y="156"/>
                        </a:cubicBezTo>
                        <a:cubicBezTo>
                          <a:pt x="203" y="193"/>
                          <a:pt x="232" y="182"/>
                          <a:pt x="232" y="182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9" name="Freeform 226">
                    <a:extLst>
                      <a:ext uri="{FF2B5EF4-FFF2-40B4-BE49-F238E27FC236}">
                        <a16:creationId xmlns:a16="http://schemas.microsoft.com/office/drawing/2014/main" id="{74F3003B-A24E-5FFE-14B1-B633B6C4838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2413" y="2862263"/>
                    <a:ext cx="125413" cy="106363"/>
                  </a:xfrm>
                  <a:custGeom>
                    <a:avLst/>
                    <a:gdLst>
                      <a:gd name="T0" fmla="*/ 68 w 68"/>
                      <a:gd name="T1" fmla="*/ 30 h 58"/>
                      <a:gd name="T2" fmla="*/ 58 w 68"/>
                      <a:gd name="T3" fmla="*/ 14 h 58"/>
                      <a:gd name="T4" fmla="*/ 39 w 68"/>
                      <a:gd name="T5" fmla="*/ 0 h 58"/>
                      <a:gd name="T6" fmla="*/ 31 w 68"/>
                      <a:gd name="T7" fmla="*/ 24 h 58"/>
                      <a:gd name="T8" fmla="*/ 18 w 68"/>
                      <a:gd name="T9" fmla="*/ 37 h 58"/>
                      <a:gd name="T10" fmla="*/ 0 w 68"/>
                      <a:gd name="T11" fmla="*/ 38 h 58"/>
                      <a:gd name="T12" fmla="*/ 36 w 68"/>
                      <a:gd name="T13" fmla="*/ 55 h 58"/>
                      <a:gd name="T14" fmla="*/ 68 w 68"/>
                      <a:gd name="T15" fmla="*/ 30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8" h="58">
                        <a:moveTo>
                          <a:pt x="68" y="30"/>
                        </a:moveTo>
                        <a:cubicBezTo>
                          <a:pt x="58" y="14"/>
                          <a:pt x="58" y="14"/>
                          <a:pt x="58" y="14"/>
                        </a:cubicBezTo>
                        <a:cubicBezTo>
                          <a:pt x="39" y="0"/>
                          <a:pt x="39" y="0"/>
                          <a:pt x="39" y="0"/>
                        </a:cubicBezTo>
                        <a:cubicBezTo>
                          <a:pt x="39" y="0"/>
                          <a:pt x="33" y="15"/>
                          <a:pt x="31" y="24"/>
                        </a:cubicBezTo>
                        <a:cubicBezTo>
                          <a:pt x="30" y="32"/>
                          <a:pt x="21" y="37"/>
                          <a:pt x="18" y="37"/>
                        </a:cubicBezTo>
                        <a:cubicBezTo>
                          <a:pt x="10" y="39"/>
                          <a:pt x="0" y="38"/>
                          <a:pt x="0" y="38"/>
                        </a:cubicBezTo>
                        <a:cubicBezTo>
                          <a:pt x="0" y="38"/>
                          <a:pt x="32" y="50"/>
                          <a:pt x="36" y="55"/>
                        </a:cubicBezTo>
                        <a:cubicBezTo>
                          <a:pt x="41" y="58"/>
                          <a:pt x="68" y="30"/>
                          <a:pt x="68" y="30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0" name="Freeform 227">
                    <a:extLst>
                      <a:ext uri="{FF2B5EF4-FFF2-40B4-BE49-F238E27FC236}">
                        <a16:creationId xmlns:a16="http://schemas.microsoft.com/office/drawing/2014/main" id="{4C2C4FD1-94AF-7E75-4A61-7A0AC08C3EA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3363" y="2800350"/>
                    <a:ext cx="100013" cy="131763"/>
                  </a:xfrm>
                  <a:custGeom>
                    <a:avLst/>
                    <a:gdLst>
                      <a:gd name="T0" fmla="*/ 13 w 54"/>
                      <a:gd name="T1" fmla="*/ 71 h 71"/>
                      <a:gd name="T2" fmla="*/ 31 w 54"/>
                      <a:gd name="T3" fmla="*/ 70 h 71"/>
                      <a:gd name="T4" fmla="*/ 41 w 54"/>
                      <a:gd name="T5" fmla="*/ 61 h 71"/>
                      <a:gd name="T6" fmla="*/ 45 w 54"/>
                      <a:gd name="T7" fmla="*/ 46 h 71"/>
                      <a:gd name="T8" fmla="*/ 51 w 54"/>
                      <a:gd name="T9" fmla="*/ 41 h 71"/>
                      <a:gd name="T10" fmla="*/ 47 w 54"/>
                      <a:gd name="T11" fmla="*/ 32 h 71"/>
                      <a:gd name="T12" fmla="*/ 44 w 54"/>
                      <a:gd name="T13" fmla="*/ 3 h 71"/>
                      <a:gd name="T14" fmla="*/ 30 w 54"/>
                      <a:gd name="T15" fmla="*/ 0 h 71"/>
                      <a:gd name="T16" fmla="*/ 18 w 54"/>
                      <a:gd name="T17" fmla="*/ 7 h 71"/>
                      <a:gd name="T18" fmla="*/ 0 w 54"/>
                      <a:gd name="T19" fmla="*/ 40 h 71"/>
                      <a:gd name="T20" fmla="*/ 3 w 54"/>
                      <a:gd name="T21" fmla="*/ 42 h 71"/>
                      <a:gd name="T22" fmla="*/ 7 w 54"/>
                      <a:gd name="T23" fmla="*/ 43 h 71"/>
                      <a:gd name="T24" fmla="*/ 8 w 54"/>
                      <a:gd name="T25" fmla="*/ 70 h 71"/>
                      <a:gd name="T26" fmla="*/ 13 w 54"/>
                      <a:gd name="T27" fmla="*/ 71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54" h="71">
                        <a:moveTo>
                          <a:pt x="13" y="71"/>
                        </a:moveTo>
                        <a:cubicBezTo>
                          <a:pt x="17" y="71"/>
                          <a:pt x="25" y="71"/>
                          <a:pt x="31" y="70"/>
                        </a:cubicBezTo>
                        <a:cubicBezTo>
                          <a:pt x="40" y="69"/>
                          <a:pt x="41" y="61"/>
                          <a:pt x="41" y="61"/>
                        </a:cubicBezTo>
                        <a:cubicBezTo>
                          <a:pt x="45" y="46"/>
                          <a:pt x="45" y="46"/>
                          <a:pt x="45" y="46"/>
                        </a:cubicBezTo>
                        <a:cubicBezTo>
                          <a:pt x="45" y="46"/>
                          <a:pt x="48" y="44"/>
                          <a:pt x="51" y="41"/>
                        </a:cubicBezTo>
                        <a:cubicBezTo>
                          <a:pt x="52" y="40"/>
                          <a:pt x="54" y="34"/>
                          <a:pt x="47" y="32"/>
                        </a:cubicBezTo>
                        <a:cubicBezTo>
                          <a:pt x="37" y="28"/>
                          <a:pt x="44" y="3"/>
                          <a:pt x="44" y="3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18" y="7"/>
                          <a:pt x="18" y="7"/>
                          <a:pt x="18" y="7"/>
                        </a:cubicBezTo>
                        <a:cubicBezTo>
                          <a:pt x="0" y="40"/>
                          <a:pt x="0" y="40"/>
                          <a:pt x="0" y="40"/>
                        </a:cubicBezTo>
                        <a:cubicBezTo>
                          <a:pt x="0" y="40"/>
                          <a:pt x="1" y="42"/>
                          <a:pt x="3" y="42"/>
                        </a:cubicBezTo>
                        <a:cubicBezTo>
                          <a:pt x="6" y="42"/>
                          <a:pt x="7" y="43"/>
                          <a:pt x="7" y="43"/>
                        </a:cubicBezTo>
                        <a:cubicBezTo>
                          <a:pt x="7" y="43"/>
                          <a:pt x="8" y="69"/>
                          <a:pt x="8" y="70"/>
                        </a:cubicBezTo>
                        <a:cubicBezTo>
                          <a:pt x="9" y="71"/>
                          <a:pt x="10" y="71"/>
                          <a:pt x="13" y="71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1" name="Freeform 228">
                    <a:extLst>
                      <a:ext uri="{FF2B5EF4-FFF2-40B4-BE49-F238E27FC236}">
                        <a16:creationId xmlns:a16="http://schemas.microsoft.com/office/drawing/2014/main" id="{BD1AEBD7-47E1-5435-4880-FF62F853036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5588" y="2849563"/>
                    <a:ext cx="20638" cy="7938"/>
                  </a:xfrm>
                  <a:custGeom>
                    <a:avLst/>
                    <a:gdLst>
                      <a:gd name="T0" fmla="*/ 1 w 11"/>
                      <a:gd name="T1" fmla="*/ 3 h 5"/>
                      <a:gd name="T2" fmla="*/ 3 w 11"/>
                      <a:gd name="T3" fmla="*/ 5 h 5"/>
                      <a:gd name="T4" fmla="*/ 10 w 11"/>
                      <a:gd name="T5" fmla="*/ 5 h 5"/>
                      <a:gd name="T6" fmla="*/ 2 w 11"/>
                      <a:gd name="T7" fmla="*/ 1 h 5"/>
                      <a:gd name="T8" fmla="*/ 1 w 11"/>
                      <a:gd name="T9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" h="5">
                        <a:moveTo>
                          <a:pt x="1" y="3"/>
                        </a:moveTo>
                        <a:cubicBezTo>
                          <a:pt x="1" y="5"/>
                          <a:pt x="1" y="5"/>
                          <a:pt x="3" y="5"/>
                        </a:cubicBezTo>
                        <a:cubicBezTo>
                          <a:pt x="5" y="5"/>
                          <a:pt x="8" y="5"/>
                          <a:pt x="10" y="5"/>
                        </a:cubicBezTo>
                        <a:cubicBezTo>
                          <a:pt x="11" y="5"/>
                          <a:pt x="7" y="3"/>
                          <a:pt x="2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2" name="Freeform 229">
                    <a:extLst>
                      <a:ext uri="{FF2B5EF4-FFF2-40B4-BE49-F238E27FC236}">
                        <a16:creationId xmlns:a16="http://schemas.microsoft.com/office/drawing/2014/main" id="{3BB3EF06-B423-F1B1-3934-DE4933F825D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2263" y="2951163"/>
                    <a:ext cx="44450" cy="104775"/>
                  </a:xfrm>
                  <a:custGeom>
                    <a:avLst/>
                    <a:gdLst>
                      <a:gd name="T0" fmla="*/ 24 w 24"/>
                      <a:gd name="T1" fmla="*/ 57 h 57"/>
                      <a:gd name="T2" fmla="*/ 22 w 24"/>
                      <a:gd name="T3" fmla="*/ 0 h 57"/>
                      <a:gd name="T4" fmla="*/ 0 w 24"/>
                      <a:gd name="T5" fmla="*/ 8 h 57"/>
                      <a:gd name="T6" fmla="*/ 24 w 24"/>
                      <a:gd name="T7" fmla="*/ 57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4" h="57">
                        <a:moveTo>
                          <a:pt x="24" y="57"/>
                        </a:moveTo>
                        <a:cubicBezTo>
                          <a:pt x="24" y="57"/>
                          <a:pt x="8" y="28"/>
                          <a:pt x="22" y="0"/>
                        </a:cubicBezTo>
                        <a:cubicBezTo>
                          <a:pt x="17" y="5"/>
                          <a:pt x="6" y="6"/>
                          <a:pt x="0" y="8"/>
                        </a:cubicBezTo>
                        <a:cubicBezTo>
                          <a:pt x="0" y="32"/>
                          <a:pt x="24" y="57"/>
                          <a:pt x="24" y="57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3" name="Freeform 230">
                    <a:extLst>
                      <a:ext uri="{FF2B5EF4-FFF2-40B4-BE49-F238E27FC236}">
                        <a16:creationId xmlns:a16="http://schemas.microsoft.com/office/drawing/2014/main" id="{262DA863-AAD4-E249-A3F7-8E9BA088847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72688" y="2957513"/>
                    <a:ext cx="188913" cy="74613"/>
                  </a:xfrm>
                  <a:custGeom>
                    <a:avLst/>
                    <a:gdLst>
                      <a:gd name="T0" fmla="*/ 94 w 119"/>
                      <a:gd name="T1" fmla="*/ 47 h 47"/>
                      <a:gd name="T2" fmla="*/ 0 w 119"/>
                      <a:gd name="T3" fmla="*/ 12 h 47"/>
                      <a:gd name="T4" fmla="*/ 2 w 119"/>
                      <a:gd name="T5" fmla="*/ 0 h 47"/>
                      <a:gd name="T6" fmla="*/ 119 w 119"/>
                      <a:gd name="T7" fmla="*/ 23 h 47"/>
                      <a:gd name="T8" fmla="*/ 94 w 119"/>
                      <a:gd name="T9" fmla="*/ 47 h 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9" h="47">
                        <a:moveTo>
                          <a:pt x="94" y="47"/>
                        </a:moveTo>
                        <a:lnTo>
                          <a:pt x="0" y="12"/>
                        </a:lnTo>
                        <a:lnTo>
                          <a:pt x="2" y="0"/>
                        </a:lnTo>
                        <a:lnTo>
                          <a:pt x="119" y="23"/>
                        </a:lnTo>
                        <a:lnTo>
                          <a:pt x="94" y="47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4" name="Freeform 231">
                    <a:extLst>
                      <a:ext uri="{FF2B5EF4-FFF2-40B4-BE49-F238E27FC236}">
                        <a16:creationId xmlns:a16="http://schemas.microsoft.com/office/drawing/2014/main" id="{AE774A9B-3344-47D0-A1F6-78F8A034283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15563" y="2954338"/>
                    <a:ext cx="434975" cy="128588"/>
                  </a:xfrm>
                  <a:custGeom>
                    <a:avLst/>
                    <a:gdLst>
                      <a:gd name="T0" fmla="*/ 2 w 235"/>
                      <a:gd name="T1" fmla="*/ 16 h 69"/>
                      <a:gd name="T2" fmla="*/ 82 w 235"/>
                      <a:gd name="T3" fmla="*/ 33 h 69"/>
                      <a:gd name="T4" fmla="*/ 201 w 235"/>
                      <a:gd name="T5" fmla="*/ 0 h 69"/>
                      <a:gd name="T6" fmla="*/ 235 w 235"/>
                      <a:gd name="T7" fmla="*/ 35 h 69"/>
                      <a:gd name="T8" fmla="*/ 120 w 235"/>
                      <a:gd name="T9" fmla="*/ 65 h 69"/>
                      <a:gd name="T10" fmla="*/ 59 w 235"/>
                      <a:gd name="T11" fmla="*/ 61 h 69"/>
                      <a:gd name="T12" fmla="*/ 0 w 235"/>
                      <a:gd name="T13" fmla="*/ 42 h 69"/>
                      <a:gd name="T14" fmla="*/ 2 w 235"/>
                      <a:gd name="T15" fmla="*/ 16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35" h="69">
                        <a:moveTo>
                          <a:pt x="2" y="16"/>
                        </a:moveTo>
                        <a:cubicBezTo>
                          <a:pt x="82" y="33"/>
                          <a:pt x="82" y="33"/>
                          <a:pt x="82" y="33"/>
                        </a:cubicBezTo>
                        <a:cubicBezTo>
                          <a:pt x="201" y="0"/>
                          <a:pt x="201" y="0"/>
                          <a:pt x="201" y="0"/>
                        </a:cubicBezTo>
                        <a:cubicBezTo>
                          <a:pt x="235" y="35"/>
                          <a:pt x="235" y="35"/>
                          <a:pt x="235" y="35"/>
                        </a:cubicBezTo>
                        <a:cubicBezTo>
                          <a:pt x="235" y="35"/>
                          <a:pt x="132" y="62"/>
                          <a:pt x="120" y="65"/>
                        </a:cubicBezTo>
                        <a:cubicBezTo>
                          <a:pt x="108" y="67"/>
                          <a:pt x="84" y="69"/>
                          <a:pt x="59" y="61"/>
                        </a:cubicBezTo>
                        <a:cubicBezTo>
                          <a:pt x="42" y="56"/>
                          <a:pt x="24" y="50"/>
                          <a:pt x="0" y="42"/>
                        </a:cubicBezTo>
                        <a:lnTo>
                          <a:pt x="2" y="16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5" name="Freeform 232">
                    <a:extLst>
                      <a:ext uri="{FF2B5EF4-FFF2-40B4-BE49-F238E27FC236}">
                        <a16:creationId xmlns:a16="http://schemas.microsoft.com/office/drawing/2014/main" id="{655A20D3-1264-6C11-B8CC-B0955142B11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3525" y="2782888"/>
                    <a:ext cx="134938" cy="225425"/>
                  </a:xfrm>
                  <a:custGeom>
                    <a:avLst/>
                    <a:gdLst>
                      <a:gd name="T0" fmla="*/ 52 w 73"/>
                      <a:gd name="T1" fmla="*/ 19 h 122"/>
                      <a:gd name="T2" fmla="*/ 0 w 73"/>
                      <a:gd name="T3" fmla="*/ 9 h 122"/>
                      <a:gd name="T4" fmla="*/ 2 w 73"/>
                      <a:gd name="T5" fmla="*/ 17 h 122"/>
                      <a:gd name="T6" fmla="*/ 19 w 73"/>
                      <a:gd name="T7" fmla="*/ 56 h 122"/>
                      <a:gd name="T8" fmla="*/ 6 w 73"/>
                      <a:gd name="T9" fmla="*/ 107 h 122"/>
                      <a:gd name="T10" fmla="*/ 70 w 73"/>
                      <a:gd name="T11" fmla="*/ 76 h 122"/>
                      <a:gd name="T12" fmla="*/ 52 w 73"/>
                      <a:gd name="T13" fmla="*/ 19 h 1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3" h="122">
                        <a:moveTo>
                          <a:pt x="52" y="19"/>
                        </a:moveTo>
                        <a:cubicBezTo>
                          <a:pt x="17" y="1"/>
                          <a:pt x="4" y="0"/>
                          <a:pt x="0" y="9"/>
                        </a:cubicBezTo>
                        <a:cubicBezTo>
                          <a:pt x="0" y="11"/>
                          <a:pt x="0" y="15"/>
                          <a:pt x="2" y="17"/>
                        </a:cubicBezTo>
                        <a:cubicBezTo>
                          <a:pt x="12" y="17"/>
                          <a:pt x="19" y="36"/>
                          <a:pt x="19" y="56"/>
                        </a:cubicBezTo>
                        <a:cubicBezTo>
                          <a:pt x="17" y="75"/>
                          <a:pt x="16" y="102"/>
                          <a:pt x="6" y="107"/>
                        </a:cubicBezTo>
                        <a:cubicBezTo>
                          <a:pt x="34" y="117"/>
                          <a:pt x="73" y="122"/>
                          <a:pt x="70" y="76"/>
                        </a:cubicBezTo>
                        <a:cubicBezTo>
                          <a:pt x="70" y="62"/>
                          <a:pt x="55" y="24"/>
                          <a:pt x="52" y="19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6" name="Freeform 233">
                    <a:extLst>
                      <a:ext uri="{FF2B5EF4-FFF2-40B4-BE49-F238E27FC236}">
                        <a16:creationId xmlns:a16="http://schemas.microsoft.com/office/drawing/2014/main" id="{F4323995-1D9C-40DE-036C-FE12D3F04DB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8613" y="3302000"/>
                    <a:ext cx="563563" cy="241300"/>
                  </a:xfrm>
                  <a:custGeom>
                    <a:avLst/>
                    <a:gdLst>
                      <a:gd name="T0" fmla="*/ 267 w 304"/>
                      <a:gd name="T1" fmla="*/ 0 h 130"/>
                      <a:gd name="T2" fmla="*/ 304 w 304"/>
                      <a:gd name="T3" fmla="*/ 118 h 130"/>
                      <a:gd name="T4" fmla="*/ 26 w 304"/>
                      <a:gd name="T5" fmla="*/ 54 h 130"/>
                      <a:gd name="T6" fmla="*/ 1 w 304"/>
                      <a:gd name="T7" fmla="*/ 1 h 130"/>
                      <a:gd name="T8" fmla="*/ 267 w 304"/>
                      <a:gd name="T9" fmla="*/ 0 h 1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4" h="130">
                        <a:moveTo>
                          <a:pt x="267" y="0"/>
                        </a:moveTo>
                        <a:cubicBezTo>
                          <a:pt x="295" y="26"/>
                          <a:pt x="269" y="75"/>
                          <a:pt x="304" y="118"/>
                        </a:cubicBezTo>
                        <a:cubicBezTo>
                          <a:pt x="264" y="130"/>
                          <a:pt x="87" y="102"/>
                          <a:pt x="26" y="54"/>
                        </a:cubicBezTo>
                        <a:cubicBezTo>
                          <a:pt x="0" y="33"/>
                          <a:pt x="1" y="1"/>
                          <a:pt x="1" y="1"/>
                        </a:cubicBezTo>
                        <a:cubicBezTo>
                          <a:pt x="1" y="1"/>
                          <a:pt x="229" y="1"/>
                          <a:pt x="267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7" name="Freeform 234">
                    <a:extLst>
                      <a:ext uri="{FF2B5EF4-FFF2-40B4-BE49-F238E27FC236}">
                        <a16:creationId xmlns:a16="http://schemas.microsoft.com/office/drawing/2014/main" id="{BE0153E8-02A2-039F-E45E-B9039ADED91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01250" y="2922588"/>
                    <a:ext cx="79375" cy="60325"/>
                  </a:xfrm>
                  <a:custGeom>
                    <a:avLst/>
                    <a:gdLst>
                      <a:gd name="T0" fmla="*/ 43 w 43"/>
                      <a:gd name="T1" fmla="*/ 20 h 32"/>
                      <a:gd name="T2" fmla="*/ 34 w 43"/>
                      <a:gd name="T3" fmla="*/ 16 h 32"/>
                      <a:gd name="T4" fmla="*/ 26 w 43"/>
                      <a:gd name="T5" fmla="*/ 10 h 32"/>
                      <a:gd name="T6" fmla="*/ 23 w 43"/>
                      <a:gd name="T7" fmla="*/ 7 h 32"/>
                      <a:gd name="T8" fmla="*/ 6 w 43"/>
                      <a:gd name="T9" fmla="*/ 0 h 32"/>
                      <a:gd name="T10" fmla="*/ 7 w 43"/>
                      <a:gd name="T11" fmla="*/ 4 h 32"/>
                      <a:gd name="T12" fmla="*/ 15 w 43"/>
                      <a:gd name="T13" fmla="*/ 9 h 32"/>
                      <a:gd name="T14" fmla="*/ 0 w 43"/>
                      <a:gd name="T15" fmla="*/ 13 h 32"/>
                      <a:gd name="T16" fmla="*/ 2 w 43"/>
                      <a:gd name="T17" fmla="*/ 16 h 32"/>
                      <a:gd name="T18" fmla="*/ 12 w 43"/>
                      <a:gd name="T19" fmla="*/ 15 h 32"/>
                      <a:gd name="T20" fmla="*/ 27 w 43"/>
                      <a:gd name="T21" fmla="*/ 27 h 32"/>
                      <a:gd name="T22" fmla="*/ 24 w 43"/>
                      <a:gd name="T23" fmla="*/ 28 h 32"/>
                      <a:gd name="T24" fmla="*/ 27 w 43"/>
                      <a:gd name="T25" fmla="*/ 32 h 32"/>
                      <a:gd name="T26" fmla="*/ 42 w 43"/>
                      <a:gd name="T27" fmla="*/ 30 h 32"/>
                      <a:gd name="T28" fmla="*/ 43 w 43"/>
                      <a:gd name="T29" fmla="*/ 20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3" h="32">
                        <a:moveTo>
                          <a:pt x="43" y="20"/>
                        </a:moveTo>
                        <a:cubicBezTo>
                          <a:pt x="43" y="20"/>
                          <a:pt x="38" y="18"/>
                          <a:pt x="34" y="16"/>
                        </a:cubicBezTo>
                        <a:cubicBezTo>
                          <a:pt x="30" y="13"/>
                          <a:pt x="26" y="10"/>
                          <a:pt x="26" y="10"/>
                        </a:cubicBezTo>
                        <a:cubicBezTo>
                          <a:pt x="26" y="10"/>
                          <a:pt x="24" y="8"/>
                          <a:pt x="23" y="7"/>
                        </a:cubicBezTo>
                        <a:cubicBezTo>
                          <a:pt x="22" y="7"/>
                          <a:pt x="13" y="3"/>
                          <a:pt x="6" y="0"/>
                        </a:cubicBezTo>
                        <a:cubicBezTo>
                          <a:pt x="5" y="0"/>
                          <a:pt x="6" y="3"/>
                          <a:pt x="7" y="4"/>
                        </a:cubicBezTo>
                        <a:cubicBezTo>
                          <a:pt x="8" y="5"/>
                          <a:pt x="15" y="9"/>
                          <a:pt x="15" y="9"/>
                        </a:cubicBezTo>
                        <a:cubicBezTo>
                          <a:pt x="15" y="9"/>
                          <a:pt x="3" y="12"/>
                          <a:pt x="0" y="13"/>
                        </a:cubicBezTo>
                        <a:cubicBezTo>
                          <a:pt x="0" y="13"/>
                          <a:pt x="1" y="15"/>
                          <a:pt x="2" y="16"/>
                        </a:cubicBezTo>
                        <a:cubicBezTo>
                          <a:pt x="4" y="16"/>
                          <a:pt x="12" y="15"/>
                          <a:pt x="12" y="15"/>
                        </a:cubicBezTo>
                        <a:cubicBezTo>
                          <a:pt x="27" y="27"/>
                          <a:pt x="27" y="27"/>
                          <a:pt x="27" y="27"/>
                        </a:cubicBezTo>
                        <a:cubicBezTo>
                          <a:pt x="24" y="28"/>
                          <a:pt x="24" y="28"/>
                          <a:pt x="24" y="28"/>
                        </a:cubicBezTo>
                        <a:cubicBezTo>
                          <a:pt x="27" y="32"/>
                          <a:pt x="27" y="32"/>
                          <a:pt x="27" y="32"/>
                        </a:cubicBezTo>
                        <a:cubicBezTo>
                          <a:pt x="27" y="32"/>
                          <a:pt x="33" y="32"/>
                          <a:pt x="42" y="30"/>
                        </a:cubicBezTo>
                        <a:lnTo>
                          <a:pt x="43" y="2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200" name="Freeform 180">
                  <a:extLst>
                    <a:ext uri="{FF2B5EF4-FFF2-40B4-BE49-F238E27FC236}">
                      <a16:creationId xmlns:a16="http://schemas.microsoft.com/office/drawing/2014/main" id="{BA300893-3A41-25B9-9D26-4E8FE624B94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532353" y="4827346"/>
                  <a:ext cx="357122" cy="260510"/>
                </a:xfrm>
                <a:custGeom>
                  <a:avLst/>
                  <a:gdLst>
                    <a:gd name="T0" fmla="*/ 308 w 354"/>
                    <a:gd name="T1" fmla="*/ 0 h 259"/>
                    <a:gd name="T2" fmla="*/ 300 w 354"/>
                    <a:gd name="T3" fmla="*/ 0 h 259"/>
                    <a:gd name="T4" fmla="*/ 300 w 354"/>
                    <a:gd name="T5" fmla="*/ 14 h 259"/>
                    <a:gd name="T6" fmla="*/ 283 w 354"/>
                    <a:gd name="T7" fmla="*/ 0 h 259"/>
                    <a:gd name="T8" fmla="*/ 283 w 354"/>
                    <a:gd name="T9" fmla="*/ 0 h 259"/>
                    <a:gd name="T10" fmla="*/ 261 w 354"/>
                    <a:gd name="T11" fmla="*/ 0 h 259"/>
                    <a:gd name="T12" fmla="*/ 262 w 354"/>
                    <a:gd name="T13" fmla="*/ 6 h 259"/>
                    <a:gd name="T14" fmla="*/ 277 w 354"/>
                    <a:gd name="T15" fmla="*/ 12 h 259"/>
                    <a:gd name="T16" fmla="*/ 295 w 354"/>
                    <a:gd name="T17" fmla="*/ 36 h 259"/>
                    <a:gd name="T18" fmla="*/ 292 w 354"/>
                    <a:gd name="T19" fmla="*/ 237 h 259"/>
                    <a:gd name="T20" fmla="*/ 182 w 354"/>
                    <a:gd name="T21" fmla="*/ 111 h 259"/>
                    <a:gd name="T22" fmla="*/ 133 w 354"/>
                    <a:gd name="T23" fmla="*/ 84 h 259"/>
                    <a:gd name="T24" fmla="*/ 84 w 354"/>
                    <a:gd name="T25" fmla="*/ 117 h 259"/>
                    <a:gd name="T26" fmla="*/ 0 w 354"/>
                    <a:gd name="T27" fmla="*/ 259 h 259"/>
                    <a:gd name="T28" fmla="*/ 140 w 354"/>
                    <a:gd name="T29" fmla="*/ 259 h 259"/>
                    <a:gd name="T30" fmla="*/ 147 w 354"/>
                    <a:gd name="T31" fmla="*/ 188 h 259"/>
                    <a:gd name="T32" fmla="*/ 230 w 354"/>
                    <a:gd name="T33" fmla="*/ 259 h 259"/>
                    <a:gd name="T34" fmla="*/ 354 w 354"/>
                    <a:gd name="T35" fmla="*/ 259 h 259"/>
                    <a:gd name="T36" fmla="*/ 312 w 354"/>
                    <a:gd name="T37" fmla="*/ 35 h 259"/>
                    <a:gd name="T38" fmla="*/ 312 w 354"/>
                    <a:gd name="T39" fmla="*/ 24 h 259"/>
                    <a:gd name="T40" fmla="*/ 308 w 354"/>
                    <a:gd name="T41" fmla="*/ 0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4" h="259">
                      <a:moveTo>
                        <a:pt x="308" y="0"/>
                      </a:moveTo>
                      <a:cubicBezTo>
                        <a:pt x="300" y="0"/>
                        <a:pt x="300" y="0"/>
                        <a:pt x="300" y="0"/>
                      </a:cubicBezTo>
                      <a:cubicBezTo>
                        <a:pt x="300" y="14"/>
                        <a:pt x="300" y="14"/>
                        <a:pt x="300" y="14"/>
                      </a:cubicBezTo>
                      <a:cubicBezTo>
                        <a:pt x="300" y="14"/>
                        <a:pt x="288" y="0"/>
                        <a:pt x="283" y="0"/>
                      </a:cubicBezTo>
                      <a:cubicBezTo>
                        <a:pt x="283" y="0"/>
                        <a:pt x="283" y="0"/>
                        <a:pt x="283" y="0"/>
                      </a:cubicBezTo>
                      <a:cubicBezTo>
                        <a:pt x="279" y="0"/>
                        <a:pt x="261" y="0"/>
                        <a:pt x="261" y="0"/>
                      </a:cubicBezTo>
                      <a:cubicBezTo>
                        <a:pt x="261" y="0"/>
                        <a:pt x="258" y="5"/>
                        <a:pt x="262" y="6"/>
                      </a:cubicBezTo>
                      <a:cubicBezTo>
                        <a:pt x="263" y="6"/>
                        <a:pt x="273" y="10"/>
                        <a:pt x="277" y="12"/>
                      </a:cubicBezTo>
                      <a:cubicBezTo>
                        <a:pt x="295" y="36"/>
                        <a:pt x="295" y="36"/>
                        <a:pt x="295" y="36"/>
                      </a:cubicBezTo>
                      <a:cubicBezTo>
                        <a:pt x="292" y="237"/>
                        <a:pt x="292" y="237"/>
                        <a:pt x="292" y="237"/>
                      </a:cubicBezTo>
                      <a:cubicBezTo>
                        <a:pt x="241" y="180"/>
                        <a:pt x="189" y="121"/>
                        <a:pt x="182" y="111"/>
                      </a:cubicBezTo>
                      <a:cubicBezTo>
                        <a:pt x="174" y="99"/>
                        <a:pt x="155" y="84"/>
                        <a:pt x="133" y="84"/>
                      </a:cubicBezTo>
                      <a:cubicBezTo>
                        <a:pt x="117" y="84"/>
                        <a:pt x="99" y="93"/>
                        <a:pt x="84" y="117"/>
                      </a:cubicBezTo>
                      <a:cubicBezTo>
                        <a:pt x="61" y="155"/>
                        <a:pt x="26" y="213"/>
                        <a:pt x="0" y="259"/>
                      </a:cubicBezTo>
                      <a:cubicBezTo>
                        <a:pt x="140" y="259"/>
                        <a:pt x="140" y="259"/>
                        <a:pt x="140" y="259"/>
                      </a:cubicBezTo>
                      <a:cubicBezTo>
                        <a:pt x="144" y="231"/>
                        <a:pt x="146" y="205"/>
                        <a:pt x="147" y="188"/>
                      </a:cubicBezTo>
                      <a:cubicBezTo>
                        <a:pt x="230" y="259"/>
                        <a:pt x="230" y="259"/>
                        <a:pt x="230" y="259"/>
                      </a:cubicBezTo>
                      <a:cubicBezTo>
                        <a:pt x="354" y="259"/>
                        <a:pt x="354" y="259"/>
                        <a:pt x="354" y="259"/>
                      </a:cubicBezTo>
                      <a:cubicBezTo>
                        <a:pt x="345" y="166"/>
                        <a:pt x="312" y="35"/>
                        <a:pt x="312" y="35"/>
                      </a:cubicBezTo>
                      <a:cubicBezTo>
                        <a:pt x="312" y="35"/>
                        <a:pt x="313" y="29"/>
                        <a:pt x="312" y="24"/>
                      </a:cubicBezTo>
                      <a:cubicBezTo>
                        <a:pt x="310" y="13"/>
                        <a:pt x="308" y="0"/>
                        <a:pt x="308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17" name="Group 5">
                <a:extLst>
                  <a:ext uri="{FF2B5EF4-FFF2-40B4-BE49-F238E27FC236}">
                    <a16:creationId xmlns:a16="http://schemas.microsoft.com/office/drawing/2014/main" id="{2893304E-3758-6A03-C25D-5B26A8F28353}"/>
                  </a:ext>
                </a:extLst>
              </p:cNvPr>
              <p:cNvGrpSpPr/>
              <p:nvPr/>
            </p:nvGrpSpPr>
            <p:grpSpPr>
              <a:xfrm>
                <a:off x="3081113" y="3935198"/>
                <a:ext cx="1695948" cy="1162398"/>
                <a:chOff x="3081113" y="3935198"/>
                <a:chExt cx="1695948" cy="1162398"/>
              </a:xfrm>
            </p:grpSpPr>
            <p:grpSp>
              <p:nvGrpSpPr>
                <p:cNvPr id="18" name="Group 1051">
                  <a:extLst>
                    <a:ext uri="{FF2B5EF4-FFF2-40B4-BE49-F238E27FC236}">
                      <a16:creationId xmlns:a16="http://schemas.microsoft.com/office/drawing/2014/main" id="{CD6438BF-3811-ACEA-2558-6105AD6FF868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096850" y="3935198"/>
                  <a:ext cx="947456" cy="851698"/>
                  <a:chOff x="6978651" y="4723607"/>
                  <a:chExt cx="1931987" cy="1736725"/>
                </a:xfrm>
              </p:grpSpPr>
              <p:sp>
                <p:nvSpPr>
                  <p:cNvPr id="54" name="Freeform 280">
                    <a:extLst>
                      <a:ext uri="{FF2B5EF4-FFF2-40B4-BE49-F238E27FC236}">
                        <a16:creationId xmlns:a16="http://schemas.microsoft.com/office/drawing/2014/main" id="{F4551A59-A388-C11F-8BA3-D138CEB09C5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075488" y="5322095"/>
                    <a:ext cx="139700" cy="82550"/>
                  </a:xfrm>
                  <a:custGeom>
                    <a:avLst/>
                    <a:gdLst>
                      <a:gd name="T0" fmla="*/ 71 w 71"/>
                      <a:gd name="T1" fmla="*/ 40 h 42"/>
                      <a:gd name="T2" fmla="*/ 60 w 71"/>
                      <a:gd name="T3" fmla="*/ 42 h 42"/>
                      <a:gd name="T4" fmla="*/ 47 w 71"/>
                      <a:gd name="T5" fmla="*/ 39 h 42"/>
                      <a:gd name="T6" fmla="*/ 42 w 71"/>
                      <a:gd name="T7" fmla="*/ 33 h 42"/>
                      <a:gd name="T8" fmla="*/ 45 w 71"/>
                      <a:gd name="T9" fmla="*/ 31 h 42"/>
                      <a:gd name="T10" fmla="*/ 19 w 71"/>
                      <a:gd name="T11" fmla="*/ 13 h 42"/>
                      <a:gd name="T12" fmla="*/ 4 w 71"/>
                      <a:gd name="T13" fmla="*/ 14 h 42"/>
                      <a:gd name="T14" fmla="*/ 1 w 71"/>
                      <a:gd name="T15" fmla="*/ 11 h 42"/>
                      <a:gd name="T16" fmla="*/ 21 w 71"/>
                      <a:gd name="T17" fmla="*/ 5 h 42"/>
                      <a:gd name="T18" fmla="*/ 35 w 71"/>
                      <a:gd name="T19" fmla="*/ 2 h 42"/>
                      <a:gd name="T20" fmla="*/ 40 w 71"/>
                      <a:gd name="T21" fmla="*/ 6 h 42"/>
                      <a:gd name="T22" fmla="*/ 68 w 71"/>
                      <a:gd name="T23" fmla="*/ 21 h 42"/>
                      <a:gd name="T24" fmla="*/ 71 w 71"/>
                      <a:gd name="T25" fmla="*/ 40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71" h="42">
                        <a:moveTo>
                          <a:pt x="71" y="40"/>
                        </a:moveTo>
                        <a:cubicBezTo>
                          <a:pt x="71" y="40"/>
                          <a:pt x="63" y="42"/>
                          <a:pt x="60" y="42"/>
                        </a:cubicBezTo>
                        <a:cubicBezTo>
                          <a:pt x="49" y="42"/>
                          <a:pt x="47" y="39"/>
                          <a:pt x="47" y="39"/>
                        </a:cubicBezTo>
                        <a:cubicBezTo>
                          <a:pt x="42" y="33"/>
                          <a:pt x="42" y="33"/>
                          <a:pt x="42" y="33"/>
                        </a:cubicBezTo>
                        <a:cubicBezTo>
                          <a:pt x="45" y="31"/>
                          <a:pt x="45" y="31"/>
                          <a:pt x="45" y="31"/>
                        </a:cubicBezTo>
                        <a:cubicBezTo>
                          <a:pt x="19" y="13"/>
                          <a:pt x="19" y="13"/>
                          <a:pt x="19" y="13"/>
                        </a:cubicBezTo>
                        <a:cubicBezTo>
                          <a:pt x="19" y="13"/>
                          <a:pt x="6" y="15"/>
                          <a:pt x="4" y="14"/>
                        </a:cubicBezTo>
                        <a:cubicBezTo>
                          <a:pt x="2" y="14"/>
                          <a:pt x="0" y="11"/>
                          <a:pt x="1" y="11"/>
                        </a:cubicBezTo>
                        <a:cubicBezTo>
                          <a:pt x="5" y="9"/>
                          <a:pt x="21" y="5"/>
                          <a:pt x="21" y="5"/>
                        </a:cubicBezTo>
                        <a:cubicBezTo>
                          <a:pt x="21" y="5"/>
                          <a:pt x="32" y="0"/>
                          <a:pt x="35" y="2"/>
                        </a:cubicBezTo>
                        <a:cubicBezTo>
                          <a:pt x="38" y="3"/>
                          <a:pt x="40" y="6"/>
                          <a:pt x="40" y="6"/>
                        </a:cubicBezTo>
                        <a:cubicBezTo>
                          <a:pt x="68" y="21"/>
                          <a:pt x="68" y="21"/>
                          <a:pt x="68" y="21"/>
                        </a:cubicBezTo>
                        <a:lnTo>
                          <a:pt x="71" y="4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" name="Freeform 281">
                    <a:extLst>
                      <a:ext uri="{FF2B5EF4-FFF2-40B4-BE49-F238E27FC236}">
                        <a16:creationId xmlns:a16="http://schemas.microsoft.com/office/drawing/2014/main" id="{CF16E261-64A7-38D4-6815-6055B04DB04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978651" y="4955382"/>
                    <a:ext cx="785813" cy="319088"/>
                  </a:xfrm>
                  <a:custGeom>
                    <a:avLst/>
                    <a:gdLst>
                      <a:gd name="T0" fmla="*/ 400 w 400"/>
                      <a:gd name="T1" fmla="*/ 96 h 163"/>
                      <a:gd name="T2" fmla="*/ 199 w 400"/>
                      <a:gd name="T3" fmla="*/ 146 h 163"/>
                      <a:gd name="T4" fmla="*/ 21 w 400"/>
                      <a:gd name="T5" fmla="*/ 163 h 163"/>
                      <a:gd name="T6" fmla="*/ 0 w 400"/>
                      <a:gd name="T7" fmla="*/ 142 h 163"/>
                      <a:gd name="T8" fmla="*/ 188 w 400"/>
                      <a:gd name="T9" fmla="*/ 100 h 163"/>
                      <a:gd name="T10" fmla="*/ 342 w 400"/>
                      <a:gd name="T11" fmla="*/ 0 h 163"/>
                      <a:gd name="T12" fmla="*/ 400 w 400"/>
                      <a:gd name="T13" fmla="*/ 96 h 1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00" h="163">
                        <a:moveTo>
                          <a:pt x="400" y="96"/>
                        </a:moveTo>
                        <a:cubicBezTo>
                          <a:pt x="400" y="96"/>
                          <a:pt x="268" y="137"/>
                          <a:pt x="199" y="146"/>
                        </a:cubicBezTo>
                        <a:cubicBezTo>
                          <a:pt x="130" y="154"/>
                          <a:pt x="21" y="163"/>
                          <a:pt x="21" y="163"/>
                        </a:cubicBezTo>
                        <a:cubicBezTo>
                          <a:pt x="21" y="163"/>
                          <a:pt x="0" y="151"/>
                          <a:pt x="0" y="142"/>
                        </a:cubicBezTo>
                        <a:cubicBezTo>
                          <a:pt x="59" y="127"/>
                          <a:pt x="141" y="104"/>
                          <a:pt x="188" y="100"/>
                        </a:cubicBezTo>
                        <a:cubicBezTo>
                          <a:pt x="246" y="73"/>
                          <a:pt x="342" y="0"/>
                          <a:pt x="342" y="0"/>
                        </a:cubicBezTo>
                        <a:lnTo>
                          <a:pt x="400" y="96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" name="Freeform 282">
                    <a:extLst>
                      <a:ext uri="{FF2B5EF4-FFF2-40B4-BE49-F238E27FC236}">
                        <a16:creationId xmlns:a16="http://schemas.microsoft.com/office/drawing/2014/main" id="{6F224F4E-CB41-93E0-A5F7-8BA940E90A5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135938" y="5620545"/>
                    <a:ext cx="774700" cy="719138"/>
                  </a:xfrm>
                  <a:custGeom>
                    <a:avLst/>
                    <a:gdLst>
                      <a:gd name="T0" fmla="*/ 17 w 394"/>
                      <a:gd name="T1" fmla="*/ 40 h 367"/>
                      <a:gd name="T2" fmla="*/ 146 w 394"/>
                      <a:gd name="T3" fmla="*/ 44 h 367"/>
                      <a:gd name="T4" fmla="*/ 173 w 394"/>
                      <a:gd name="T5" fmla="*/ 241 h 367"/>
                      <a:gd name="T6" fmla="*/ 349 w 394"/>
                      <a:gd name="T7" fmla="*/ 73 h 367"/>
                      <a:gd name="T8" fmla="*/ 391 w 394"/>
                      <a:gd name="T9" fmla="*/ 85 h 367"/>
                      <a:gd name="T10" fmla="*/ 206 w 394"/>
                      <a:gd name="T11" fmla="*/ 317 h 367"/>
                      <a:gd name="T12" fmla="*/ 106 w 394"/>
                      <a:gd name="T13" fmla="*/ 306 h 367"/>
                      <a:gd name="T14" fmla="*/ 0 w 394"/>
                      <a:gd name="T15" fmla="*/ 104 h 367"/>
                      <a:gd name="T16" fmla="*/ 17 w 394"/>
                      <a:gd name="T17" fmla="*/ 40 h 3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394" h="367">
                        <a:moveTo>
                          <a:pt x="17" y="40"/>
                        </a:moveTo>
                        <a:cubicBezTo>
                          <a:pt x="17" y="40"/>
                          <a:pt x="130" y="0"/>
                          <a:pt x="146" y="44"/>
                        </a:cubicBezTo>
                        <a:cubicBezTo>
                          <a:pt x="163" y="91"/>
                          <a:pt x="172" y="182"/>
                          <a:pt x="173" y="241"/>
                        </a:cubicBezTo>
                        <a:cubicBezTo>
                          <a:pt x="349" y="73"/>
                          <a:pt x="349" y="73"/>
                          <a:pt x="349" y="73"/>
                        </a:cubicBezTo>
                        <a:cubicBezTo>
                          <a:pt x="349" y="73"/>
                          <a:pt x="394" y="80"/>
                          <a:pt x="391" y="85"/>
                        </a:cubicBezTo>
                        <a:cubicBezTo>
                          <a:pt x="342" y="150"/>
                          <a:pt x="218" y="300"/>
                          <a:pt x="206" y="317"/>
                        </a:cubicBezTo>
                        <a:cubicBezTo>
                          <a:pt x="191" y="337"/>
                          <a:pt x="140" y="367"/>
                          <a:pt x="106" y="306"/>
                        </a:cubicBezTo>
                        <a:cubicBezTo>
                          <a:pt x="72" y="246"/>
                          <a:pt x="20" y="143"/>
                          <a:pt x="0" y="104"/>
                        </a:cubicBezTo>
                        <a:cubicBezTo>
                          <a:pt x="151" y="97"/>
                          <a:pt x="17" y="40"/>
                          <a:pt x="17" y="4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" name="Freeform 283">
                    <a:extLst>
                      <a:ext uri="{FF2B5EF4-FFF2-40B4-BE49-F238E27FC236}">
                        <a16:creationId xmlns:a16="http://schemas.microsoft.com/office/drawing/2014/main" id="{3C682015-87D5-77F2-6243-74738986622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6813" y="4979195"/>
                    <a:ext cx="476250" cy="577850"/>
                  </a:xfrm>
                  <a:custGeom>
                    <a:avLst/>
                    <a:gdLst>
                      <a:gd name="T0" fmla="*/ 242 w 242"/>
                      <a:gd name="T1" fmla="*/ 295 h 295"/>
                      <a:gd name="T2" fmla="*/ 171 w 242"/>
                      <a:gd name="T3" fmla="*/ 242 h 295"/>
                      <a:gd name="T4" fmla="*/ 64 w 242"/>
                      <a:gd name="T5" fmla="*/ 159 h 295"/>
                      <a:gd name="T6" fmla="*/ 35 w 242"/>
                      <a:gd name="T7" fmla="*/ 0 h 295"/>
                      <a:gd name="T8" fmla="*/ 242 w 242"/>
                      <a:gd name="T9" fmla="*/ 295 h 2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2" h="295">
                        <a:moveTo>
                          <a:pt x="242" y="295"/>
                        </a:moveTo>
                        <a:cubicBezTo>
                          <a:pt x="242" y="295"/>
                          <a:pt x="196" y="254"/>
                          <a:pt x="171" y="242"/>
                        </a:cubicBezTo>
                        <a:cubicBezTo>
                          <a:pt x="130" y="221"/>
                          <a:pt x="93" y="197"/>
                          <a:pt x="64" y="159"/>
                        </a:cubicBezTo>
                        <a:cubicBezTo>
                          <a:pt x="0" y="74"/>
                          <a:pt x="35" y="0"/>
                          <a:pt x="35" y="0"/>
                        </a:cubicBezTo>
                        <a:cubicBezTo>
                          <a:pt x="242" y="295"/>
                          <a:pt x="242" y="295"/>
                          <a:pt x="242" y="295"/>
                        </a:cubicBezTo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" name="Freeform 284">
                    <a:extLst>
                      <a:ext uri="{FF2B5EF4-FFF2-40B4-BE49-F238E27FC236}">
                        <a16:creationId xmlns:a16="http://schemas.microsoft.com/office/drawing/2014/main" id="{591B173D-29E7-6CAA-1544-BC31F99765B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66026" y="4920457"/>
                    <a:ext cx="841375" cy="669925"/>
                  </a:xfrm>
                  <a:custGeom>
                    <a:avLst/>
                    <a:gdLst>
                      <a:gd name="T0" fmla="*/ 231 w 428"/>
                      <a:gd name="T1" fmla="*/ 342 h 342"/>
                      <a:gd name="T2" fmla="*/ 52 w 428"/>
                      <a:gd name="T3" fmla="*/ 161 h 342"/>
                      <a:gd name="T4" fmla="*/ 7 w 428"/>
                      <a:gd name="T5" fmla="*/ 36 h 342"/>
                      <a:gd name="T6" fmla="*/ 46 w 428"/>
                      <a:gd name="T7" fmla="*/ 0 h 342"/>
                      <a:gd name="T8" fmla="*/ 238 w 428"/>
                      <a:gd name="T9" fmla="*/ 76 h 342"/>
                      <a:gd name="T10" fmla="*/ 428 w 428"/>
                      <a:gd name="T11" fmla="*/ 295 h 342"/>
                      <a:gd name="T12" fmla="*/ 231 w 428"/>
                      <a:gd name="T13" fmla="*/ 342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28" h="342">
                        <a:moveTo>
                          <a:pt x="231" y="342"/>
                        </a:moveTo>
                        <a:cubicBezTo>
                          <a:pt x="231" y="342"/>
                          <a:pt x="137" y="240"/>
                          <a:pt x="52" y="161"/>
                        </a:cubicBezTo>
                        <a:cubicBezTo>
                          <a:pt x="0" y="114"/>
                          <a:pt x="7" y="36"/>
                          <a:pt x="7" y="36"/>
                        </a:cubicBezTo>
                        <a:cubicBezTo>
                          <a:pt x="7" y="36"/>
                          <a:pt x="26" y="6"/>
                          <a:pt x="46" y="0"/>
                        </a:cubicBezTo>
                        <a:cubicBezTo>
                          <a:pt x="83" y="5"/>
                          <a:pt x="171" y="13"/>
                          <a:pt x="238" y="76"/>
                        </a:cubicBezTo>
                        <a:cubicBezTo>
                          <a:pt x="333" y="166"/>
                          <a:pt x="428" y="295"/>
                          <a:pt x="428" y="295"/>
                        </a:cubicBezTo>
                        <a:cubicBezTo>
                          <a:pt x="231" y="342"/>
                          <a:pt x="231" y="342"/>
                          <a:pt x="231" y="342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" name="Freeform 285">
                    <a:extLst>
                      <a:ext uri="{FF2B5EF4-FFF2-40B4-BE49-F238E27FC236}">
                        <a16:creationId xmlns:a16="http://schemas.microsoft.com/office/drawing/2014/main" id="{9F1C7C27-7EE1-F1E4-E282-5913234F734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704138" y="5168107"/>
                    <a:ext cx="355600" cy="409575"/>
                  </a:xfrm>
                  <a:custGeom>
                    <a:avLst/>
                    <a:gdLst>
                      <a:gd name="T0" fmla="*/ 0 w 181"/>
                      <a:gd name="T1" fmla="*/ 0 h 208"/>
                      <a:gd name="T2" fmla="*/ 88 w 181"/>
                      <a:gd name="T3" fmla="*/ 99 h 208"/>
                      <a:gd name="T4" fmla="*/ 164 w 181"/>
                      <a:gd name="T5" fmla="*/ 205 h 208"/>
                      <a:gd name="T6" fmla="*/ 181 w 181"/>
                      <a:gd name="T7" fmla="*/ 208 h 208"/>
                      <a:gd name="T8" fmla="*/ 88 w 181"/>
                      <a:gd name="T9" fmla="*/ 91 h 208"/>
                      <a:gd name="T10" fmla="*/ 0 w 181"/>
                      <a:gd name="T11" fmla="*/ 0 h 2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81" h="208">
                        <a:moveTo>
                          <a:pt x="0" y="0"/>
                        </a:moveTo>
                        <a:cubicBezTo>
                          <a:pt x="0" y="0"/>
                          <a:pt x="35" y="72"/>
                          <a:pt x="88" y="99"/>
                        </a:cubicBezTo>
                        <a:cubicBezTo>
                          <a:pt x="137" y="123"/>
                          <a:pt x="164" y="205"/>
                          <a:pt x="164" y="205"/>
                        </a:cubicBezTo>
                        <a:cubicBezTo>
                          <a:pt x="181" y="208"/>
                          <a:pt x="181" y="208"/>
                          <a:pt x="181" y="208"/>
                        </a:cubicBezTo>
                        <a:cubicBezTo>
                          <a:pt x="181" y="208"/>
                          <a:pt x="140" y="131"/>
                          <a:pt x="88" y="91"/>
                        </a:cubicBezTo>
                        <a:cubicBezTo>
                          <a:pt x="36" y="5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A0C9DC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" name="Freeform 286">
                    <a:extLst>
                      <a:ext uri="{FF2B5EF4-FFF2-40B4-BE49-F238E27FC236}">
                        <a16:creationId xmlns:a16="http://schemas.microsoft.com/office/drawing/2014/main" id="{BF2ABA41-9319-B8FA-18C9-A54BFF9319C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602538" y="4922045"/>
                    <a:ext cx="82550" cy="117475"/>
                  </a:xfrm>
                  <a:custGeom>
                    <a:avLst/>
                    <a:gdLst>
                      <a:gd name="T0" fmla="*/ 36 w 42"/>
                      <a:gd name="T1" fmla="*/ 0 h 60"/>
                      <a:gd name="T2" fmla="*/ 42 w 42"/>
                      <a:gd name="T3" fmla="*/ 4 h 60"/>
                      <a:gd name="T4" fmla="*/ 36 w 42"/>
                      <a:gd name="T5" fmla="*/ 52 h 60"/>
                      <a:gd name="T6" fmla="*/ 0 w 42"/>
                      <a:gd name="T7" fmla="*/ 47 h 60"/>
                      <a:gd name="T8" fmla="*/ 36 w 42"/>
                      <a:gd name="T9" fmla="*/ 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2" h="60">
                        <a:moveTo>
                          <a:pt x="36" y="0"/>
                        </a:moveTo>
                        <a:cubicBezTo>
                          <a:pt x="42" y="4"/>
                          <a:pt x="42" y="4"/>
                          <a:pt x="42" y="4"/>
                        </a:cubicBezTo>
                        <a:cubicBezTo>
                          <a:pt x="36" y="52"/>
                          <a:pt x="36" y="52"/>
                          <a:pt x="36" y="52"/>
                        </a:cubicBezTo>
                        <a:cubicBezTo>
                          <a:pt x="36" y="52"/>
                          <a:pt x="23" y="60"/>
                          <a:pt x="0" y="47"/>
                        </a:cubicBezTo>
                        <a:cubicBezTo>
                          <a:pt x="21" y="35"/>
                          <a:pt x="36" y="0"/>
                          <a:pt x="36" y="0"/>
                        </a:cubicBezTo>
                        <a:close/>
                      </a:path>
                    </a:pathLst>
                  </a:custGeom>
                  <a:solidFill>
                    <a:srgbClr val="1D99B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" name="Freeform 287">
                    <a:extLst>
                      <a:ext uri="{FF2B5EF4-FFF2-40B4-BE49-F238E27FC236}">
                        <a16:creationId xmlns:a16="http://schemas.microsoft.com/office/drawing/2014/main" id="{77475593-432B-5FE7-1DF8-7301C9F7AE0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89838" y="5015707"/>
                    <a:ext cx="503238" cy="488950"/>
                  </a:xfrm>
                  <a:custGeom>
                    <a:avLst/>
                    <a:gdLst>
                      <a:gd name="T0" fmla="*/ 6 w 256"/>
                      <a:gd name="T1" fmla="*/ 0 h 249"/>
                      <a:gd name="T2" fmla="*/ 0 w 256"/>
                      <a:gd name="T3" fmla="*/ 10 h 249"/>
                      <a:gd name="T4" fmla="*/ 10 w 256"/>
                      <a:gd name="T5" fmla="*/ 24 h 249"/>
                      <a:gd name="T6" fmla="*/ 37 w 256"/>
                      <a:gd name="T7" fmla="*/ 123 h 249"/>
                      <a:gd name="T8" fmla="*/ 222 w 256"/>
                      <a:gd name="T9" fmla="*/ 249 h 249"/>
                      <a:gd name="T10" fmla="*/ 256 w 256"/>
                      <a:gd name="T11" fmla="*/ 231 h 249"/>
                      <a:gd name="T12" fmla="*/ 235 w 256"/>
                      <a:gd name="T13" fmla="*/ 193 h 249"/>
                      <a:gd name="T14" fmla="*/ 56 w 256"/>
                      <a:gd name="T15" fmla="*/ 106 h 249"/>
                      <a:gd name="T16" fmla="*/ 18 w 256"/>
                      <a:gd name="T17" fmla="*/ 21 h 249"/>
                      <a:gd name="T18" fmla="*/ 27 w 256"/>
                      <a:gd name="T19" fmla="*/ 6 h 249"/>
                      <a:gd name="T20" fmla="*/ 6 w 256"/>
                      <a:gd name="T21" fmla="*/ 0 h 2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56" h="249">
                        <a:moveTo>
                          <a:pt x="6" y="0"/>
                        </a:moveTo>
                        <a:cubicBezTo>
                          <a:pt x="6" y="0"/>
                          <a:pt x="2" y="4"/>
                          <a:pt x="0" y="10"/>
                        </a:cubicBezTo>
                        <a:cubicBezTo>
                          <a:pt x="3" y="16"/>
                          <a:pt x="10" y="24"/>
                          <a:pt x="10" y="24"/>
                        </a:cubicBezTo>
                        <a:cubicBezTo>
                          <a:pt x="10" y="24"/>
                          <a:pt x="6" y="73"/>
                          <a:pt x="37" y="123"/>
                        </a:cubicBezTo>
                        <a:cubicBezTo>
                          <a:pt x="84" y="200"/>
                          <a:pt x="222" y="249"/>
                          <a:pt x="222" y="249"/>
                        </a:cubicBezTo>
                        <a:cubicBezTo>
                          <a:pt x="256" y="231"/>
                          <a:pt x="256" y="231"/>
                          <a:pt x="256" y="231"/>
                        </a:cubicBezTo>
                        <a:cubicBezTo>
                          <a:pt x="235" y="193"/>
                          <a:pt x="235" y="193"/>
                          <a:pt x="235" y="193"/>
                        </a:cubicBezTo>
                        <a:cubicBezTo>
                          <a:pt x="235" y="193"/>
                          <a:pt x="111" y="175"/>
                          <a:pt x="56" y="106"/>
                        </a:cubicBezTo>
                        <a:cubicBezTo>
                          <a:pt x="18" y="58"/>
                          <a:pt x="18" y="21"/>
                          <a:pt x="18" y="21"/>
                        </a:cubicBezTo>
                        <a:cubicBezTo>
                          <a:pt x="18" y="21"/>
                          <a:pt x="24" y="13"/>
                          <a:pt x="27" y="6"/>
                        </a:cubicBezTo>
                        <a:cubicBezTo>
                          <a:pt x="15" y="5"/>
                          <a:pt x="6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Freeform 288">
                    <a:extLst>
                      <a:ext uri="{FF2B5EF4-FFF2-40B4-BE49-F238E27FC236}">
                        <a16:creationId xmlns:a16="http://schemas.microsoft.com/office/drawing/2014/main" id="{7EF2A137-F104-6AB4-0AE1-2287D818883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67601" y="4853782"/>
                    <a:ext cx="206375" cy="160338"/>
                  </a:xfrm>
                  <a:custGeom>
                    <a:avLst/>
                    <a:gdLst>
                      <a:gd name="T0" fmla="*/ 105 w 105"/>
                      <a:gd name="T1" fmla="*/ 35 h 82"/>
                      <a:gd name="T2" fmla="*/ 93 w 105"/>
                      <a:gd name="T3" fmla="*/ 22 h 82"/>
                      <a:gd name="T4" fmla="*/ 67 w 105"/>
                      <a:gd name="T5" fmla="*/ 0 h 82"/>
                      <a:gd name="T6" fmla="*/ 54 w 105"/>
                      <a:gd name="T7" fmla="*/ 34 h 82"/>
                      <a:gd name="T8" fmla="*/ 34 w 105"/>
                      <a:gd name="T9" fmla="*/ 55 h 82"/>
                      <a:gd name="T10" fmla="*/ 0 w 105"/>
                      <a:gd name="T11" fmla="*/ 56 h 82"/>
                      <a:gd name="T12" fmla="*/ 69 w 105"/>
                      <a:gd name="T13" fmla="*/ 82 h 82"/>
                      <a:gd name="T14" fmla="*/ 105 w 105"/>
                      <a:gd name="T15" fmla="*/ 35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5" h="82">
                        <a:moveTo>
                          <a:pt x="105" y="35"/>
                        </a:moveTo>
                        <a:cubicBezTo>
                          <a:pt x="99" y="32"/>
                          <a:pt x="93" y="22"/>
                          <a:pt x="93" y="22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67" y="0"/>
                          <a:pt x="57" y="21"/>
                          <a:pt x="54" y="34"/>
                        </a:cubicBezTo>
                        <a:cubicBezTo>
                          <a:pt x="52" y="46"/>
                          <a:pt x="39" y="54"/>
                          <a:pt x="34" y="55"/>
                        </a:cubicBezTo>
                        <a:cubicBezTo>
                          <a:pt x="22" y="56"/>
                          <a:pt x="0" y="56"/>
                          <a:pt x="0" y="56"/>
                        </a:cubicBezTo>
                        <a:cubicBezTo>
                          <a:pt x="0" y="56"/>
                          <a:pt x="50" y="69"/>
                          <a:pt x="69" y="82"/>
                        </a:cubicBezTo>
                        <a:cubicBezTo>
                          <a:pt x="91" y="67"/>
                          <a:pt x="101" y="42"/>
                          <a:pt x="105" y="35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" name="Freeform 289">
                    <a:extLst>
                      <a:ext uri="{FF2B5EF4-FFF2-40B4-BE49-F238E27FC236}">
                        <a16:creationId xmlns:a16="http://schemas.microsoft.com/office/drawing/2014/main" id="{D308CF3F-3190-9B2A-455C-358B663DD22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50138" y="4755357"/>
                    <a:ext cx="163513" cy="207963"/>
                  </a:xfrm>
                  <a:custGeom>
                    <a:avLst/>
                    <a:gdLst>
                      <a:gd name="T0" fmla="*/ 9 w 83"/>
                      <a:gd name="T1" fmla="*/ 106 h 106"/>
                      <a:gd name="T2" fmla="*/ 47 w 83"/>
                      <a:gd name="T3" fmla="*/ 105 h 106"/>
                      <a:gd name="T4" fmla="*/ 62 w 83"/>
                      <a:gd name="T5" fmla="*/ 91 h 106"/>
                      <a:gd name="T6" fmla="*/ 69 w 83"/>
                      <a:gd name="T7" fmla="*/ 69 h 106"/>
                      <a:gd name="T8" fmla="*/ 78 w 83"/>
                      <a:gd name="T9" fmla="*/ 62 h 106"/>
                      <a:gd name="T10" fmla="*/ 73 w 83"/>
                      <a:gd name="T11" fmla="*/ 48 h 106"/>
                      <a:gd name="T12" fmla="*/ 70 w 83"/>
                      <a:gd name="T13" fmla="*/ 6 h 106"/>
                      <a:gd name="T14" fmla="*/ 50 w 83"/>
                      <a:gd name="T15" fmla="*/ 0 h 106"/>
                      <a:gd name="T16" fmla="*/ 32 w 83"/>
                      <a:gd name="T17" fmla="*/ 10 h 106"/>
                      <a:gd name="T18" fmla="*/ 0 w 83"/>
                      <a:gd name="T19" fmla="*/ 60 h 106"/>
                      <a:gd name="T20" fmla="*/ 4 w 83"/>
                      <a:gd name="T21" fmla="*/ 63 h 106"/>
                      <a:gd name="T22" fmla="*/ 12 w 83"/>
                      <a:gd name="T23" fmla="*/ 65 h 106"/>
                      <a:gd name="T24" fmla="*/ 8 w 83"/>
                      <a:gd name="T25" fmla="*/ 105 h 106"/>
                      <a:gd name="T26" fmla="*/ 9 w 83"/>
                      <a:gd name="T27" fmla="*/ 106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83" h="106">
                        <a:moveTo>
                          <a:pt x="9" y="106"/>
                        </a:moveTo>
                        <a:cubicBezTo>
                          <a:pt x="19" y="106"/>
                          <a:pt x="38" y="106"/>
                          <a:pt x="47" y="105"/>
                        </a:cubicBezTo>
                        <a:cubicBezTo>
                          <a:pt x="60" y="104"/>
                          <a:pt x="62" y="91"/>
                          <a:pt x="62" y="91"/>
                        </a:cubicBezTo>
                        <a:cubicBezTo>
                          <a:pt x="69" y="69"/>
                          <a:pt x="69" y="69"/>
                          <a:pt x="69" y="69"/>
                        </a:cubicBezTo>
                        <a:cubicBezTo>
                          <a:pt x="69" y="69"/>
                          <a:pt x="74" y="67"/>
                          <a:pt x="78" y="62"/>
                        </a:cubicBezTo>
                        <a:cubicBezTo>
                          <a:pt x="80" y="60"/>
                          <a:pt x="83" y="52"/>
                          <a:pt x="73" y="48"/>
                        </a:cubicBezTo>
                        <a:cubicBezTo>
                          <a:pt x="58" y="42"/>
                          <a:pt x="70" y="6"/>
                          <a:pt x="70" y="6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0" y="60"/>
                          <a:pt x="0" y="63"/>
                          <a:pt x="4" y="63"/>
                        </a:cubicBezTo>
                        <a:cubicBezTo>
                          <a:pt x="7" y="63"/>
                          <a:pt x="12" y="65"/>
                          <a:pt x="12" y="65"/>
                        </a:cubicBezTo>
                        <a:cubicBezTo>
                          <a:pt x="12" y="65"/>
                          <a:pt x="8" y="102"/>
                          <a:pt x="8" y="105"/>
                        </a:cubicBezTo>
                        <a:cubicBezTo>
                          <a:pt x="8" y="106"/>
                          <a:pt x="9" y="106"/>
                          <a:pt x="9" y="106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2" name="Freeform 290">
                    <a:extLst>
                      <a:ext uri="{FF2B5EF4-FFF2-40B4-BE49-F238E27FC236}">
                        <a16:creationId xmlns:a16="http://schemas.microsoft.com/office/drawing/2014/main" id="{5CB01CCC-3D70-D329-0F00-A801BBE62CD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91413" y="4823620"/>
                    <a:ext cx="33338" cy="17463"/>
                  </a:xfrm>
                  <a:custGeom>
                    <a:avLst/>
                    <a:gdLst>
                      <a:gd name="T0" fmla="*/ 1 w 17"/>
                      <a:gd name="T1" fmla="*/ 6 h 9"/>
                      <a:gd name="T2" fmla="*/ 4 w 17"/>
                      <a:gd name="T3" fmla="*/ 9 h 9"/>
                      <a:gd name="T4" fmla="*/ 15 w 17"/>
                      <a:gd name="T5" fmla="*/ 8 h 9"/>
                      <a:gd name="T6" fmla="*/ 2 w 17"/>
                      <a:gd name="T7" fmla="*/ 2 h 9"/>
                      <a:gd name="T8" fmla="*/ 1 w 17"/>
                      <a:gd name="T9" fmla="*/ 6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7" h="9">
                        <a:moveTo>
                          <a:pt x="1" y="6"/>
                        </a:moveTo>
                        <a:cubicBezTo>
                          <a:pt x="1" y="9"/>
                          <a:pt x="1" y="9"/>
                          <a:pt x="4" y="9"/>
                        </a:cubicBezTo>
                        <a:cubicBezTo>
                          <a:pt x="7" y="9"/>
                          <a:pt x="17" y="9"/>
                          <a:pt x="15" y="8"/>
                        </a:cubicBezTo>
                        <a:cubicBezTo>
                          <a:pt x="14" y="8"/>
                          <a:pt x="10" y="6"/>
                          <a:pt x="2" y="2"/>
                        </a:cubicBezTo>
                        <a:cubicBezTo>
                          <a:pt x="0" y="0"/>
                          <a:pt x="1" y="3"/>
                          <a:pt x="1" y="6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3" name="Freeform 291">
                    <a:extLst>
                      <a:ext uri="{FF2B5EF4-FFF2-40B4-BE49-F238E27FC236}">
                        <a16:creationId xmlns:a16="http://schemas.microsoft.com/office/drawing/2014/main" id="{033B6F7D-245D-63CD-1FE4-319ADA01963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07288" y="4723607"/>
                    <a:ext cx="157163" cy="173038"/>
                  </a:xfrm>
                  <a:custGeom>
                    <a:avLst/>
                    <a:gdLst>
                      <a:gd name="T0" fmla="*/ 76 w 80"/>
                      <a:gd name="T1" fmla="*/ 31 h 88"/>
                      <a:gd name="T2" fmla="*/ 1 w 80"/>
                      <a:gd name="T3" fmla="*/ 14 h 88"/>
                      <a:gd name="T4" fmla="*/ 3 w 80"/>
                      <a:gd name="T5" fmla="*/ 26 h 88"/>
                      <a:gd name="T6" fmla="*/ 31 w 80"/>
                      <a:gd name="T7" fmla="*/ 35 h 88"/>
                      <a:gd name="T8" fmla="*/ 27 w 80"/>
                      <a:gd name="T9" fmla="*/ 78 h 88"/>
                      <a:gd name="T10" fmla="*/ 47 w 80"/>
                      <a:gd name="T11" fmla="*/ 66 h 88"/>
                      <a:gd name="T12" fmla="*/ 74 w 80"/>
                      <a:gd name="T13" fmla="*/ 88 h 88"/>
                      <a:gd name="T14" fmla="*/ 76 w 80"/>
                      <a:gd name="T15" fmla="*/ 31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0" h="88">
                        <a:moveTo>
                          <a:pt x="76" y="31"/>
                        </a:moveTo>
                        <a:cubicBezTo>
                          <a:pt x="26" y="2"/>
                          <a:pt x="6" y="0"/>
                          <a:pt x="1" y="14"/>
                        </a:cubicBezTo>
                        <a:cubicBezTo>
                          <a:pt x="0" y="17"/>
                          <a:pt x="0" y="22"/>
                          <a:pt x="3" y="26"/>
                        </a:cubicBezTo>
                        <a:cubicBezTo>
                          <a:pt x="19" y="24"/>
                          <a:pt x="35" y="24"/>
                          <a:pt x="31" y="35"/>
                        </a:cubicBezTo>
                        <a:cubicBezTo>
                          <a:pt x="30" y="39"/>
                          <a:pt x="13" y="76"/>
                          <a:pt x="27" y="78"/>
                        </a:cubicBezTo>
                        <a:cubicBezTo>
                          <a:pt x="30" y="73"/>
                          <a:pt x="37" y="60"/>
                          <a:pt x="47" y="66"/>
                        </a:cubicBezTo>
                        <a:cubicBezTo>
                          <a:pt x="53" y="69"/>
                          <a:pt x="47" y="83"/>
                          <a:pt x="74" y="88"/>
                        </a:cubicBezTo>
                        <a:cubicBezTo>
                          <a:pt x="76" y="66"/>
                          <a:pt x="80" y="39"/>
                          <a:pt x="76" y="31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4" name="Freeform 292">
                    <a:extLst>
                      <a:ext uri="{FF2B5EF4-FFF2-40B4-BE49-F238E27FC236}">
                        <a16:creationId xmlns:a16="http://schemas.microsoft.com/office/drawing/2014/main" id="{AABC23D2-87E7-0625-7203-BE603018EDF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215188" y="4896645"/>
                    <a:ext cx="711200" cy="517525"/>
                  </a:xfrm>
                  <a:custGeom>
                    <a:avLst/>
                    <a:gdLst>
                      <a:gd name="T0" fmla="*/ 339 w 362"/>
                      <a:gd name="T1" fmla="*/ 123 h 264"/>
                      <a:gd name="T2" fmla="*/ 256 w 362"/>
                      <a:gd name="T3" fmla="*/ 236 h 264"/>
                      <a:gd name="T4" fmla="*/ 191 w 362"/>
                      <a:gd name="T5" fmla="*/ 262 h 264"/>
                      <a:gd name="T6" fmla="*/ 3 w 362"/>
                      <a:gd name="T7" fmla="*/ 259 h 264"/>
                      <a:gd name="T8" fmla="*/ 0 w 362"/>
                      <a:gd name="T9" fmla="*/ 236 h 264"/>
                      <a:gd name="T10" fmla="*/ 200 w 362"/>
                      <a:gd name="T11" fmla="*/ 220 h 264"/>
                      <a:gd name="T12" fmla="*/ 268 w 362"/>
                      <a:gd name="T13" fmla="*/ 58 h 264"/>
                      <a:gd name="T14" fmla="*/ 339 w 362"/>
                      <a:gd name="T15" fmla="*/ 123 h 2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62" h="264">
                        <a:moveTo>
                          <a:pt x="339" y="123"/>
                        </a:moveTo>
                        <a:cubicBezTo>
                          <a:pt x="316" y="156"/>
                          <a:pt x="262" y="228"/>
                          <a:pt x="256" y="236"/>
                        </a:cubicBezTo>
                        <a:cubicBezTo>
                          <a:pt x="249" y="243"/>
                          <a:pt x="241" y="262"/>
                          <a:pt x="191" y="262"/>
                        </a:cubicBezTo>
                        <a:cubicBezTo>
                          <a:pt x="126" y="264"/>
                          <a:pt x="3" y="259"/>
                          <a:pt x="3" y="259"/>
                        </a:cubicBezTo>
                        <a:cubicBezTo>
                          <a:pt x="3" y="259"/>
                          <a:pt x="1" y="247"/>
                          <a:pt x="0" y="236"/>
                        </a:cubicBezTo>
                        <a:cubicBezTo>
                          <a:pt x="71" y="229"/>
                          <a:pt x="200" y="220"/>
                          <a:pt x="200" y="220"/>
                        </a:cubicBezTo>
                        <a:cubicBezTo>
                          <a:pt x="200" y="220"/>
                          <a:pt x="250" y="92"/>
                          <a:pt x="268" y="58"/>
                        </a:cubicBezTo>
                        <a:cubicBezTo>
                          <a:pt x="315" y="0"/>
                          <a:pt x="362" y="89"/>
                          <a:pt x="339" y="123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7" name="Freeform 293">
                    <a:extLst>
                      <a:ext uri="{FF2B5EF4-FFF2-40B4-BE49-F238E27FC236}">
                        <a16:creationId xmlns:a16="http://schemas.microsoft.com/office/drawing/2014/main" id="{285E4751-F298-4C59-AD13-0B01D0CEFD8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26326" y="6409532"/>
                    <a:ext cx="142875" cy="50800"/>
                  </a:xfrm>
                  <a:custGeom>
                    <a:avLst/>
                    <a:gdLst>
                      <a:gd name="T0" fmla="*/ 72 w 72"/>
                      <a:gd name="T1" fmla="*/ 4 h 26"/>
                      <a:gd name="T2" fmla="*/ 72 w 72"/>
                      <a:gd name="T3" fmla="*/ 26 h 26"/>
                      <a:gd name="T4" fmla="*/ 53 w 72"/>
                      <a:gd name="T5" fmla="*/ 26 h 26"/>
                      <a:gd name="T6" fmla="*/ 53 w 72"/>
                      <a:gd name="T7" fmla="*/ 18 h 26"/>
                      <a:gd name="T8" fmla="*/ 27 w 72"/>
                      <a:gd name="T9" fmla="*/ 26 h 26"/>
                      <a:gd name="T10" fmla="*/ 3 w 72"/>
                      <a:gd name="T11" fmla="*/ 25 h 26"/>
                      <a:gd name="T12" fmla="*/ 4 w 72"/>
                      <a:gd name="T13" fmla="*/ 20 h 26"/>
                      <a:gd name="T14" fmla="*/ 29 w 72"/>
                      <a:gd name="T15" fmla="*/ 13 h 26"/>
                      <a:gd name="T16" fmla="*/ 48 w 72"/>
                      <a:gd name="T17" fmla="*/ 0 h 26"/>
                      <a:gd name="T18" fmla="*/ 72 w 72"/>
                      <a:gd name="T19" fmla="*/ 4 h 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2" h="26">
                        <a:moveTo>
                          <a:pt x="72" y="4"/>
                        </a:moveTo>
                        <a:cubicBezTo>
                          <a:pt x="72" y="26"/>
                          <a:pt x="72" y="26"/>
                          <a:pt x="72" y="26"/>
                        </a:cubicBez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18"/>
                          <a:pt x="53" y="18"/>
                          <a:pt x="53" y="18"/>
                        </a:cubicBezTo>
                        <a:cubicBezTo>
                          <a:pt x="27" y="26"/>
                          <a:pt x="27" y="26"/>
                          <a:pt x="27" y="26"/>
                        </a:cubicBezTo>
                        <a:cubicBezTo>
                          <a:pt x="3" y="25"/>
                          <a:pt x="3" y="25"/>
                          <a:pt x="3" y="25"/>
                        </a:cubicBezTo>
                        <a:cubicBezTo>
                          <a:pt x="3" y="25"/>
                          <a:pt x="0" y="21"/>
                          <a:pt x="4" y="20"/>
                        </a:cubicBezTo>
                        <a:cubicBezTo>
                          <a:pt x="5" y="20"/>
                          <a:pt x="29" y="13"/>
                          <a:pt x="29" y="13"/>
                        </a:cubicBezTo>
                        <a:cubicBezTo>
                          <a:pt x="48" y="0"/>
                          <a:pt x="48" y="0"/>
                          <a:pt x="48" y="0"/>
                        </a:cubicBezTo>
                        <a:lnTo>
                          <a:pt x="72" y="4"/>
                        </a:lnTo>
                        <a:close/>
                      </a:path>
                    </a:pathLst>
                  </a:custGeom>
                  <a:solidFill>
                    <a:srgbClr val="17235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8" name="Freeform 294">
                    <a:extLst>
                      <a:ext uri="{FF2B5EF4-FFF2-40B4-BE49-F238E27FC236}">
                        <a16:creationId xmlns:a16="http://schemas.microsoft.com/office/drawing/2014/main" id="{28DA757A-0683-2DED-8687-DA951B59638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2051" y="5498307"/>
                    <a:ext cx="1069975" cy="912813"/>
                  </a:xfrm>
                  <a:custGeom>
                    <a:avLst/>
                    <a:gdLst>
                      <a:gd name="T0" fmla="*/ 4 w 545"/>
                      <a:gd name="T1" fmla="*/ 465 h 465"/>
                      <a:gd name="T2" fmla="*/ 0 w 545"/>
                      <a:gd name="T3" fmla="*/ 147 h 465"/>
                      <a:gd name="T4" fmla="*/ 0 w 545"/>
                      <a:gd name="T5" fmla="*/ 147 h 465"/>
                      <a:gd name="T6" fmla="*/ 51 w 545"/>
                      <a:gd name="T7" fmla="*/ 77 h 465"/>
                      <a:gd name="T8" fmla="*/ 456 w 545"/>
                      <a:gd name="T9" fmla="*/ 0 h 465"/>
                      <a:gd name="T10" fmla="*/ 313 w 545"/>
                      <a:gd name="T11" fmla="*/ 160 h 465"/>
                      <a:gd name="T12" fmla="*/ 83 w 545"/>
                      <a:gd name="T13" fmla="*/ 160 h 465"/>
                      <a:gd name="T14" fmla="*/ 38 w 545"/>
                      <a:gd name="T15" fmla="*/ 463 h 465"/>
                      <a:gd name="T16" fmla="*/ 4 w 545"/>
                      <a:gd name="T17" fmla="*/ 465 h 4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545" h="465">
                        <a:moveTo>
                          <a:pt x="4" y="465"/>
                        </a:move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3" y="93"/>
                          <a:pt x="38" y="80"/>
                          <a:pt x="51" y="77"/>
                        </a:cubicBezTo>
                        <a:cubicBezTo>
                          <a:pt x="64" y="74"/>
                          <a:pt x="456" y="0"/>
                          <a:pt x="456" y="0"/>
                        </a:cubicBezTo>
                        <a:cubicBezTo>
                          <a:pt x="456" y="0"/>
                          <a:pt x="545" y="149"/>
                          <a:pt x="313" y="160"/>
                        </a:cubicBezTo>
                        <a:cubicBezTo>
                          <a:pt x="255" y="163"/>
                          <a:pt x="234" y="154"/>
                          <a:pt x="83" y="160"/>
                        </a:cubicBezTo>
                        <a:cubicBezTo>
                          <a:pt x="113" y="217"/>
                          <a:pt x="38" y="463"/>
                          <a:pt x="38" y="463"/>
                        </a:cubicBezTo>
                        <a:lnTo>
                          <a:pt x="4" y="46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9" name="Group 1028">
                  <a:extLst>
                    <a:ext uri="{FF2B5EF4-FFF2-40B4-BE49-F238E27FC236}">
                      <a16:creationId xmlns:a16="http://schemas.microsoft.com/office/drawing/2014/main" id="{844A9F80-9973-E037-228C-D4F25EA69530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683568" y="4089209"/>
                  <a:ext cx="936299" cy="705312"/>
                  <a:chOff x="9990467" y="4838701"/>
                  <a:chExt cx="1203326" cy="906463"/>
                </a:xfrm>
              </p:grpSpPr>
              <p:sp>
                <p:nvSpPr>
                  <p:cNvPr id="27" name="Freeform 277">
                    <a:extLst>
                      <a:ext uri="{FF2B5EF4-FFF2-40B4-BE49-F238E27FC236}">
                        <a16:creationId xmlns:a16="http://schemas.microsoft.com/office/drawing/2014/main" id="{BB27BDA1-12D1-D5B7-7E30-2F85F933B51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990467" y="4922838"/>
                    <a:ext cx="176213" cy="80963"/>
                  </a:xfrm>
                  <a:custGeom>
                    <a:avLst/>
                    <a:gdLst>
                      <a:gd name="T0" fmla="*/ 37 w 89"/>
                      <a:gd name="T1" fmla="*/ 27 h 42"/>
                      <a:gd name="T2" fmla="*/ 13 w 89"/>
                      <a:gd name="T3" fmla="*/ 29 h 42"/>
                      <a:gd name="T4" fmla="*/ 17 w 89"/>
                      <a:gd name="T5" fmla="*/ 24 h 42"/>
                      <a:gd name="T6" fmla="*/ 24 w 89"/>
                      <a:gd name="T7" fmla="*/ 21 h 42"/>
                      <a:gd name="T8" fmla="*/ 10 w 89"/>
                      <a:gd name="T9" fmla="*/ 8 h 42"/>
                      <a:gd name="T10" fmla="*/ 6 w 89"/>
                      <a:gd name="T11" fmla="*/ 8 h 42"/>
                      <a:gd name="T12" fmla="*/ 3 w 89"/>
                      <a:gd name="T13" fmla="*/ 5 h 42"/>
                      <a:gd name="T14" fmla="*/ 10 w 89"/>
                      <a:gd name="T15" fmla="*/ 4 h 42"/>
                      <a:gd name="T16" fmla="*/ 2 w 89"/>
                      <a:gd name="T17" fmla="*/ 3 h 42"/>
                      <a:gd name="T18" fmla="*/ 1 w 89"/>
                      <a:gd name="T19" fmla="*/ 0 h 42"/>
                      <a:gd name="T20" fmla="*/ 18 w 89"/>
                      <a:gd name="T21" fmla="*/ 1 h 42"/>
                      <a:gd name="T22" fmla="*/ 37 w 89"/>
                      <a:gd name="T23" fmla="*/ 16 h 42"/>
                      <a:gd name="T24" fmla="*/ 88 w 89"/>
                      <a:gd name="T25" fmla="*/ 24 h 42"/>
                      <a:gd name="T26" fmla="*/ 84 w 89"/>
                      <a:gd name="T27" fmla="*/ 42 h 42"/>
                      <a:gd name="T28" fmla="*/ 37 w 89"/>
                      <a:gd name="T29" fmla="*/ 27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89" h="42">
                        <a:moveTo>
                          <a:pt x="37" y="27"/>
                        </a:moveTo>
                        <a:cubicBezTo>
                          <a:pt x="28" y="27"/>
                          <a:pt x="13" y="29"/>
                          <a:pt x="13" y="29"/>
                        </a:cubicBezTo>
                        <a:cubicBezTo>
                          <a:pt x="13" y="29"/>
                          <a:pt x="14" y="24"/>
                          <a:pt x="17" y="24"/>
                        </a:cubicBezTo>
                        <a:cubicBezTo>
                          <a:pt x="23" y="23"/>
                          <a:pt x="24" y="21"/>
                          <a:pt x="24" y="21"/>
                        </a:cubicBezTo>
                        <a:cubicBezTo>
                          <a:pt x="10" y="8"/>
                          <a:pt x="10" y="8"/>
                          <a:pt x="10" y="8"/>
                        </a:cubicBezTo>
                        <a:cubicBezTo>
                          <a:pt x="6" y="8"/>
                          <a:pt x="6" y="8"/>
                          <a:pt x="6" y="8"/>
                        </a:cubicBezTo>
                        <a:cubicBezTo>
                          <a:pt x="3" y="5"/>
                          <a:pt x="3" y="5"/>
                          <a:pt x="3" y="5"/>
                        </a:cubicBezTo>
                        <a:cubicBezTo>
                          <a:pt x="10" y="4"/>
                          <a:pt x="10" y="4"/>
                          <a:pt x="10" y="4"/>
                        </a:cubicBezTo>
                        <a:cubicBezTo>
                          <a:pt x="10" y="4"/>
                          <a:pt x="3" y="4"/>
                          <a:pt x="2" y="3"/>
                        </a:cubicBezTo>
                        <a:cubicBezTo>
                          <a:pt x="1" y="2"/>
                          <a:pt x="0" y="0"/>
                          <a:pt x="1" y="0"/>
                        </a:cubicBezTo>
                        <a:cubicBezTo>
                          <a:pt x="9" y="0"/>
                          <a:pt x="17" y="0"/>
                          <a:pt x="18" y="1"/>
                        </a:cubicBezTo>
                        <a:cubicBezTo>
                          <a:pt x="20" y="2"/>
                          <a:pt x="37" y="16"/>
                          <a:pt x="37" y="16"/>
                        </a:cubicBezTo>
                        <a:cubicBezTo>
                          <a:pt x="88" y="24"/>
                          <a:pt x="88" y="24"/>
                          <a:pt x="88" y="24"/>
                        </a:cubicBezTo>
                        <a:cubicBezTo>
                          <a:pt x="88" y="24"/>
                          <a:pt x="89" y="34"/>
                          <a:pt x="84" y="42"/>
                        </a:cubicBezTo>
                        <a:cubicBezTo>
                          <a:pt x="84" y="42"/>
                          <a:pt x="37" y="27"/>
                          <a:pt x="37" y="27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" name="Freeform 220">
                    <a:extLst>
                      <a:ext uri="{FF2B5EF4-FFF2-40B4-BE49-F238E27FC236}">
                        <a16:creationId xmlns:a16="http://schemas.microsoft.com/office/drawing/2014/main" id="{53B6755E-BBEB-DD38-728E-08626DBF530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00042" y="4918076"/>
                    <a:ext cx="52388" cy="66675"/>
                  </a:xfrm>
                  <a:custGeom>
                    <a:avLst/>
                    <a:gdLst>
                      <a:gd name="T0" fmla="*/ 18 w 28"/>
                      <a:gd name="T1" fmla="*/ 23 h 36"/>
                      <a:gd name="T2" fmla="*/ 24 w 28"/>
                      <a:gd name="T3" fmla="*/ 33 h 36"/>
                      <a:gd name="T4" fmla="*/ 28 w 28"/>
                      <a:gd name="T5" fmla="*/ 33 h 36"/>
                      <a:gd name="T6" fmla="*/ 26 w 28"/>
                      <a:gd name="T7" fmla="*/ 17 h 36"/>
                      <a:gd name="T8" fmla="*/ 15 w 28"/>
                      <a:gd name="T9" fmla="*/ 7 h 36"/>
                      <a:gd name="T10" fmla="*/ 25 w 28"/>
                      <a:gd name="T11" fmla="*/ 6 h 36"/>
                      <a:gd name="T12" fmla="*/ 24 w 28"/>
                      <a:gd name="T13" fmla="*/ 1 h 36"/>
                      <a:gd name="T14" fmla="*/ 7 w 28"/>
                      <a:gd name="T15" fmla="*/ 0 h 36"/>
                      <a:gd name="T16" fmla="*/ 0 w 28"/>
                      <a:gd name="T17" fmla="*/ 1 h 36"/>
                      <a:gd name="T18" fmla="*/ 9 w 28"/>
                      <a:gd name="T19" fmla="*/ 9 h 36"/>
                      <a:gd name="T20" fmla="*/ 18 w 28"/>
                      <a:gd name="T21" fmla="*/ 23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8" h="36">
                        <a:moveTo>
                          <a:pt x="18" y="23"/>
                        </a:moveTo>
                        <a:cubicBezTo>
                          <a:pt x="20" y="26"/>
                          <a:pt x="24" y="32"/>
                          <a:pt x="24" y="33"/>
                        </a:cubicBezTo>
                        <a:cubicBezTo>
                          <a:pt x="25" y="36"/>
                          <a:pt x="28" y="33"/>
                          <a:pt x="28" y="33"/>
                        </a:cubicBezTo>
                        <a:cubicBezTo>
                          <a:pt x="28" y="33"/>
                          <a:pt x="27" y="20"/>
                          <a:pt x="26" y="17"/>
                        </a:cubicBezTo>
                        <a:cubicBezTo>
                          <a:pt x="26" y="15"/>
                          <a:pt x="15" y="7"/>
                          <a:pt x="15" y="7"/>
                        </a:cubicBezTo>
                        <a:cubicBezTo>
                          <a:pt x="25" y="6"/>
                          <a:pt x="25" y="6"/>
                          <a:pt x="25" y="6"/>
                        </a:cubicBezTo>
                        <a:cubicBezTo>
                          <a:pt x="24" y="1"/>
                          <a:pt x="24" y="1"/>
                          <a:pt x="24" y="1"/>
                        </a:cubicBezTo>
                        <a:cubicBezTo>
                          <a:pt x="24" y="1"/>
                          <a:pt x="15" y="1"/>
                          <a:pt x="7" y="0"/>
                        </a:cubicBezTo>
                        <a:cubicBezTo>
                          <a:pt x="3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9" y="9"/>
                        </a:cubicBezTo>
                        <a:cubicBezTo>
                          <a:pt x="18" y="15"/>
                          <a:pt x="18" y="21"/>
                          <a:pt x="18" y="2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" name="Freeform 260">
                    <a:extLst>
                      <a:ext uri="{FF2B5EF4-FFF2-40B4-BE49-F238E27FC236}">
                        <a16:creationId xmlns:a16="http://schemas.microsoft.com/office/drawing/2014/main" id="{7E65AF45-730D-9D93-CB80-33C65904FD2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58805" y="5259389"/>
                    <a:ext cx="534988" cy="322263"/>
                  </a:xfrm>
                  <a:custGeom>
                    <a:avLst/>
                    <a:gdLst>
                      <a:gd name="T0" fmla="*/ 270 w 272"/>
                      <a:gd name="T1" fmla="*/ 136 h 164"/>
                      <a:gd name="T2" fmla="*/ 262 w 272"/>
                      <a:gd name="T3" fmla="*/ 138 h 164"/>
                      <a:gd name="T4" fmla="*/ 271 w 272"/>
                      <a:gd name="T5" fmla="*/ 147 h 164"/>
                      <a:gd name="T6" fmla="*/ 272 w 272"/>
                      <a:gd name="T7" fmla="*/ 157 h 164"/>
                      <a:gd name="T8" fmla="*/ 269 w 272"/>
                      <a:gd name="T9" fmla="*/ 157 h 164"/>
                      <a:gd name="T10" fmla="*/ 265 w 272"/>
                      <a:gd name="T11" fmla="*/ 150 h 164"/>
                      <a:gd name="T12" fmla="*/ 251 w 272"/>
                      <a:gd name="T13" fmla="*/ 141 h 164"/>
                      <a:gd name="T14" fmla="*/ 146 w 272"/>
                      <a:gd name="T15" fmla="*/ 156 h 164"/>
                      <a:gd name="T16" fmla="*/ 92 w 272"/>
                      <a:gd name="T17" fmla="*/ 164 h 164"/>
                      <a:gd name="T18" fmla="*/ 65 w 272"/>
                      <a:gd name="T19" fmla="*/ 148 h 164"/>
                      <a:gd name="T20" fmla="*/ 0 w 272"/>
                      <a:gd name="T21" fmla="*/ 9 h 164"/>
                      <a:gd name="T22" fmla="*/ 76 w 272"/>
                      <a:gd name="T23" fmla="*/ 19 h 164"/>
                      <a:gd name="T24" fmla="*/ 93 w 272"/>
                      <a:gd name="T25" fmla="*/ 134 h 164"/>
                      <a:gd name="T26" fmla="*/ 251 w 272"/>
                      <a:gd name="T27" fmla="*/ 132 h 164"/>
                      <a:gd name="T28" fmla="*/ 257 w 272"/>
                      <a:gd name="T29" fmla="*/ 132 h 164"/>
                      <a:gd name="T30" fmla="*/ 270 w 272"/>
                      <a:gd name="T31" fmla="*/ 133 h 164"/>
                      <a:gd name="T32" fmla="*/ 270 w 272"/>
                      <a:gd name="T33" fmla="*/ 136 h 1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272" h="164">
                        <a:moveTo>
                          <a:pt x="270" y="136"/>
                        </a:moveTo>
                        <a:cubicBezTo>
                          <a:pt x="262" y="138"/>
                          <a:pt x="262" y="138"/>
                          <a:pt x="262" y="138"/>
                        </a:cubicBezTo>
                        <a:cubicBezTo>
                          <a:pt x="271" y="147"/>
                          <a:pt x="271" y="147"/>
                          <a:pt x="271" y="147"/>
                        </a:cubicBezTo>
                        <a:cubicBezTo>
                          <a:pt x="272" y="157"/>
                          <a:pt x="272" y="157"/>
                          <a:pt x="272" y="157"/>
                        </a:cubicBezTo>
                        <a:cubicBezTo>
                          <a:pt x="272" y="157"/>
                          <a:pt x="270" y="159"/>
                          <a:pt x="269" y="157"/>
                        </a:cubicBezTo>
                        <a:cubicBezTo>
                          <a:pt x="269" y="156"/>
                          <a:pt x="265" y="150"/>
                          <a:pt x="265" y="150"/>
                        </a:cubicBezTo>
                        <a:cubicBezTo>
                          <a:pt x="251" y="141"/>
                          <a:pt x="251" y="141"/>
                          <a:pt x="251" y="141"/>
                        </a:cubicBezTo>
                        <a:cubicBezTo>
                          <a:pt x="146" y="156"/>
                          <a:pt x="146" y="156"/>
                          <a:pt x="146" y="156"/>
                        </a:cubicBezTo>
                        <a:cubicBezTo>
                          <a:pt x="92" y="164"/>
                          <a:pt x="92" y="164"/>
                          <a:pt x="92" y="164"/>
                        </a:cubicBezTo>
                        <a:cubicBezTo>
                          <a:pt x="92" y="164"/>
                          <a:pt x="76" y="163"/>
                          <a:pt x="65" y="148"/>
                        </a:cubicBezTo>
                        <a:cubicBezTo>
                          <a:pt x="62" y="143"/>
                          <a:pt x="0" y="9"/>
                          <a:pt x="0" y="9"/>
                        </a:cubicBezTo>
                        <a:cubicBezTo>
                          <a:pt x="0" y="9"/>
                          <a:pt x="64" y="0"/>
                          <a:pt x="76" y="19"/>
                        </a:cubicBezTo>
                        <a:cubicBezTo>
                          <a:pt x="91" y="45"/>
                          <a:pt x="92" y="106"/>
                          <a:pt x="93" y="134"/>
                        </a:cubicBezTo>
                        <a:cubicBezTo>
                          <a:pt x="105" y="124"/>
                          <a:pt x="196" y="133"/>
                          <a:pt x="251" y="132"/>
                        </a:cubicBezTo>
                        <a:cubicBezTo>
                          <a:pt x="253" y="132"/>
                          <a:pt x="257" y="132"/>
                          <a:pt x="257" y="132"/>
                        </a:cubicBezTo>
                        <a:cubicBezTo>
                          <a:pt x="270" y="133"/>
                          <a:pt x="270" y="133"/>
                          <a:pt x="270" y="133"/>
                        </a:cubicBezTo>
                        <a:lnTo>
                          <a:pt x="270" y="136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" name="Freeform 261">
                    <a:extLst>
                      <a:ext uri="{FF2B5EF4-FFF2-40B4-BE49-F238E27FC236}">
                        <a16:creationId xmlns:a16="http://schemas.microsoft.com/office/drawing/2014/main" id="{FAA4016A-732D-FAD5-1C29-F2D5BEB1DB1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52517" y="5516564"/>
                    <a:ext cx="41275" cy="57150"/>
                  </a:xfrm>
                  <a:custGeom>
                    <a:avLst/>
                    <a:gdLst>
                      <a:gd name="T0" fmla="*/ 14 w 21"/>
                      <a:gd name="T1" fmla="*/ 19 h 29"/>
                      <a:gd name="T2" fmla="*/ 18 w 21"/>
                      <a:gd name="T3" fmla="*/ 26 h 29"/>
                      <a:gd name="T4" fmla="*/ 21 w 21"/>
                      <a:gd name="T5" fmla="*/ 27 h 29"/>
                      <a:gd name="T6" fmla="*/ 20 w 21"/>
                      <a:gd name="T7" fmla="*/ 15 h 29"/>
                      <a:gd name="T8" fmla="*/ 11 w 21"/>
                      <a:gd name="T9" fmla="*/ 7 h 29"/>
                      <a:gd name="T10" fmla="*/ 19 w 21"/>
                      <a:gd name="T11" fmla="*/ 5 h 29"/>
                      <a:gd name="T12" fmla="*/ 19 w 21"/>
                      <a:gd name="T13" fmla="*/ 1 h 29"/>
                      <a:gd name="T14" fmla="*/ 6 w 21"/>
                      <a:gd name="T15" fmla="*/ 1 h 29"/>
                      <a:gd name="T16" fmla="*/ 0 w 21"/>
                      <a:gd name="T17" fmla="*/ 1 h 29"/>
                      <a:gd name="T18" fmla="*/ 6 w 21"/>
                      <a:gd name="T19" fmla="*/ 8 h 29"/>
                      <a:gd name="T20" fmla="*/ 14 w 21"/>
                      <a:gd name="T21" fmla="*/ 19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1" h="29">
                        <a:moveTo>
                          <a:pt x="14" y="19"/>
                        </a:moveTo>
                        <a:cubicBezTo>
                          <a:pt x="15" y="21"/>
                          <a:pt x="18" y="26"/>
                          <a:pt x="18" y="26"/>
                        </a:cubicBezTo>
                        <a:cubicBezTo>
                          <a:pt x="19" y="29"/>
                          <a:pt x="21" y="27"/>
                          <a:pt x="21" y="27"/>
                        </a:cubicBezTo>
                        <a:cubicBezTo>
                          <a:pt x="21" y="27"/>
                          <a:pt x="20" y="17"/>
                          <a:pt x="20" y="15"/>
                        </a:cubicBezTo>
                        <a:cubicBezTo>
                          <a:pt x="20" y="12"/>
                          <a:pt x="11" y="7"/>
                          <a:pt x="11" y="7"/>
                        </a:cubicBezTo>
                        <a:cubicBezTo>
                          <a:pt x="19" y="5"/>
                          <a:pt x="19" y="5"/>
                          <a:pt x="19" y="5"/>
                        </a:cubicBezTo>
                        <a:cubicBezTo>
                          <a:pt x="19" y="1"/>
                          <a:pt x="19" y="1"/>
                          <a:pt x="19" y="1"/>
                        </a:cubicBezTo>
                        <a:cubicBezTo>
                          <a:pt x="19" y="1"/>
                          <a:pt x="11" y="1"/>
                          <a:pt x="6" y="1"/>
                        </a:cubicBezTo>
                        <a:cubicBezTo>
                          <a:pt x="2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6" y="8"/>
                        </a:cubicBezTo>
                        <a:cubicBezTo>
                          <a:pt x="14" y="12"/>
                          <a:pt x="13" y="17"/>
                          <a:pt x="14" y="1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" name="Freeform 262">
                    <a:extLst>
                      <a:ext uri="{FF2B5EF4-FFF2-40B4-BE49-F238E27FC236}">
                        <a16:creationId xmlns:a16="http://schemas.microsoft.com/office/drawing/2014/main" id="{25DDC5BD-F76A-9D43-6DC4-1E52E24652F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39692" y="4965701"/>
                    <a:ext cx="346075" cy="90488"/>
                  </a:xfrm>
                  <a:custGeom>
                    <a:avLst/>
                    <a:gdLst>
                      <a:gd name="T0" fmla="*/ 3 w 176"/>
                      <a:gd name="T1" fmla="*/ 0 h 46"/>
                      <a:gd name="T2" fmla="*/ 47 w 176"/>
                      <a:gd name="T3" fmla="*/ 6 h 46"/>
                      <a:gd name="T4" fmla="*/ 133 w 176"/>
                      <a:gd name="T5" fmla="*/ 5 h 46"/>
                      <a:gd name="T6" fmla="*/ 167 w 176"/>
                      <a:gd name="T7" fmla="*/ 22 h 46"/>
                      <a:gd name="T8" fmla="*/ 145 w 176"/>
                      <a:gd name="T9" fmla="*/ 46 h 46"/>
                      <a:gd name="T10" fmla="*/ 0 w 176"/>
                      <a:gd name="T11" fmla="*/ 19 h 46"/>
                      <a:gd name="T12" fmla="*/ 3 w 176"/>
                      <a:gd name="T13" fmla="*/ 0 h 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76" h="46">
                        <a:moveTo>
                          <a:pt x="3" y="0"/>
                        </a:moveTo>
                        <a:cubicBezTo>
                          <a:pt x="10" y="1"/>
                          <a:pt x="29" y="5"/>
                          <a:pt x="47" y="6"/>
                        </a:cubicBezTo>
                        <a:cubicBezTo>
                          <a:pt x="79" y="8"/>
                          <a:pt x="93" y="6"/>
                          <a:pt x="133" y="5"/>
                        </a:cubicBezTo>
                        <a:cubicBezTo>
                          <a:pt x="176" y="3"/>
                          <a:pt x="167" y="22"/>
                          <a:pt x="167" y="22"/>
                        </a:cubicBezTo>
                        <a:cubicBezTo>
                          <a:pt x="167" y="22"/>
                          <a:pt x="152" y="40"/>
                          <a:pt x="145" y="46"/>
                        </a:cubicBezTo>
                        <a:cubicBezTo>
                          <a:pt x="68" y="36"/>
                          <a:pt x="21" y="25"/>
                          <a:pt x="0" y="19"/>
                        </a:cubicBezTo>
                        <a:cubicBezTo>
                          <a:pt x="0" y="19"/>
                          <a:pt x="1" y="4"/>
                          <a:pt x="3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" name="Freeform 263">
                    <a:extLst>
                      <a:ext uri="{FF2B5EF4-FFF2-40B4-BE49-F238E27FC236}">
                        <a16:creationId xmlns:a16="http://schemas.microsoft.com/office/drawing/2014/main" id="{3613BBD2-DC55-9BB0-BD29-B6851F98E2A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74642" y="4941889"/>
                    <a:ext cx="420688" cy="288925"/>
                  </a:xfrm>
                  <a:custGeom>
                    <a:avLst/>
                    <a:gdLst>
                      <a:gd name="T0" fmla="*/ 126 w 214"/>
                      <a:gd name="T1" fmla="*/ 147 h 147"/>
                      <a:gd name="T2" fmla="*/ 63 w 214"/>
                      <a:gd name="T3" fmla="*/ 110 h 147"/>
                      <a:gd name="T4" fmla="*/ 7 w 214"/>
                      <a:gd name="T5" fmla="*/ 22 h 147"/>
                      <a:gd name="T6" fmla="*/ 28 w 214"/>
                      <a:gd name="T7" fmla="*/ 8 h 147"/>
                      <a:gd name="T8" fmla="*/ 130 w 214"/>
                      <a:gd name="T9" fmla="*/ 44 h 147"/>
                      <a:gd name="T10" fmla="*/ 214 w 214"/>
                      <a:gd name="T11" fmla="*/ 136 h 147"/>
                      <a:gd name="T12" fmla="*/ 126 w 214"/>
                      <a:gd name="T13" fmla="*/ 147 h 1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14" h="147">
                        <a:moveTo>
                          <a:pt x="126" y="147"/>
                        </a:moveTo>
                        <a:cubicBezTo>
                          <a:pt x="123" y="141"/>
                          <a:pt x="112" y="111"/>
                          <a:pt x="63" y="110"/>
                        </a:cubicBezTo>
                        <a:cubicBezTo>
                          <a:pt x="0" y="108"/>
                          <a:pt x="7" y="22"/>
                          <a:pt x="7" y="22"/>
                        </a:cubicBezTo>
                        <a:cubicBezTo>
                          <a:pt x="7" y="22"/>
                          <a:pt x="18" y="11"/>
                          <a:pt x="28" y="8"/>
                        </a:cubicBezTo>
                        <a:cubicBezTo>
                          <a:pt x="53" y="0"/>
                          <a:pt x="94" y="11"/>
                          <a:pt x="130" y="44"/>
                        </a:cubicBezTo>
                        <a:cubicBezTo>
                          <a:pt x="181" y="90"/>
                          <a:pt x="214" y="136"/>
                          <a:pt x="214" y="136"/>
                        </a:cubicBezTo>
                        <a:cubicBezTo>
                          <a:pt x="214" y="136"/>
                          <a:pt x="175" y="134"/>
                          <a:pt x="126" y="147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" name="Freeform 264">
                    <a:extLst>
                      <a:ext uri="{FF2B5EF4-FFF2-40B4-BE49-F238E27FC236}">
                        <a16:creationId xmlns:a16="http://schemas.microsoft.com/office/drawing/2014/main" id="{D14A5F49-C2F2-50D2-8086-2B5D795E81A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5580" y="5221289"/>
                    <a:ext cx="611188" cy="523875"/>
                  </a:xfrm>
                  <a:custGeom>
                    <a:avLst/>
                    <a:gdLst>
                      <a:gd name="T0" fmla="*/ 2 w 311"/>
                      <a:gd name="T1" fmla="*/ 259 h 267"/>
                      <a:gd name="T2" fmla="*/ 10 w 311"/>
                      <a:gd name="T3" fmla="*/ 257 h 267"/>
                      <a:gd name="T4" fmla="*/ 22 w 311"/>
                      <a:gd name="T5" fmla="*/ 247 h 267"/>
                      <a:gd name="T6" fmla="*/ 44 w 311"/>
                      <a:gd name="T7" fmla="*/ 81 h 267"/>
                      <a:gd name="T8" fmla="*/ 44 w 311"/>
                      <a:gd name="T9" fmla="*/ 81 h 267"/>
                      <a:gd name="T10" fmla="*/ 66 w 311"/>
                      <a:gd name="T11" fmla="*/ 42 h 267"/>
                      <a:gd name="T12" fmla="*/ 276 w 311"/>
                      <a:gd name="T13" fmla="*/ 0 h 267"/>
                      <a:gd name="T14" fmla="*/ 213 w 311"/>
                      <a:gd name="T15" fmla="*/ 71 h 267"/>
                      <a:gd name="T16" fmla="*/ 82 w 311"/>
                      <a:gd name="T17" fmla="*/ 79 h 267"/>
                      <a:gd name="T18" fmla="*/ 31 w 311"/>
                      <a:gd name="T19" fmla="*/ 249 h 267"/>
                      <a:gd name="T20" fmla="*/ 29 w 311"/>
                      <a:gd name="T21" fmla="*/ 255 h 267"/>
                      <a:gd name="T22" fmla="*/ 25 w 311"/>
                      <a:gd name="T23" fmla="*/ 267 h 267"/>
                      <a:gd name="T24" fmla="*/ 22 w 311"/>
                      <a:gd name="T25" fmla="*/ 266 h 267"/>
                      <a:gd name="T26" fmla="*/ 22 w 311"/>
                      <a:gd name="T27" fmla="*/ 259 h 267"/>
                      <a:gd name="T28" fmla="*/ 11 w 311"/>
                      <a:gd name="T29" fmla="*/ 264 h 267"/>
                      <a:gd name="T30" fmla="*/ 1 w 311"/>
                      <a:gd name="T31" fmla="*/ 262 h 267"/>
                      <a:gd name="T32" fmla="*/ 2 w 311"/>
                      <a:gd name="T33" fmla="*/ 259 h 2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11" h="267">
                        <a:moveTo>
                          <a:pt x="2" y="259"/>
                        </a:moveTo>
                        <a:cubicBezTo>
                          <a:pt x="3" y="259"/>
                          <a:pt x="10" y="257"/>
                          <a:pt x="10" y="257"/>
                        </a:cubicBezTo>
                        <a:cubicBezTo>
                          <a:pt x="22" y="247"/>
                          <a:pt x="22" y="247"/>
                          <a:pt x="22" y="247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2" y="52"/>
                          <a:pt x="66" y="42"/>
                          <a:pt x="66" y="42"/>
                        </a:cubicBezTo>
                        <a:cubicBezTo>
                          <a:pt x="276" y="0"/>
                          <a:pt x="276" y="0"/>
                          <a:pt x="276" y="0"/>
                        </a:cubicBezTo>
                        <a:cubicBezTo>
                          <a:pt x="276" y="0"/>
                          <a:pt x="311" y="59"/>
                          <a:pt x="213" y="71"/>
                        </a:cubicBezTo>
                        <a:cubicBezTo>
                          <a:pt x="182" y="74"/>
                          <a:pt x="161" y="70"/>
                          <a:pt x="82" y="79"/>
                        </a:cubicBezTo>
                        <a:cubicBezTo>
                          <a:pt x="99" y="107"/>
                          <a:pt x="31" y="249"/>
                          <a:pt x="31" y="249"/>
                        </a:cubicBezTo>
                        <a:cubicBezTo>
                          <a:pt x="29" y="255"/>
                          <a:pt x="29" y="255"/>
                          <a:pt x="29" y="255"/>
                        </a:cubicBezTo>
                        <a:cubicBezTo>
                          <a:pt x="25" y="267"/>
                          <a:pt x="25" y="267"/>
                          <a:pt x="25" y="267"/>
                        </a:cubicBezTo>
                        <a:cubicBezTo>
                          <a:pt x="22" y="266"/>
                          <a:pt x="22" y="266"/>
                          <a:pt x="22" y="266"/>
                        </a:cubicBezTo>
                        <a:cubicBezTo>
                          <a:pt x="22" y="259"/>
                          <a:pt x="22" y="259"/>
                          <a:pt x="22" y="259"/>
                        </a:cubicBezTo>
                        <a:cubicBezTo>
                          <a:pt x="11" y="264"/>
                          <a:pt x="11" y="264"/>
                          <a:pt x="11" y="264"/>
                        </a:cubicBezTo>
                        <a:cubicBezTo>
                          <a:pt x="1" y="262"/>
                          <a:pt x="1" y="262"/>
                          <a:pt x="1" y="262"/>
                        </a:cubicBezTo>
                        <a:cubicBezTo>
                          <a:pt x="1" y="262"/>
                          <a:pt x="0" y="259"/>
                          <a:pt x="2" y="25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" name="Freeform 265">
                    <a:extLst>
                      <a:ext uri="{FF2B5EF4-FFF2-40B4-BE49-F238E27FC236}">
                        <a16:creationId xmlns:a16="http://schemas.microsoft.com/office/drawing/2014/main" id="{F568BB2B-3287-20B4-B151-CC85AC1D443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4167" y="5197476"/>
                    <a:ext cx="487363" cy="219075"/>
                  </a:xfrm>
                  <a:custGeom>
                    <a:avLst/>
                    <a:gdLst>
                      <a:gd name="T0" fmla="*/ 206 w 248"/>
                      <a:gd name="T1" fmla="*/ 0 h 112"/>
                      <a:gd name="T2" fmla="*/ 248 w 248"/>
                      <a:gd name="T3" fmla="*/ 97 h 112"/>
                      <a:gd name="T4" fmla="*/ 26 w 248"/>
                      <a:gd name="T5" fmla="*/ 83 h 112"/>
                      <a:gd name="T6" fmla="*/ 0 w 248"/>
                      <a:gd name="T7" fmla="*/ 52 h 112"/>
                      <a:gd name="T8" fmla="*/ 206 w 248"/>
                      <a:gd name="T9" fmla="*/ 0 h 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8" h="112">
                        <a:moveTo>
                          <a:pt x="206" y="0"/>
                        </a:moveTo>
                        <a:cubicBezTo>
                          <a:pt x="240" y="22"/>
                          <a:pt x="215" y="69"/>
                          <a:pt x="248" y="97"/>
                        </a:cubicBezTo>
                        <a:cubicBezTo>
                          <a:pt x="219" y="112"/>
                          <a:pt x="79" y="112"/>
                          <a:pt x="26" y="83"/>
                        </a:cubicBezTo>
                        <a:cubicBezTo>
                          <a:pt x="4" y="71"/>
                          <a:pt x="0" y="52"/>
                          <a:pt x="0" y="52"/>
                        </a:cubicBezTo>
                        <a:cubicBezTo>
                          <a:pt x="0" y="52"/>
                          <a:pt x="177" y="6"/>
                          <a:pt x="206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" name="Freeform 266">
                    <a:extLst>
                      <a:ext uri="{FF2B5EF4-FFF2-40B4-BE49-F238E27FC236}">
                        <a16:creationId xmlns:a16="http://schemas.microsoft.com/office/drawing/2014/main" id="{1E3E66D0-932D-9049-FCD5-4CDC8FF4D04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2105" y="4964114"/>
                    <a:ext cx="63500" cy="134938"/>
                  </a:xfrm>
                  <a:custGeom>
                    <a:avLst/>
                    <a:gdLst>
                      <a:gd name="T0" fmla="*/ 32 w 32"/>
                      <a:gd name="T1" fmla="*/ 69 h 69"/>
                      <a:gd name="T2" fmla="*/ 20 w 32"/>
                      <a:gd name="T3" fmla="*/ 0 h 69"/>
                      <a:gd name="T4" fmla="*/ 4 w 32"/>
                      <a:gd name="T5" fmla="*/ 14 h 69"/>
                      <a:gd name="T6" fmla="*/ 32 w 32"/>
                      <a:gd name="T7" fmla="*/ 69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2" h="69">
                        <a:moveTo>
                          <a:pt x="32" y="69"/>
                        </a:moveTo>
                        <a:cubicBezTo>
                          <a:pt x="32" y="69"/>
                          <a:pt x="7" y="24"/>
                          <a:pt x="20" y="0"/>
                        </a:cubicBezTo>
                        <a:cubicBezTo>
                          <a:pt x="17" y="5"/>
                          <a:pt x="12" y="15"/>
                          <a:pt x="4" y="14"/>
                        </a:cubicBezTo>
                        <a:cubicBezTo>
                          <a:pt x="0" y="41"/>
                          <a:pt x="32" y="69"/>
                          <a:pt x="32" y="6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" name="Freeform 267">
                    <a:extLst>
                      <a:ext uri="{FF2B5EF4-FFF2-40B4-BE49-F238E27FC236}">
                        <a16:creationId xmlns:a16="http://schemas.microsoft.com/office/drawing/2014/main" id="{DEE06235-79BF-8B3F-0AAC-E94DF8FE0BB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69880" y="4946651"/>
                    <a:ext cx="88900" cy="160338"/>
                  </a:xfrm>
                  <a:custGeom>
                    <a:avLst/>
                    <a:gdLst>
                      <a:gd name="T0" fmla="*/ 45 w 45"/>
                      <a:gd name="T1" fmla="*/ 82 h 82"/>
                      <a:gd name="T2" fmla="*/ 17 w 45"/>
                      <a:gd name="T3" fmla="*/ 19 h 82"/>
                      <a:gd name="T4" fmla="*/ 12 w 45"/>
                      <a:gd name="T5" fmla="*/ 12 h 82"/>
                      <a:gd name="T6" fmla="*/ 45 w 45"/>
                      <a:gd name="T7" fmla="*/ 82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5" h="82">
                        <a:moveTo>
                          <a:pt x="45" y="82"/>
                        </a:moveTo>
                        <a:cubicBezTo>
                          <a:pt x="45" y="82"/>
                          <a:pt x="15" y="54"/>
                          <a:pt x="17" y="19"/>
                        </a:cubicBezTo>
                        <a:cubicBezTo>
                          <a:pt x="17" y="9"/>
                          <a:pt x="15" y="0"/>
                          <a:pt x="12" y="12"/>
                        </a:cubicBezTo>
                        <a:cubicBezTo>
                          <a:pt x="0" y="63"/>
                          <a:pt x="45" y="82"/>
                          <a:pt x="45" y="8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3" name="Freeform 268">
                    <a:extLst>
                      <a:ext uri="{FF2B5EF4-FFF2-40B4-BE49-F238E27FC236}">
                        <a16:creationId xmlns:a16="http://schemas.microsoft.com/office/drawing/2014/main" id="{94CF05D1-9A88-F19C-BAD0-ED04E68CBBC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3367" y="4899026"/>
                    <a:ext cx="103188" cy="93663"/>
                  </a:xfrm>
                  <a:custGeom>
                    <a:avLst/>
                    <a:gdLst>
                      <a:gd name="T0" fmla="*/ 52 w 53"/>
                      <a:gd name="T1" fmla="*/ 27 h 48"/>
                      <a:gd name="T2" fmla="*/ 42 w 53"/>
                      <a:gd name="T3" fmla="*/ 12 h 48"/>
                      <a:gd name="T4" fmla="*/ 30 w 53"/>
                      <a:gd name="T5" fmla="*/ 0 h 48"/>
                      <a:gd name="T6" fmla="*/ 24 w 53"/>
                      <a:gd name="T7" fmla="*/ 18 h 48"/>
                      <a:gd name="T8" fmla="*/ 13 w 53"/>
                      <a:gd name="T9" fmla="*/ 28 h 48"/>
                      <a:gd name="T10" fmla="*/ 0 w 53"/>
                      <a:gd name="T11" fmla="*/ 29 h 48"/>
                      <a:gd name="T12" fmla="*/ 36 w 53"/>
                      <a:gd name="T13" fmla="*/ 48 h 48"/>
                      <a:gd name="T14" fmla="*/ 52 w 53"/>
                      <a:gd name="T15" fmla="*/ 27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3" h="48">
                        <a:moveTo>
                          <a:pt x="52" y="27"/>
                        </a:moveTo>
                        <a:cubicBezTo>
                          <a:pt x="42" y="23"/>
                          <a:pt x="42" y="12"/>
                          <a:pt x="42" y="12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30" y="0"/>
                          <a:pt x="25" y="11"/>
                          <a:pt x="24" y="18"/>
                        </a:cubicBezTo>
                        <a:cubicBezTo>
                          <a:pt x="22" y="25"/>
                          <a:pt x="16" y="27"/>
                          <a:pt x="13" y="28"/>
                        </a:cubicBezTo>
                        <a:cubicBezTo>
                          <a:pt x="7" y="29"/>
                          <a:pt x="0" y="29"/>
                          <a:pt x="0" y="29"/>
                        </a:cubicBezTo>
                        <a:cubicBezTo>
                          <a:pt x="0" y="29"/>
                          <a:pt x="26" y="31"/>
                          <a:pt x="36" y="48"/>
                        </a:cubicBezTo>
                        <a:cubicBezTo>
                          <a:pt x="53" y="47"/>
                          <a:pt x="48" y="32"/>
                          <a:pt x="52" y="27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4" name="Freeform 269">
                    <a:extLst>
                      <a:ext uri="{FF2B5EF4-FFF2-40B4-BE49-F238E27FC236}">
                        <a16:creationId xmlns:a16="http://schemas.microsoft.com/office/drawing/2014/main" id="{3A4E6072-EFC3-97A0-6972-3BD46737551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20667" y="4848226"/>
                    <a:ext cx="80963" cy="107950"/>
                  </a:xfrm>
                  <a:custGeom>
                    <a:avLst/>
                    <a:gdLst>
                      <a:gd name="T0" fmla="*/ 9 w 41"/>
                      <a:gd name="T1" fmla="*/ 55 h 55"/>
                      <a:gd name="T2" fmla="*/ 22 w 41"/>
                      <a:gd name="T3" fmla="*/ 55 h 55"/>
                      <a:gd name="T4" fmla="*/ 30 w 41"/>
                      <a:gd name="T5" fmla="*/ 48 h 55"/>
                      <a:gd name="T6" fmla="*/ 33 w 41"/>
                      <a:gd name="T7" fmla="*/ 36 h 55"/>
                      <a:gd name="T8" fmla="*/ 38 w 41"/>
                      <a:gd name="T9" fmla="*/ 32 h 55"/>
                      <a:gd name="T10" fmla="*/ 36 w 41"/>
                      <a:gd name="T11" fmla="*/ 24 h 55"/>
                      <a:gd name="T12" fmla="*/ 34 w 41"/>
                      <a:gd name="T13" fmla="*/ 3 h 55"/>
                      <a:gd name="T14" fmla="*/ 23 w 41"/>
                      <a:gd name="T15" fmla="*/ 0 h 55"/>
                      <a:gd name="T16" fmla="*/ 12 w 41"/>
                      <a:gd name="T17" fmla="*/ 8 h 55"/>
                      <a:gd name="T18" fmla="*/ 0 w 41"/>
                      <a:gd name="T19" fmla="*/ 30 h 55"/>
                      <a:gd name="T20" fmla="*/ 2 w 41"/>
                      <a:gd name="T21" fmla="*/ 32 h 55"/>
                      <a:gd name="T22" fmla="*/ 5 w 41"/>
                      <a:gd name="T23" fmla="*/ 33 h 55"/>
                      <a:gd name="T24" fmla="*/ 5 w 41"/>
                      <a:gd name="T25" fmla="*/ 54 h 55"/>
                      <a:gd name="T26" fmla="*/ 9 w 41"/>
                      <a:gd name="T27" fmla="*/ 55 h 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1" h="55">
                        <a:moveTo>
                          <a:pt x="9" y="55"/>
                        </a:moveTo>
                        <a:cubicBezTo>
                          <a:pt x="12" y="55"/>
                          <a:pt x="17" y="55"/>
                          <a:pt x="22" y="55"/>
                        </a:cubicBezTo>
                        <a:cubicBezTo>
                          <a:pt x="29" y="54"/>
                          <a:pt x="30" y="48"/>
                          <a:pt x="30" y="48"/>
                        </a:cubicBezTo>
                        <a:cubicBezTo>
                          <a:pt x="33" y="36"/>
                          <a:pt x="33" y="36"/>
                          <a:pt x="33" y="36"/>
                        </a:cubicBezTo>
                        <a:cubicBezTo>
                          <a:pt x="33" y="36"/>
                          <a:pt x="36" y="35"/>
                          <a:pt x="38" y="32"/>
                        </a:cubicBezTo>
                        <a:cubicBezTo>
                          <a:pt x="39" y="31"/>
                          <a:pt x="41" y="26"/>
                          <a:pt x="36" y="24"/>
                        </a:cubicBezTo>
                        <a:cubicBezTo>
                          <a:pt x="28" y="21"/>
                          <a:pt x="34" y="3"/>
                          <a:pt x="34" y="3"/>
                        </a:cubicBezTo>
                        <a:cubicBezTo>
                          <a:pt x="23" y="0"/>
                          <a:pt x="23" y="0"/>
                          <a:pt x="23" y="0"/>
                        </a:cubicBezTo>
                        <a:cubicBezTo>
                          <a:pt x="12" y="8"/>
                          <a:pt x="12" y="8"/>
                          <a:pt x="12" y="8"/>
                        </a:cubicBezTo>
                        <a:cubicBezTo>
                          <a:pt x="0" y="30"/>
                          <a:pt x="0" y="30"/>
                          <a:pt x="0" y="30"/>
                        </a:cubicBezTo>
                        <a:cubicBezTo>
                          <a:pt x="0" y="30"/>
                          <a:pt x="0" y="31"/>
                          <a:pt x="2" y="32"/>
                        </a:cubicBezTo>
                        <a:cubicBezTo>
                          <a:pt x="4" y="32"/>
                          <a:pt x="5" y="33"/>
                          <a:pt x="5" y="33"/>
                        </a:cubicBezTo>
                        <a:cubicBezTo>
                          <a:pt x="5" y="33"/>
                          <a:pt x="5" y="53"/>
                          <a:pt x="5" y="54"/>
                        </a:cubicBezTo>
                        <a:cubicBezTo>
                          <a:pt x="5" y="55"/>
                          <a:pt x="7" y="55"/>
                          <a:pt x="9" y="55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5" name="Freeform 270">
                    <a:extLst>
                      <a:ext uri="{FF2B5EF4-FFF2-40B4-BE49-F238E27FC236}">
                        <a16:creationId xmlns:a16="http://schemas.microsoft.com/office/drawing/2014/main" id="{D2149551-F187-A47A-9007-40D4FD9A8E3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44480" y="4838701"/>
                    <a:ext cx="92075" cy="85725"/>
                  </a:xfrm>
                  <a:custGeom>
                    <a:avLst/>
                    <a:gdLst>
                      <a:gd name="T0" fmla="*/ 45 w 47"/>
                      <a:gd name="T1" fmla="*/ 22 h 44"/>
                      <a:gd name="T2" fmla="*/ 44 w 47"/>
                      <a:gd name="T3" fmla="*/ 18 h 44"/>
                      <a:gd name="T4" fmla="*/ 25 w 47"/>
                      <a:gd name="T5" fmla="*/ 3 h 44"/>
                      <a:gd name="T6" fmla="*/ 0 w 47"/>
                      <a:gd name="T7" fmla="*/ 14 h 44"/>
                      <a:gd name="T8" fmla="*/ 14 w 47"/>
                      <a:gd name="T9" fmla="*/ 21 h 44"/>
                      <a:gd name="T10" fmla="*/ 21 w 47"/>
                      <a:gd name="T11" fmla="*/ 30 h 44"/>
                      <a:gd name="T12" fmla="*/ 27 w 47"/>
                      <a:gd name="T13" fmla="*/ 35 h 44"/>
                      <a:gd name="T14" fmla="*/ 36 w 47"/>
                      <a:gd name="T15" fmla="*/ 44 h 44"/>
                      <a:gd name="T16" fmla="*/ 45 w 47"/>
                      <a:gd name="T17" fmla="*/ 22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7" h="44">
                        <a:moveTo>
                          <a:pt x="45" y="22"/>
                        </a:moveTo>
                        <a:cubicBezTo>
                          <a:pt x="44" y="18"/>
                          <a:pt x="44" y="18"/>
                          <a:pt x="44" y="18"/>
                        </a:cubicBezTo>
                        <a:cubicBezTo>
                          <a:pt x="44" y="18"/>
                          <a:pt x="42" y="7"/>
                          <a:pt x="25" y="3"/>
                        </a:cubicBezTo>
                        <a:cubicBezTo>
                          <a:pt x="6" y="0"/>
                          <a:pt x="0" y="14"/>
                          <a:pt x="0" y="14"/>
                        </a:cubicBezTo>
                        <a:cubicBezTo>
                          <a:pt x="0" y="14"/>
                          <a:pt x="14" y="12"/>
                          <a:pt x="14" y="21"/>
                        </a:cubicBezTo>
                        <a:cubicBezTo>
                          <a:pt x="14" y="31"/>
                          <a:pt x="20" y="30"/>
                          <a:pt x="21" y="30"/>
                        </a:cubicBezTo>
                        <a:cubicBezTo>
                          <a:pt x="22" y="30"/>
                          <a:pt x="26" y="31"/>
                          <a:pt x="27" y="35"/>
                        </a:cubicBezTo>
                        <a:cubicBezTo>
                          <a:pt x="27" y="41"/>
                          <a:pt x="33" y="44"/>
                          <a:pt x="36" y="44"/>
                        </a:cubicBezTo>
                        <a:cubicBezTo>
                          <a:pt x="47" y="32"/>
                          <a:pt x="45" y="22"/>
                          <a:pt x="45" y="22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6" name="Freeform 271">
                    <a:extLst>
                      <a:ext uri="{FF2B5EF4-FFF2-40B4-BE49-F238E27FC236}">
                        <a16:creationId xmlns:a16="http://schemas.microsoft.com/office/drawing/2014/main" id="{12535FEE-8B44-3761-A3DA-F2D73DF1FFF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6542" y="4886326"/>
                    <a:ext cx="15875" cy="7938"/>
                  </a:xfrm>
                  <a:custGeom>
                    <a:avLst/>
                    <a:gdLst>
                      <a:gd name="T0" fmla="*/ 1 w 8"/>
                      <a:gd name="T1" fmla="*/ 3 h 4"/>
                      <a:gd name="T2" fmla="*/ 2 w 8"/>
                      <a:gd name="T3" fmla="*/ 4 h 4"/>
                      <a:gd name="T4" fmla="*/ 8 w 8"/>
                      <a:gd name="T5" fmla="*/ 4 h 4"/>
                      <a:gd name="T6" fmla="*/ 1 w 8"/>
                      <a:gd name="T7" fmla="*/ 1 h 4"/>
                      <a:gd name="T8" fmla="*/ 1 w 8"/>
                      <a:gd name="T9" fmla="*/ 3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" h="4">
                        <a:moveTo>
                          <a:pt x="1" y="3"/>
                        </a:moveTo>
                        <a:cubicBezTo>
                          <a:pt x="1" y="4"/>
                          <a:pt x="1" y="4"/>
                          <a:pt x="2" y="4"/>
                        </a:cubicBezTo>
                        <a:cubicBezTo>
                          <a:pt x="4" y="4"/>
                          <a:pt x="6" y="4"/>
                          <a:pt x="8" y="4"/>
                        </a:cubicBezTo>
                        <a:cubicBezTo>
                          <a:pt x="8" y="4"/>
                          <a:pt x="6" y="3"/>
                          <a:pt x="1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7" name="Freeform 272">
                    <a:extLst>
                      <a:ext uri="{FF2B5EF4-FFF2-40B4-BE49-F238E27FC236}">
                        <a16:creationId xmlns:a16="http://schemas.microsoft.com/office/drawing/2014/main" id="{9499BC81-F3BD-9242-31F2-B3A6F17FFA6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1792" y="4857751"/>
                    <a:ext cx="217488" cy="93663"/>
                  </a:xfrm>
                  <a:custGeom>
                    <a:avLst/>
                    <a:gdLst>
                      <a:gd name="T0" fmla="*/ 0 w 111"/>
                      <a:gd name="T1" fmla="*/ 8 h 48"/>
                      <a:gd name="T2" fmla="*/ 17 w 111"/>
                      <a:gd name="T3" fmla="*/ 1 h 48"/>
                      <a:gd name="T4" fmla="*/ 42 w 111"/>
                      <a:gd name="T5" fmla="*/ 11 h 48"/>
                      <a:gd name="T6" fmla="*/ 75 w 111"/>
                      <a:gd name="T7" fmla="*/ 12 h 48"/>
                      <a:gd name="T8" fmla="*/ 94 w 111"/>
                      <a:gd name="T9" fmla="*/ 19 h 48"/>
                      <a:gd name="T10" fmla="*/ 111 w 111"/>
                      <a:gd name="T11" fmla="*/ 34 h 48"/>
                      <a:gd name="T12" fmla="*/ 79 w 111"/>
                      <a:gd name="T13" fmla="*/ 42 h 48"/>
                      <a:gd name="T14" fmla="*/ 50 w 111"/>
                      <a:gd name="T15" fmla="*/ 34 h 48"/>
                      <a:gd name="T16" fmla="*/ 28 w 111"/>
                      <a:gd name="T17" fmla="*/ 22 h 48"/>
                      <a:gd name="T18" fmla="*/ 14 w 111"/>
                      <a:gd name="T19" fmla="*/ 13 h 48"/>
                      <a:gd name="T20" fmla="*/ 1 w 111"/>
                      <a:gd name="T21" fmla="*/ 13 h 48"/>
                      <a:gd name="T22" fmla="*/ 0 w 111"/>
                      <a:gd name="T23" fmla="*/ 8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11" h="48">
                        <a:moveTo>
                          <a:pt x="0" y="8"/>
                        </a:moveTo>
                        <a:cubicBezTo>
                          <a:pt x="0" y="8"/>
                          <a:pt x="7" y="0"/>
                          <a:pt x="17" y="1"/>
                        </a:cubicBezTo>
                        <a:cubicBezTo>
                          <a:pt x="27" y="2"/>
                          <a:pt x="30" y="5"/>
                          <a:pt x="42" y="11"/>
                        </a:cubicBezTo>
                        <a:cubicBezTo>
                          <a:pt x="54" y="16"/>
                          <a:pt x="62" y="11"/>
                          <a:pt x="75" y="12"/>
                        </a:cubicBezTo>
                        <a:cubicBezTo>
                          <a:pt x="88" y="13"/>
                          <a:pt x="92" y="17"/>
                          <a:pt x="94" y="19"/>
                        </a:cubicBezTo>
                        <a:cubicBezTo>
                          <a:pt x="102" y="24"/>
                          <a:pt x="111" y="34"/>
                          <a:pt x="111" y="34"/>
                        </a:cubicBezTo>
                        <a:cubicBezTo>
                          <a:pt x="111" y="34"/>
                          <a:pt x="94" y="48"/>
                          <a:pt x="79" y="42"/>
                        </a:cubicBezTo>
                        <a:cubicBezTo>
                          <a:pt x="74" y="40"/>
                          <a:pt x="66" y="31"/>
                          <a:pt x="50" y="34"/>
                        </a:cubicBezTo>
                        <a:cubicBezTo>
                          <a:pt x="39" y="36"/>
                          <a:pt x="33" y="29"/>
                          <a:pt x="28" y="22"/>
                        </a:cubicBezTo>
                        <a:cubicBezTo>
                          <a:pt x="25" y="18"/>
                          <a:pt x="19" y="14"/>
                          <a:pt x="14" y="13"/>
                        </a:cubicBezTo>
                        <a:cubicBezTo>
                          <a:pt x="9" y="11"/>
                          <a:pt x="1" y="13"/>
                          <a:pt x="1" y="13"/>
                        </a:cubicBez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8" name="Freeform 273">
                    <a:extLst>
                      <a:ext uri="{FF2B5EF4-FFF2-40B4-BE49-F238E27FC236}">
                        <a16:creationId xmlns:a16="http://schemas.microsoft.com/office/drawing/2014/main" id="{F202EAD9-5C9E-A472-2621-ABB14642206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8617" y="4868864"/>
                    <a:ext cx="7938" cy="15875"/>
                  </a:xfrm>
                  <a:custGeom>
                    <a:avLst/>
                    <a:gdLst>
                      <a:gd name="T0" fmla="*/ 1 w 4"/>
                      <a:gd name="T1" fmla="*/ 6 h 8"/>
                      <a:gd name="T2" fmla="*/ 3 w 4"/>
                      <a:gd name="T3" fmla="*/ 8 h 8"/>
                      <a:gd name="T4" fmla="*/ 4 w 4"/>
                      <a:gd name="T5" fmla="*/ 5 h 8"/>
                      <a:gd name="T6" fmla="*/ 3 w 4"/>
                      <a:gd name="T7" fmla="*/ 2 h 8"/>
                      <a:gd name="T8" fmla="*/ 1 w 4"/>
                      <a:gd name="T9" fmla="*/ 0 h 8"/>
                      <a:gd name="T10" fmla="*/ 0 w 4"/>
                      <a:gd name="T11" fmla="*/ 2 h 8"/>
                      <a:gd name="T12" fmla="*/ 1 w 4"/>
                      <a:gd name="T13" fmla="*/ 6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" h="8">
                        <a:moveTo>
                          <a:pt x="1" y="6"/>
                        </a:moveTo>
                        <a:cubicBezTo>
                          <a:pt x="1" y="7"/>
                          <a:pt x="2" y="8"/>
                          <a:pt x="3" y="8"/>
                        </a:cubicBezTo>
                        <a:cubicBezTo>
                          <a:pt x="4" y="7"/>
                          <a:pt x="4" y="6"/>
                          <a:pt x="4" y="5"/>
                        </a:cubicBezTo>
                        <a:cubicBezTo>
                          <a:pt x="3" y="2"/>
                          <a:pt x="3" y="2"/>
                          <a:pt x="3" y="2"/>
                        </a:cubicBezTo>
                        <a:cubicBezTo>
                          <a:pt x="3" y="1"/>
                          <a:pt x="2" y="0"/>
                          <a:pt x="1" y="0"/>
                        </a:cubicBezTo>
                        <a:cubicBezTo>
                          <a:pt x="0" y="1"/>
                          <a:pt x="0" y="1"/>
                          <a:pt x="0" y="2"/>
                        </a:cubicBezTo>
                        <a:lnTo>
                          <a:pt x="1" y="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" name="Freeform 274">
                    <a:extLst>
                      <a:ext uri="{FF2B5EF4-FFF2-40B4-BE49-F238E27FC236}">
                        <a16:creationId xmlns:a16="http://schemas.microsoft.com/office/drawing/2014/main" id="{657C2982-448C-E214-7569-EAA2F1A0FBD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7505" y="4951414"/>
                    <a:ext cx="50800" cy="150813"/>
                  </a:xfrm>
                  <a:custGeom>
                    <a:avLst/>
                    <a:gdLst>
                      <a:gd name="T0" fmla="*/ 8 w 26"/>
                      <a:gd name="T1" fmla="*/ 0 h 77"/>
                      <a:gd name="T2" fmla="*/ 1 w 26"/>
                      <a:gd name="T3" fmla="*/ 34 h 77"/>
                      <a:gd name="T4" fmla="*/ 26 w 26"/>
                      <a:gd name="T5" fmla="*/ 77 h 77"/>
                      <a:gd name="T6" fmla="*/ 12 w 26"/>
                      <a:gd name="T7" fmla="*/ 31 h 77"/>
                      <a:gd name="T8" fmla="*/ 5 w 26"/>
                      <a:gd name="T9" fmla="*/ 28 h 77"/>
                      <a:gd name="T10" fmla="*/ 12 w 26"/>
                      <a:gd name="T11" fmla="*/ 23 h 77"/>
                      <a:gd name="T12" fmla="*/ 12 w 26"/>
                      <a:gd name="T13" fmla="*/ 1 h 77"/>
                      <a:gd name="T14" fmla="*/ 8 w 26"/>
                      <a:gd name="T15" fmla="*/ 0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6" h="77">
                        <a:moveTo>
                          <a:pt x="8" y="0"/>
                        </a:moveTo>
                        <a:cubicBezTo>
                          <a:pt x="8" y="0"/>
                          <a:pt x="0" y="15"/>
                          <a:pt x="1" y="34"/>
                        </a:cubicBezTo>
                        <a:cubicBezTo>
                          <a:pt x="2" y="54"/>
                          <a:pt x="22" y="73"/>
                          <a:pt x="26" y="77"/>
                        </a:cubicBezTo>
                        <a:cubicBezTo>
                          <a:pt x="16" y="59"/>
                          <a:pt x="12" y="31"/>
                          <a:pt x="12" y="31"/>
                        </a:cubicBezTo>
                        <a:cubicBezTo>
                          <a:pt x="5" y="28"/>
                          <a:pt x="5" y="28"/>
                          <a:pt x="5" y="28"/>
                        </a:cubicBezTo>
                        <a:cubicBezTo>
                          <a:pt x="12" y="23"/>
                          <a:pt x="12" y="23"/>
                          <a:pt x="12" y="23"/>
                        </a:cubicBezTo>
                        <a:cubicBezTo>
                          <a:pt x="12" y="1"/>
                          <a:pt x="12" y="1"/>
                          <a:pt x="12" y="1"/>
                        </a:cubicBezTo>
                        <a:lnTo>
                          <a:pt x="8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" name="Freeform 275">
                    <a:extLst>
                      <a:ext uri="{FF2B5EF4-FFF2-40B4-BE49-F238E27FC236}">
                        <a16:creationId xmlns:a16="http://schemas.microsoft.com/office/drawing/2014/main" id="{2499AD0B-4FF9-3240-D14F-B61AB6317DC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87317" y="5113339"/>
                    <a:ext cx="174625" cy="79375"/>
                  </a:xfrm>
                  <a:custGeom>
                    <a:avLst/>
                    <a:gdLst>
                      <a:gd name="T0" fmla="*/ 1 w 110"/>
                      <a:gd name="T1" fmla="*/ 0 h 50"/>
                      <a:gd name="T2" fmla="*/ 110 w 110"/>
                      <a:gd name="T3" fmla="*/ 22 h 50"/>
                      <a:gd name="T4" fmla="*/ 95 w 110"/>
                      <a:gd name="T5" fmla="*/ 50 h 50"/>
                      <a:gd name="T6" fmla="*/ 0 w 110"/>
                      <a:gd name="T7" fmla="*/ 12 h 50"/>
                      <a:gd name="T8" fmla="*/ 1 w 110"/>
                      <a:gd name="T9" fmla="*/ 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0" h="50">
                        <a:moveTo>
                          <a:pt x="1" y="0"/>
                        </a:moveTo>
                        <a:lnTo>
                          <a:pt x="110" y="22"/>
                        </a:lnTo>
                        <a:lnTo>
                          <a:pt x="95" y="50"/>
                        </a:lnTo>
                        <a:lnTo>
                          <a:pt x="0" y="12"/>
                        </a:ln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" name="Freeform 276">
                    <a:extLst>
                      <a:ext uri="{FF2B5EF4-FFF2-40B4-BE49-F238E27FC236}">
                        <a16:creationId xmlns:a16="http://schemas.microsoft.com/office/drawing/2014/main" id="{299C8AC5-FEAD-FAC0-BF33-91C648F2BF1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77805" y="4949826"/>
                    <a:ext cx="252413" cy="258763"/>
                  </a:xfrm>
                  <a:custGeom>
                    <a:avLst/>
                    <a:gdLst>
                      <a:gd name="T0" fmla="*/ 7 w 128"/>
                      <a:gd name="T1" fmla="*/ 93 h 132"/>
                      <a:gd name="T2" fmla="*/ 49 w 128"/>
                      <a:gd name="T3" fmla="*/ 102 h 132"/>
                      <a:gd name="T4" fmla="*/ 91 w 128"/>
                      <a:gd name="T5" fmla="*/ 24 h 132"/>
                      <a:gd name="T6" fmla="*/ 121 w 128"/>
                      <a:gd name="T7" fmla="*/ 53 h 132"/>
                      <a:gd name="T8" fmla="*/ 70 w 128"/>
                      <a:gd name="T9" fmla="*/ 119 h 132"/>
                      <a:gd name="T10" fmla="*/ 38 w 128"/>
                      <a:gd name="T11" fmla="*/ 127 h 132"/>
                      <a:gd name="T12" fmla="*/ 0 w 128"/>
                      <a:gd name="T13" fmla="*/ 112 h 132"/>
                      <a:gd name="T14" fmla="*/ 7 w 128"/>
                      <a:gd name="T15" fmla="*/ 93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8" h="132">
                        <a:moveTo>
                          <a:pt x="7" y="93"/>
                        </a:moveTo>
                        <a:cubicBezTo>
                          <a:pt x="49" y="102"/>
                          <a:pt x="49" y="102"/>
                          <a:pt x="49" y="102"/>
                        </a:cubicBezTo>
                        <a:cubicBezTo>
                          <a:pt x="49" y="102"/>
                          <a:pt x="81" y="54"/>
                          <a:pt x="91" y="24"/>
                        </a:cubicBezTo>
                        <a:cubicBezTo>
                          <a:pt x="109" y="0"/>
                          <a:pt x="128" y="26"/>
                          <a:pt x="121" y="53"/>
                        </a:cubicBezTo>
                        <a:cubicBezTo>
                          <a:pt x="101" y="86"/>
                          <a:pt x="82" y="108"/>
                          <a:pt x="70" y="119"/>
                        </a:cubicBezTo>
                        <a:cubicBezTo>
                          <a:pt x="55" y="132"/>
                          <a:pt x="38" y="127"/>
                          <a:pt x="38" y="127"/>
                        </a:cubicBezTo>
                        <a:cubicBezTo>
                          <a:pt x="38" y="127"/>
                          <a:pt x="14" y="117"/>
                          <a:pt x="0" y="112"/>
                        </a:cubicBezTo>
                        <a:lnTo>
                          <a:pt x="7" y="93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Freeform 278">
                    <a:extLst>
                      <a:ext uri="{FF2B5EF4-FFF2-40B4-BE49-F238E27FC236}">
                        <a16:creationId xmlns:a16="http://schemas.microsoft.com/office/drawing/2014/main" id="{4F8E6582-B93D-0BD9-9D0E-32C6789F989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12705" y="5087939"/>
                    <a:ext cx="79375" cy="46038"/>
                  </a:xfrm>
                  <a:custGeom>
                    <a:avLst/>
                    <a:gdLst>
                      <a:gd name="T0" fmla="*/ 40 w 40"/>
                      <a:gd name="T1" fmla="*/ 14 h 24"/>
                      <a:gd name="T2" fmla="*/ 31 w 40"/>
                      <a:gd name="T3" fmla="*/ 9 h 24"/>
                      <a:gd name="T4" fmla="*/ 24 w 40"/>
                      <a:gd name="T5" fmla="*/ 4 h 24"/>
                      <a:gd name="T6" fmla="*/ 21 w 40"/>
                      <a:gd name="T7" fmla="*/ 2 h 24"/>
                      <a:gd name="T8" fmla="*/ 4 w 40"/>
                      <a:gd name="T9" fmla="*/ 1 h 24"/>
                      <a:gd name="T10" fmla="*/ 4 w 40"/>
                      <a:gd name="T11" fmla="*/ 2 h 24"/>
                      <a:gd name="T12" fmla="*/ 12 w 40"/>
                      <a:gd name="T13" fmla="*/ 4 h 24"/>
                      <a:gd name="T14" fmla="*/ 1 w 40"/>
                      <a:gd name="T15" fmla="*/ 7 h 24"/>
                      <a:gd name="T16" fmla="*/ 3 w 40"/>
                      <a:gd name="T17" fmla="*/ 9 h 24"/>
                      <a:gd name="T18" fmla="*/ 11 w 40"/>
                      <a:gd name="T19" fmla="*/ 8 h 24"/>
                      <a:gd name="T20" fmla="*/ 25 w 40"/>
                      <a:gd name="T21" fmla="*/ 20 h 24"/>
                      <a:gd name="T22" fmla="*/ 19 w 40"/>
                      <a:gd name="T23" fmla="*/ 21 h 24"/>
                      <a:gd name="T24" fmla="*/ 22 w 40"/>
                      <a:gd name="T25" fmla="*/ 24 h 24"/>
                      <a:gd name="T26" fmla="*/ 39 w 40"/>
                      <a:gd name="T27" fmla="*/ 23 h 24"/>
                      <a:gd name="T28" fmla="*/ 40 w 40"/>
                      <a:gd name="T29" fmla="*/ 14 h 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0" h="24">
                        <a:moveTo>
                          <a:pt x="40" y="14"/>
                        </a:moveTo>
                        <a:cubicBezTo>
                          <a:pt x="40" y="14"/>
                          <a:pt x="35" y="12"/>
                          <a:pt x="31" y="9"/>
                        </a:cubicBezTo>
                        <a:cubicBezTo>
                          <a:pt x="28" y="7"/>
                          <a:pt x="24" y="4"/>
                          <a:pt x="24" y="4"/>
                        </a:cubicBezTo>
                        <a:cubicBezTo>
                          <a:pt x="24" y="4"/>
                          <a:pt x="23" y="3"/>
                          <a:pt x="21" y="2"/>
                        </a:cubicBezTo>
                        <a:cubicBezTo>
                          <a:pt x="20" y="1"/>
                          <a:pt x="12" y="0"/>
                          <a:pt x="4" y="1"/>
                        </a:cubicBezTo>
                        <a:cubicBezTo>
                          <a:pt x="3" y="1"/>
                          <a:pt x="3" y="2"/>
                          <a:pt x="4" y="2"/>
                        </a:cubicBezTo>
                        <a:cubicBezTo>
                          <a:pt x="5" y="3"/>
                          <a:pt x="12" y="4"/>
                          <a:pt x="12" y="4"/>
                        </a:cubicBezTo>
                        <a:cubicBezTo>
                          <a:pt x="12" y="4"/>
                          <a:pt x="3" y="6"/>
                          <a:pt x="1" y="7"/>
                        </a:cubicBezTo>
                        <a:cubicBezTo>
                          <a:pt x="0" y="7"/>
                          <a:pt x="1" y="9"/>
                          <a:pt x="3" y="9"/>
                        </a:cubicBezTo>
                        <a:cubicBezTo>
                          <a:pt x="4" y="9"/>
                          <a:pt x="11" y="8"/>
                          <a:pt x="11" y="8"/>
                        </a:cubicBezTo>
                        <a:cubicBezTo>
                          <a:pt x="25" y="20"/>
                          <a:pt x="25" y="20"/>
                          <a:pt x="25" y="20"/>
                        </a:cubicBezTo>
                        <a:cubicBezTo>
                          <a:pt x="19" y="21"/>
                          <a:pt x="19" y="21"/>
                          <a:pt x="19" y="21"/>
                        </a:cubicBezTo>
                        <a:cubicBezTo>
                          <a:pt x="22" y="24"/>
                          <a:pt x="22" y="24"/>
                          <a:pt x="22" y="24"/>
                        </a:cubicBezTo>
                        <a:cubicBezTo>
                          <a:pt x="22" y="24"/>
                          <a:pt x="30" y="24"/>
                          <a:pt x="39" y="23"/>
                        </a:cubicBezTo>
                        <a:lnTo>
                          <a:pt x="40" y="14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" name="Freeform 279">
                    <a:extLst>
                      <a:ext uri="{FF2B5EF4-FFF2-40B4-BE49-F238E27FC236}">
                        <a16:creationId xmlns:a16="http://schemas.microsoft.com/office/drawing/2014/main" id="{CE76B5F5-6C95-BB22-8DDC-743653CAD9B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2405" y="5707064"/>
                    <a:ext cx="63500" cy="38100"/>
                  </a:xfrm>
                  <a:custGeom>
                    <a:avLst/>
                    <a:gdLst>
                      <a:gd name="T0" fmla="*/ 11 w 32"/>
                      <a:gd name="T1" fmla="*/ 9 h 19"/>
                      <a:gd name="T2" fmla="*/ 2 w 32"/>
                      <a:gd name="T3" fmla="*/ 11 h 19"/>
                      <a:gd name="T4" fmla="*/ 1 w 32"/>
                      <a:gd name="T5" fmla="*/ 14 h 19"/>
                      <a:gd name="T6" fmla="*/ 13 w 32"/>
                      <a:gd name="T7" fmla="*/ 16 h 19"/>
                      <a:gd name="T8" fmla="*/ 23 w 32"/>
                      <a:gd name="T9" fmla="*/ 10 h 19"/>
                      <a:gd name="T10" fmla="*/ 22 w 32"/>
                      <a:gd name="T11" fmla="*/ 18 h 19"/>
                      <a:gd name="T12" fmla="*/ 26 w 32"/>
                      <a:gd name="T13" fmla="*/ 19 h 19"/>
                      <a:gd name="T14" fmla="*/ 30 w 32"/>
                      <a:gd name="T15" fmla="*/ 6 h 19"/>
                      <a:gd name="T16" fmla="*/ 31 w 32"/>
                      <a:gd name="T17" fmla="*/ 0 h 19"/>
                      <a:gd name="T18" fmla="*/ 23 w 32"/>
                      <a:gd name="T19" fmla="*/ 5 h 19"/>
                      <a:gd name="T20" fmla="*/ 11 w 32"/>
                      <a:gd name="T21" fmla="*/ 9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2" h="19">
                        <a:moveTo>
                          <a:pt x="11" y="9"/>
                        </a:moveTo>
                        <a:cubicBezTo>
                          <a:pt x="8" y="9"/>
                          <a:pt x="3" y="11"/>
                          <a:pt x="2" y="11"/>
                        </a:cubicBezTo>
                        <a:cubicBezTo>
                          <a:pt x="0" y="11"/>
                          <a:pt x="1" y="14"/>
                          <a:pt x="1" y="14"/>
                        </a:cubicBezTo>
                        <a:cubicBezTo>
                          <a:pt x="1" y="14"/>
                          <a:pt x="11" y="15"/>
                          <a:pt x="13" y="16"/>
                        </a:cubicBezTo>
                        <a:cubicBezTo>
                          <a:pt x="15" y="16"/>
                          <a:pt x="23" y="10"/>
                          <a:pt x="23" y="10"/>
                        </a:cubicBezTo>
                        <a:cubicBezTo>
                          <a:pt x="22" y="18"/>
                          <a:pt x="22" y="18"/>
                          <a:pt x="22" y="18"/>
                        </a:cubicBezTo>
                        <a:cubicBezTo>
                          <a:pt x="26" y="19"/>
                          <a:pt x="26" y="19"/>
                          <a:pt x="26" y="19"/>
                        </a:cubicBezTo>
                        <a:cubicBezTo>
                          <a:pt x="26" y="19"/>
                          <a:pt x="28" y="12"/>
                          <a:pt x="30" y="6"/>
                        </a:cubicBezTo>
                        <a:cubicBezTo>
                          <a:pt x="32" y="3"/>
                          <a:pt x="31" y="0"/>
                          <a:pt x="31" y="0"/>
                        </a:cubicBezTo>
                        <a:cubicBezTo>
                          <a:pt x="31" y="0"/>
                          <a:pt x="29" y="0"/>
                          <a:pt x="23" y="5"/>
                        </a:cubicBezTo>
                        <a:cubicBezTo>
                          <a:pt x="17" y="11"/>
                          <a:pt x="13" y="9"/>
                          <a:pt x="11" y="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22" name="Freeform 179">
                  <a:extLst>
                    <a:ext uri="{FF2B5EF4-FFF2-40B4-BE49-F238E27FC236}">
                      <a16:creationId xmlns:a16="http://schemas.microsoft.com/office/drawing/2014/main" id="{3C2A73A9-43FB-74C7-7345-97188BF3B22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81113" y="4808808"/>
                  <a:ext cx="566968" cy="273800"/>
                </a:xfrm>
                <a:custGeom>
                  <a:avLst/>
                  <a:gdLst>
                    <a:gd name="T0" fmla="*/ 262 w 551"/>
                    <a:gd name="T1" fmla="*/ 0 h 266"/>
                    <a:gd name="T2" fmla="*/ 238 w 551"/>
                    <a:gd name="T3" fmla="*/ 1 h 266"/>
                    <a:gd name="T4" fmla="*/ 240 w 551"/>
                    <a:gd name="T5" fmla="*/ 6 h 266"/>
                    <a:gd name="T6" fmla="*/ 264 w 551"/>
                    <a:gd name="T7" fmla="*/ 12 h 266"/>
                    <a:gd name="T8" fmla="*/ 282 w 551"/>
                    <a:gd name="T9" fmla="*/ 24 h 266"/>
                    <a:gd name="T10" fmla="*/ 281 w 551"/>
                    <a:gd name="T11" fmla="*/ 24 h 266"/>
                    <a:gd name="T12" fmla="*/ 280 w 551"/>
                    <a:gd name="T13" fmla="*/ 111 h 266"/>
                    <a:gd name="T14" fmla="*/ 218 w 551"/>
                    <a:gd name="T15" fmla="*/ 100 h 266"/>
                    <a:gd name="T16" fmla="*/ 166 w 551"/>
                    <a:gd name="T17" fmla="*/ 128 h 266"/>
                    <a:gd name="T18" fmla="*/ 94 w 551"/>
                    <a:gd name="T19" fmla="*/ 246 h 266"/>
                    <a:gd name="T20" fmla="*/ 0 w 551"/>
                    <a:gd name="T21" fmla="*/ 266 h 266"/>
                    <a:gd name="T22" fmla="*/ 224 w 551"/>
                    <a:gd name="T23" fmla="*/ 266 h 266"/>
                    <a:gd name="T24" fmla="*/ 241 w 551"/>
                    <a:gd name="T25" fmla="*/ 240 h 266"/>
                    <a:gd name="T26" fmla="*/ 212 w 551"/>
                    <a:gd name="T27" fmla="*/ 236 h 266"/>
                    <a:gd name="T28" fmla="*/ 217 w 551"/>
                    <a:gd name="T29" fmla="*/ 156 h 266"/>
                    <a:gd name="T30" fmla="*/ 280 w 551"/>
                    <a:gd name="T31" fmla="*/ 166 h 266"/>
                    <a:gd name="T32" fmla="*/ 279 w 551"/>
                    <a:gd name="T33" fmla="*/ 266 h 266"/>
                    <a:gd name="T34" fmla="*/ 364 w 551"/>
                    <a:gd name="T35" fmla="*/ 266 h 266"/>
                    <a:gd name="T36" fmla="*/ 348 w 551"/>
                    <a:gd name="T37" fmla="*/ 167 h 266"/>
                    <a:gd name="T38" fmla="*/ 451 w 551"/>
                    <a:gd name="T39" fmla="*/ 166 h 266"/>
                    <a:gd name="T40" fmla="*/ 510 w 551"/>
                    <a:gd name="T41" fmla="*/ 167 h 266"/>
                    <a:gd name="T42" fmla="*/ 519 w 551"/>
                    <a:gd name="T43" fmla="*/ 168 h 266"/>
                    <a:gd name="T44" fmla="*/ 521 w 551"/>
                    <a:gd name="T45" fmla="*/ 168 h 266"/>
                    <a:gd name="T46" fmla="*/ 545 w 551"/>
                    <a:gd name="T47" fmla="*/ 168 h 266"/>
                    <a:gd name="T48" fmla="*/ 546 w 551"/>
                    <a:gd name="T49" fmla="*/ 160 h 266"/>
                    <a:gd name="T50" fmla="*/ 532 w 551"/>
                    <a:gd name="T51" fmla="*/ 158 h 266"/>
                    <a:gd name="T52" fmla="*/ 548 w 551"/>
                    <a:gd name="T53" fmla="*/ 143 h 266"/>
                    <a:gd name="T54" fmla="*/ 551 w 551"/>
                    <a:gd name="T55" fmla="*/ 121 h 266"/>
                    <a:gd name="T56" fmla="*/ 548 w 551"/>
                    <a:gd name="T57" fmla="*/ 119 h 266"/>
                    <a:gd name="T58" fmla="*/ 545 w 551"/>
                    <a:gd name="T59" fmla="*/ 121 h 266"/>
                    <a:gd name="T60" fmla="*/ 537 w 551"/>
                    <a:gd name="T61" fmla="*/ 135 h 266"/>
                    <a:gd name="T62" fmla="*/ 511 w 551"/>
                    <a:gd name="T63" fmla="*/ 150 h 266"/>
                    <a:gd name="T64" fmla="*/ 338 w 551"/>
                    <a:gd name="T65" fmla="*/ 121 h 266"/>
                    <a:gd name="T66" fmla="*/ 315 w 551"/>
                    <a:gd name="T67" fmla="*/ 27 h 266"/>
                    <a:gd name="T68" fmla="*/ 306 w 551"/>
                    <a:gd name="T69" fmla="*/ 25 h 266"/>
                    <a:gd name="T70" fmla="*/ 306 w 551"/>
                    <a:gd name="T71" fmla="*/ 22 h 266"/>
                    <a:gd name="T72" fmla="*/ 306 w 551"/>
                    <a:gd name="T73" fmla="*/ 0 h 266"/>
                    <a:gd name="T74" fmla="*/ 288 w 551"/>
                    <a:gd name="T75" fmla="*/ 0 h 266"/>
                    <a:gd name="T76" fmla="*/ 287 w 551"/>
                    <a:gd name="T77" fmla="*/ 8 h 266"/>
                    <a:gd name="T78" fmla="*/ 262 w 551"/>
                    <a:gd name="T79" fmla="*/ 0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551" h="266">
                      <a:moveTo>
                        <a:pt x="262" y="0"/>
                      </a:moveTo>
                      <a:cubicBezTo>
                        <a:pt x="238" y="1"/>
                        <a:pt x="238" y="1"/>
                        <a:pt x="238" y="1"/>
                      </a:cubicBezTo>
                      <a:cubicBezTo>
                        <a:pt x="238" y="1"/>
                        <a:pt x="235" y="5"/>
                        <a:pt x="240" y="6"/>
                      </a:cubicBezTo>
                      <a:cubicBezTo>
                        <a:pt x="241" y="6"/>
                        <a:pt x="264" y="12"/>
                        <a:pt x="264" y="12"/>
                      </a:cubicBezTo>
                      <a:cubicBezTo>
                        <a:pt x="282" y="24"/>
                        <a:pt x="282" y="24"/>
                        <a:pt x="282" y="24"/>
                      </a:cubicBezTo>
                      <a:cubicBezTo>
                        <a:pt x="281" y="24"/>
                        <a:pt x="281" y="24"/>
                        <a:pt x="281" y="24"/>
                      </a:cubicBezTo>
                      <a:cubicBezTo>
                        <a:pt x="280" y="111"/>
                        <a:pt x="280" y="111"/>
                        <a:pt x="280" y="111"/>
                      </a:cubicBezTo>
                      <a:cubicBezTo>
                        <a:pt x="218" y="100"/>
                        <a:pt x="218" y="100"/>
                        <a:pt x="218" y="100"/>
                      </a:cubicBezTo>
                      <a:cubicBezTo>
                        <a:pt x="218" y="100"/>
                        <a:pt x="187" y="101"/>
                        <a:pt x="166" y="128"/>
                      </a:cubicBezTo>
                      <a:cubicBezTo>
                        <a:pt x="163" y="132"/>
                        <a:pt x="129" y="188"/>
                        <a:pt x="94" y="246"/>
                      </a:cubicBezTo>
                      <a:cubicBezTo>
                        <a:pt x="63" y="251"/>
                        <a:pt x="31" y="258"/>
                        <a:pt x="0" y="266"/>
                      </a:cubicBezTo>
                      <a:cubicBezTo>
                        <a:pt x="224" y="266"/>
                        <a:pt x="224" y="266"/>
                        <a:pt x="224" y="266"/>
                      </a:cubicBezTo>
                      <a:cubicBezTo>
                        <a:pt x="228" y="258"/>
                        <a:pt x="233" y="249"/>
                        <a:pt x="241" y="240"/>
                      </a:cubicBezTo>
                      <a:cubicBezTo>
                        <a:pt x="234" y="238"/>
                        <a:pt x="224" y="237"/>
                        <a:pt x="212" y="236"/>
                      </a:cubicBezTo>
                      <a:cubicBezTo>
                        <a:pt x="215" y="205"/>
                        <a:pt x="216" y="176"/>
                        <a:pt x="217" y="156"/>
                      </a:cubicBezTo>
                      <a:cubicBezTo>
                        <a:pt x="224" y="162"/>
                        <a:pt x="248" y="165"/>
                        <a:pt x="280" y="166"/>
                      </a:cubicBezTo>
                      <a:cubicBezTo>
                        <a:pt x="279" y="266"/>
                        <a:pt x="279" y="266"/>
                        <a:pt x="279" y="266"/>
                      </a:cubicBezTo>
                      <a:cubicBezTo>
                        <a:pt x="364" y="266"/>
                        <a:pt x="364" y="266"/>
                        <a:pt x="364" y="266"/>
                      </a:cubicBezTo>
                      <a:cubicBezTo>
                        <a:pt x="362" y="236"/>
                        <a:pt x="356" y="201"/>
                        <a:pt x="348" y="167"/>
                      </a:cubicBezTo>
                      <a:cubicBezTo>
                        <a:pt x="382" y="166"/>
                        <a:pt x="417" y="166"/>
                        <a:pt x="451" y="166"/>
                      </a:cubicBezTo>
                      <a:cubicBezTo>
                        <a:pt x="472" y="166"/>
                        <a:pt x="492" y="166"/>
                        <a:pt x="510" y="167"/>
                      </a:cubicBezTo>
                      <a:cubicBezTo>
                        <a:pt x="510" y="167"/>
                        <a:pt x="514" y="168"/>
                        <a:pt x="519" y="168"/>
                      </a:cubicBezTo>
                      <a:cubicBezTo>
                        <a:pt x="520" y="168"/>
                        <a:pt x="520" y="168"/>
                        <a:pt x="521" y="168"/>
                      </a:cubicBezTo>
                      <a:cubicBezTo>
                        <a:pt x="532" y="168"/>
                        <a:pt x="545" y="168"/>
                        <a:pt x="545" y="168"/>
                      </a:cubicBezTo>
                      <a:cubicBezTo>
                        <a:pt x="546" y="160"/>
                        <a:pt x="546" y="160"/>
                        <a:pt x="546" y="160"/>
                      </a:cubicBezTo>
                      <a:cubicBezTo>
                        <a:pt x="532" y="158"/>
                        <a:pt x="532" y="158"/>
                        <a:pt x="532" y="158"/>
                      </a:cubicBezTo>
                      <a:cubicBezTo>
                        <a:pt x="532" y="158"/>
                        <a:pt x="547" y="147"/>
                        <a:pt x="548" y="143"/>
                      </a:cubicBezTo>
                      <a:cubicBezTo>
                        <a:pt x="548" y="139"/>
                        <a:pt x="551" y="121"/>
                        <a:pt x="551" y="121"/>
                      </a:cubicBezTo>
                      <a:cubicBezTo>
                        <a:pt x="551" y="121"/>
                        <a:pt x="549" y="119"/>
                        <a:pt x="548" y="119"/>
                      </a:cubicBezTo>
                      <a:cubicBezTo>
                        <a:pt x="547" y="119"/>
                        <a:pt x="546" y="120"/>
                        <a:pt x="545" y="121"/>
                      </a:cubicBezTo>
                      <a:cubicBezTo>
                        <a:pt x="545" y="123"/>
                        <a:pt x="539" y="131"/>
                        <a:pt x="537" y="135"/>
                      </a:cubicBezTo>
                      <a:cubicBezTo>
                        <a:pt x="511" y="150"/>
                        <a:pt x="511" y="150"/>
                        <a:pt x="511" y="150"/>
                      </a:cubicBezTo>
                      <a:cubicBezTo>
                        <a:pt x="338" y="121"/>
                        <a:pt x="338" y="121"/>
                        <a:pt x="338" y="121"/>
                      </a:cubicBezTo>
                      <a:cubicBezTo>
                        <a:pt x="326" y="73"/>
                        <a:pt x="315" y="27"/>
                        <a:pt x="315" y="27"/>
                      </a:cubicBezTo>
                      <a:cubicBezTo>
                        <a:pt x="306" y="25"/>
                        <a:pt x="306" y="25"/>
                        <a:pt x="306" y="25"/>
                      </a:cubicBezTo>
                      <a:cubicBezTo>
                        <a:pt x="306" y="22"/>
                        <a:pt x="306" y="22"/>
                        <a:pt x="306" y="22"/>
                      </a:cubicBezTo>
                      <a:cubicBezTo>
                        <a:pt x="306" y="0"/>
                        <a:pt x="306" y="0"/>
                        <a:pt x="306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87" y="8"/>
                        <a:pt x="287" y="8"/>
                        <a:pt x="287" y="8"/>
                      </a:cubicBezTo>
                      <a:cubicBezTo>
                        <a:pt x="262" y="0"/>
                        <a:pt x="262" y="0"/>
                        <a:pt x="262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3" name="Freeform 178">
                  <a:extLst>
                    <a:ext uri="{FF2B5EF4-FFF2-40B4-BE49-F238E27FC236}">
                      <a16:creationId xmlns:a16="http://schemas.microsoft.com/office/drawing/2014/main" id="{4262BFEC-4FD6-94ED-9201-1369CAC6447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695018" y="4798755"/>
                  <a:ext cx="340636" cy="295218"/>
                </a:xfrm>
                <a:custGeom>
                  <a:avLst/>
                  <a:gdLst>
                    <a:gd name="T0" fmla="*/ 214 w 308"/>
                    <a:gd name="T1" fmla="*/ 0 h 267"/>
                    <a:gd name="T2" fmla="*/ 208 w 308"/>
                    <a:gd name="T3" fmla="*/ 1 h 267"/>
                    <a:gd name="T4" fmla="*/ 210 w 308"/>
                    <a:gd name="T5" fmla="*/ 13 h 267"/>
                    <a:gd name="T6" fmla="*/ 195 w 308"/>
                    <a:gd name="T7" fmla="*/ 4 h 267"/>
                    <a:gd name="T8" fmla="*/ 194 w 308"/>
                    <a:gd name="T9" fmla="*/ 4 h 267"/>
                    <a:gd name="T10" fmla="*/ 175 w 308"/>
                    <a:gd name="T11" fmla="*/ 8 h 267"/>
                    <a:gd name="T12" fmla="*/ 177 w 308"/>
                    <a:gd name="T13" fmla="*/ 12 h 267"/>
                    <a:gd name="T14" fmla="*/ 190 w 308"/>
                    <a:gd name="T15" fmla="*/ 16 h 267"/>
                    <a:gd name="T16" fmla="*/ 210 w 308"/>
                    <a:gd name="T17" fmla="*/ 32 h 267"/>
                    <a:gd name="T18" fmla="*/ 230 w 308"/>
                    <a:gd name="T19" fmla="*/ 190 h 267"/>
                    <a:gd name="T20" fmla="*/ 172 w 308"/>
                    <a:gd name="T21" fmla="*/ 119 h 267"/>
                    <a:gd name="T22" fmla="*/ 124 w 308"/>
                    <a:gd name="T23" fmla="*/ 94 h 267"/>
                    <a:gd name="T24" fmla="*/ 74 w 308"/>
                    <a:gd name="T25" fmla="*/ 128 h 267"/>
                    <a:gd name="T26" fmla="*/ 0 w 308"/>
                    <a:gd name="T27" fmla="*/ 267 h 267"/>
                    <a:gd name="T28" fmla="*/ 135 w 308"/>
                    <a:gd name="T29" fmla="*/ 267 h 267"/>
                    <a:gd name="T30" fmla="*/ 139 w 308"/>
                    <a:gd name="T31" fmla="*/ 192 h 267"/>
                    <a:gd name="T32" fmla="*/ 218 w 308"/>
                    <a:gd name="T33" fmla="*/ 267 h 267"/>
                    <a:gd name="T34" fmla="*/ 308 w 308"/>
                    <a:gd name="T35" fmla="*/ 267 h 267"/>
                    <a:gd name="T36" fmla="*/ 223 w 308"/>
                    <a:gd name="T37" fmla="*/ 29 h 267"/>
                    <a:gd name="T38" fmla="*/ 222 w 308"/>
                    <a:gd name="T39" fmla="*/ 20 h 267"/>
                    <a:gd name="T40" fmla="*/ 214 w 308"/>
                    <a:gd name="T41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08" h="267">
                      <a:moveTo>
                        <a:pt x="214" y="0"/>
                      </a:moveTo>
                      <a:cubicBezTo>
                        <a:pt x="208" y="1"/>
                        <a:pt x="208" y="1"/>
                        <a:pt x="208" y="1"/>
                      </a:cubicBezTo>
                      <a:cubicBezTo>
                        <a:pt x="210" y="13"/>
                        <a:pt x="210" y="13"/>
                        <a:pt x="210" y="13"/>
                      </a:cubicBezTo>
                      <a:cubicBezTo>
                        <a:pt x="210" y="13"/>
                        <a:pt x="198" y="4"/>
                        <a:pt x="195" y="4"/>
                      </a:cubicBezTo>
                      <a:cubicBezTo>
                        <a:pt x="194" y="4"/>
                        <a:pt x="194" y="4"/>
                        <a:pt x="194" y="4"/>
                      </a:cubicBezTo>
                      <a:cubicBezTo>
                        <a:pt x="191" y="5"/>
                        <a:pt x="175" y="8"/>
                        <a:pt x="175" y="8"/>
                      </a:cubicBezTo>
                      <a:cubicBezTo>
                        <a:pt x="175" y="8"/>
                        <a:pt x="173" y="12"/>
                        <a:pt x="177" y="12"/>
                      </a:cubicBezTo>
                      <a:cubicBezTo>
                        <a:pt x="178" y="12"/>
                        <a:pt x="187" y="15"/>
                        <a:pt x="190" y="16"/>
                      </a:cubicBezTo>
                      <a:cubicBezTo>
                        <a:pt x="210" y="32"/>
                        <a:pt x="210" y="32"/>
                        <a:pt x="210" y="32"/>
                      </a:cubicBezTo>
                      <a:cubicBezTo>
                        <a:pt x="230" y="190"/>
                        <a:pt x="230" y="190"/>
                        <a:pt x="230" y="190"/>
                      </a:cubicBezTo>
                      <a:cubicBezTo>
                        <a:pt x="200" y="154"/>
                        <a:pt x="177" y="125"/>
                        <a:pt x="172" y="119"/>
                      </a:cubicBezTo>
                      <a:cubicBezTo>
                        <a:pt x="164" y="107"/>
                        <a:pt x="145" y="94"/>
                        <a:pt x="124" y="94"/>
                      </a:cubicBezTo>
                      <a:cubicBezTo>
                        <a:pt x="107" y="94"/>
                        <a:pt x="89" y="102"/>
                        <a:pt x="74" y="128"/>
                      </a:cubicBezTo>
                      <a:cubicBezTo>
                        <a:pt x="54" y="164"/>
                        <a:pt x="24" y="222"/>
                        <a:pt x="0" y="267"/>
                      </a:cubicBezTo>
                      <a:cubicBezTo>
                        <a:pt x="135" y="267"/>
                        <a:pt x="135" y="267"/>
                        <a:pt x="135" y="267"/>
                      </a:cubicBezTo>
                      <a:cubicBezTo>
                        <a:pt x="138" y="241"/>
                        <a:pt x="139" y="214"/>
                        <a:pt x="139" y="192"/>
                      </a:cubicBezTo>
                      <a:cubicBezTo>
                        <a:pt x="218" y="267"/>
                        <a:pt x="218" y="267"/>
                        <a:pt x="218" y="267"/>
                      </a:cubicBezTo>
                      <a:cubicBezTo>
                        <a:pt x="308" y="267"/>
                        <a:pt x="308" y="267"/>
                        <a:pt x="308" y="267"/>
                      </a:cubicBezTo>
                      <a:cubicBezTo>
                        <a:pt x="297" y="187"/>
                        <a:pt x="223" y="29"/>
                        <a:pt x="223" y="29"/>
                      </a:cubicBezTo>
                      <a:cubicBezTo>
                        <a:pt x="223" y="29"/>
                        <a:pt x="223" y="24"/>
                        <a:pt x="222" y="20"/>
                      </a:cubicBezTo>
                      <a:cubicBezTo>
                        <a:pt x="218" y="11"/>
                        <a:pt x="214" y="0"/>
                        <a:pt x="214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4" name="Freeform 176">
                  <a:extLst>
                    <a:ext uri="{FF2B5EF4-FFF2-40B4-BE49-F238E27FC236}">
                      <a16:creationId xmlns:a16="http://schemas.microsoft.com/office/drawing/2014/main" id="{7AF48866-C937-0842-34DE-D4A3E426368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36034" y="4916018"/>
                  <a:ext cx="541027" cy="181578"/>
                </a:xfrm>
                <a:custGeom>
                  <a:avLst/>
                  <a:gdLst>
                    <a:gd name="T0" fmla="*/ 91 w 375"/>
                    <a:gd name="T1" fmla="*/ 0 h 126"/>
                    <a:gd name="T2" fmla="*/ 48 w 375"/>
                    <a:gd name="T3" fmla="*/ 25 h 126"/>
                    <a:gd name="T4" fmla="*/ 0 w 375"/>
                    <a:gd name="T5" fmla="*/ 126 h 126"/>
                    <a:gd name="T6" fmla="*/ 88 w 375"/>
                    <a:gd name="T7" fmla="*/ 126 h 126"/>
                    <a:gd name="T8" fmla="*/ 92 w 375"/>
                    <a:gd name="T9" fmla="*/ 48 h 126"/>
                    <a:gd name="T10" fmla="*/ 152 w 375"/>
                    <a:gd name="T11" fmla="*/ 55 h 126"/>
                    <a:gd name="T12" fmla="*/ 240 w 375"/>
                    <a:gd name="T13" fmla="*/ 52 h 126"/>
                    <a:gd name="T14" fmla="*/ 331 w 375"/>
                    <a:gd name="T15" fmla="*/ 50 h 126"/>
                    <a:gd name="T16" fmla="*/ 341 w 375"/>
                    <a:gd name="T17" fmla="*/ 50 h 126"/>
                    <a:gd name="T18" fmla="*/ 349 w 375"/>
                    <a:gd name="T19" fmla="*/ 51 h 126"/>
                    <a:gd name="T20" fmla="*/ 351 w 375"/>
                    <a:gd name="T21" fmla="*/ 51 h 126"/>
                    <a:gd name="T22" fmla="*/ 371 w 375"/>
                    <a:gd name="T23" fmla="*/ 50 h 126"/>
                    <a:gd name="T24" fmla="*/ 372 w 375"/>
                    <a:gd name="T25" fmla="*/ 44 h 126"/>
                    <a:gd name="T26" fmla="*/ 360 w 375"/>
                    <a:gd name="T27" fmla="*/ 42 h 126"/>
                    <a:gd name="T28" fmla="*/ 373 w 375"/>
                    <a:gd name="T29" fmla="*/ 29 h 126"/>
                    <a:gd name="T30" fmla="*/ 375 w 375"/>
                    <a:gd name="T31" fmla="*/ 10 h 126"/>
                    <a:gd name="T32" fmla="*/ 372 w 375"/>
                    <a:gd name="T33" fmla="*/ 9 h 126"/>
                    <a:gd name="T34" fmla="*/ 370 w 375"/>
                    <a:gd name="T35" fmla="*/ 10 h 126"/>
                    <a:gd name="T36" fmla="*/ 363 w 375"/>
                    <a:gd name="T37" fmla="*/ 22 h 126"/>
                    <a:gd name="T38" fmla="*/ 342 w 375"/>
                    <a:gd name="T39" fmla="*/ 36 h 126"/>
                    <a:gd name="T40" fmla="*/ 176 w 375"/>
                    <a:gd name="T41" fmla="*/ 13 h 126"/>
                    <a:gd name="T42" fmla="*/ 91 w 375"/>
                    <a:gd name="T43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75" h="126">
                      <a:moveTo>
                        <a:pt x="91" y="0"/>
                      </a:moveTo>
                      <a:cubicBezTo>
                        <a:pt x="91" y="0"/>
                        <a:pt x="65" y="2"/>
                        <a:pt x="48" y="25"/>
                      </a:cubicBezTo>
                      <a:cubicBezTo>
                        <a:pt x="46" y="29"/>
                        <a:pt x="23" y="76"/>
                        <a:pt x="0" y="126"/>
                      </a:cubicBezTo>
                      <a:cubicBezTo>
                        <a:pt x="88" y="126"/>
                        <a:pt x="88" y="126"/>
                        <a:pt x="88" y="126"/>
                      </a:cubicBezTo>
                      <a:cubicBezTo>
                        <a:pt x="91" y="96"/>
                        <a:pt x="92" y="67"/>
                        <a:pt x="92" y="48"/>
                      </a:cubicBezTo>
                      <a:cubicBezTo>
                        <a:pt x="99" y="53"/>
                        <a:pt x="121" y="55"/>
                        <a:pt x="152" y="55"/>
                      </a:cubicBezTo>
                      <a:cubicBezTo>
                        <a:pt x="177" y="55"/>
                        <a:pt x="208" y="53"/>
                        <a:pt x="240" y="52"/>
                      </a:cubicBezTo>
                      <a:cubicBezTo>
                        <a:pt x="271" y="51"/>
                        <a:pt x="303" y="50"/>
                        <a:pt x="331" y="50"/>
                      </a:cubicBezTo>
                      <a:cubicBezTo>
                        <a:pt x="334" y="50"/>
                        <a:pt x="338" y="50"/>
                        <a:pt x="341" y="50"/>
                      </a:cubicBezTo>
                      <a:cubicBezTo>
                        <a:pt x="341" y="50"/>
                        <a:pt x="345" y="51"/>
                        <a:pt x="349" y="51"/>
                      </a:cubicBezTo>
                      <a:cubicBezTo>
                        <a:pt x="349" y="51"/>
                        <a:pt x="350" y="51"/>
                        <a:pt x="351" y="51"/>
                      </a:cubicBezTo>
                      <a:cubicBezTo>
                        <a:pt x="360" y="50"/>
                        <a:pt x="371" y="50"/>
                        <a:pt x="371" y="50"/>
                      </a:cubicBezTo>
                      <a:cubicBezTo>
                        <a:pt x="372" y="44"/>
                        <a:pt x="372" y="44"/>
                        <a:pt x="372" y="44"/>
                      </a:cubicBezTo>
                      <a:cubicBezTo>
                        <a:pt x="360" y="42"/>
                        <a:pt x="360" y="42"/>
                        <a:pt x="360" y="42"/>
                      </a:cubicBezTo>
                      <a:cubicBezTo>
                        <a:pt x="360" y="42"/>
                        <a:pt x="373" y="33"/>
                        <a:pt x="373" y="29"/>
                      </a:cubicBezTo>
                      <a:cubicBezTo>
                        <a:pt x="373" y="26"/>
                        <a:pt x="375" y="10"/>
                        <a:pt x="375" y="10"/>
                      </a:cubicBezTo>
                      <a:cubicBezTo>
                        <a:pt x="375" y="10"/>
                        <a:pt x="374" y="9"/>
                        <a:pt x="372" y="9"/>
                      </a:cubicBezTo>
                      <a:cubicBezTo>
                        <a:pt x="372" y="9"/>
                        <a:pt x="371" y="9"/>
                        <a:pt x="370" y="10"/>
                      </a:cubicBezTo>
                      <a:cubicBezTo>
                        <a:pt x="370" y="11"/>
                        <a:pt x="365" y="19"/>
                        <a:pt x="363" y="22"/>
                      </a:cubicBezTo>
                      <a:cubicBezTo>
                        <a:pt x="342" y="36"/>
                        <a:pt x="342" y="36"/>
                        <a:pt x="342" y="36"/>
                      </a:cubicBezTo>
                      <a:cubicBezTo>
                        <a:pt x="176" y="13"/>
                        <a:pt x="176" y="13"/>
                        <a:pt x="176" y="13"/>
                      </a:cubicBezTo>
                      <a:cubicBezTo>
                        <a:pt x="91" y="0"/>
                        <a:pt x="91" y="0"/>
                        <a:pt x="91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7619108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96" grpId="0" animBg="1"/>
      <p:bldP spid="9" grpId="0"/>
      <p:bldP spid="10" grpId="0"/>
      <p:bldP spid="21" grpId="0" animBg="1"/>
      <p:bldP spid="12" grpId="0"/>
      <p:bldP spid="26" grpId="0" animBg="1"/>
      <p:bldP spid="13" grpId="0"/>
      <p:bldP spid="37" grpId="0" animBg="1"/>
      <p:bldP spid="38" grpId="0"/>
      <p:bldP spid="39" grpId="0" animBg="1"/>
      <p:bldP spid="4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59A9BE-B1ED-01D0-57BA-80AA4CA2A1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" name="think-cell data - do not delete" hidden="1">
            <a:extLst>
              <a:ext uri="{FF2B5EF4-FFF2-40B4-BE49-F238E27FC236}">
                <a16:creationId xmlns:a16="http://schemas.microsoft.com/office/drawing/2014/main" id="{9D7E903E-5AEB-5DA9-7BB2-E3CD5FA33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4943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06" imgH="608" progId="TCLayout.ActiveDocument.1">
                  <p:embed/>
                </p:oleObj>
              </mc:Choice>
              <mc:Fallback>
                <p:oleObj name="think-cell Folie" r:id="rId3" imgW="606" imgH="608" progId="TCLayout.ActiveDocument.1">
                  <p:embed/>
                  <p:pic>
                    <p:nvPicPr>
                      <p:cNvPr id="26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0014E5-C3ED-E4C4-ED2F-801878790B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5DB9AE0F-1433-A38D-46BD-A2DA62B85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US-</a:t>
            </a:r>
            <a:r>
              <a:rPr lang="de-DE" dirty="0" err="1"/>
              <a:t>Casualty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F4B17AF-92A8-9A8C-DE35-ACCCBE4F314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03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4A4914B-B1EF-A705-369D-41EF83B8C94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Die große Sorge der Versicherer</a:t>
            </a:r>
          </a:p>
        </p:txBody>
      </p:sp>
      <p:grpSp>
        <p:nvGrpSpPr>
          <p:cNvPr id="6" name="Group 8">
            <a:extLst>
              <a:ext uri="{FF2B5EF4-FFF2-40B4-BE49-F238E27FC236}">
                <a16:creationId xmlns:a16="http://schemas.microsoft.com/office/drawing/2014/main" id="{C2866F29-9AE9-3606-278A-05B37F6EB90E}"/>
              </a:ext>
            </a:extLst>
          </p:cNvPr>
          <p:cNvGrpSpPr/>
          <p:nvPr/>
        </p:nvGrpSpPr>
        <p:grpSpPr>
          <a:xfrm>
            <a:off x="335360" y="1694602"/>
            <a:ext cx="5113637" cy="4188876"/>
            <a:chOff x="445135" y="1549065"/>
            <a:chExt cx="4331926" cy="3548531"/>
          </a:xfrm>
        </p:grpSpPr>
        <p:grpSp>
          <p:nvGrpSpPr>
            <p:cNvPr id="7" name="Group 7">
              <a:extLst>
                <a:ext uri="{FF2B5EF4-FFF2-40B4-BE49-F238E27FC236}">
                  <a16:creationId xmlns:a16="http://schemas.microsoft.com/office/drawing/2014/main" id="{7B3BBC97-5849-132E-C141-7FB731AB7E42}"/>
                </a:ext>
              </a:extLst>
            </p:cNvPr>
            <p:cNvGrpSpPr/>
            <p:nvPr/>
          </p:nvGrpSpPr>
          <p:grpSpPr>
            <a:xfrm>
              <a:off x="445135" y="1549065"/>
              <a:ext cx="3558677" cy="3191816"/>
              <a:chOff x="445135" y="1549065"/>
              <a:chExt cx="3558677" cy="3191816"/>
            </a:xfrm>
          </p:grpSpPr>
          <p:sp>
            <p:nvSpPr>
              <p:cNvPr id="95" name="Block Arc 1015">
                <a:extLst>
                  <a:ext uri="{FF2B5EF4-FFF2-40B4-BE49-F238E27FC236}">
                    <a16:creationId xmlns:a16="http://schemas.microsoft.com/office/drawing/2014/main" id="{5918C6A5-FB39-E86E-5297-EA57AB19DD27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20207308">
                <a:off x="725875" y="1982498"/>
                <a:ext cx="3010427" cy="2737514"/>
              </a:xfrm>
              <a:prstGeom prst="blockArc">
                <a:avLst>
                  <a:gd name="adj1" fmla="val 12006639"/>
                  <a:gd name="adj2" fmla="val 0"/>
                  <a:gd name="adj3" fmla="val 25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solidFill>
                    <a:schemeClr val="tx1"/>
                  </a:solidFill>
                </a:endParaRPr>
              </a:p>
            </p:txBody>
          </p:sp>
          <p:pic>
            <p:nvPicPr>
              <p:cNvPr id="96" name="Picture 8">
                <a:extLst>
                  <a:ext uri="{FF2B5EF4-FFF2-40B4-BE49-F238E27FC236}">
                    <a16:creationId xmlns:a16="http://schemas.microsoft.com/office/drawing/2014/main" id="{B8D8ADA2-2C25-E77E-1A5D-021CEF1B6CE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34972" y="1928279"/>
                <a:ext cx="9882" cy="61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97" name="Group 1018">
                <a:extLst>
                  <a:ext uri="{FF2B5EF4-FFF2-40B4-BE49-F238E27FC236}">
                    <a16:creationId xmlns:a16="http://schemas.microsoft.com/office/drawing/2014/main" id="{E1449F8B-8278-8666-7C77-90E689EEB1B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45135" y="1549065"/>
                <a:ext cx="3106586" cy="2757018"/>
                <a:chOff x="528638" y="2306638"/>
                <a:chExt cx="3992563" cy="3543301"/>
              </a:xfrm>
            </p:grpSpPr>
            <p:sp>
              <p:nvSpPr>
                <p:cNvPr id="227" name="Freeform 38">
                  <a:extLst>
                    <a:ext uri="{FF2B5EF4-FFF2-40B4-BE49-F238E27FC236}">
                      <a16:creationId xmlns:a16="http://schemas.microsoft.com/office/drawing/2014/main" id="{35F1C761-FF79-6E69-00AA-A745117FF67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58800" y="4167188"/>
                  <a:ext cx="139700" cy="38100"/>
                </a:xfrm>
                <a:custGeom>
                  <a:avLst/>
                  <a:gdLst>
                    <a:gd name="T0" fmla="*/ 75 w 76"/>
                    <a:gd name="T1" fmla="*/ 21 h 21"/>
                    <a:gd name="T2" fmla="*/ 76 w 76"/>
                    <a:gd name="T3" fmla="*/ 13 h 21"/>
                    <a:gd name="T4" fmla="*/ 2 w 76"/>
                    <a:gd name="T5" fmla="*/ 0 h 21"/>
                    <a:gd name="T6" fmla="*/ 0 w 76"/>
                    <a:gd name="T7" fmla="*/ 8 h 21"/>
                    <a:gd name="T8" fmla="*/ 75 w 76"/>
                    <a:gd name="T9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6" h="21">
                      <a:moveTo>
                        <a:pt x="75" y="21"/>
                      </a:moveTo>
                      <a:cubicBezTo>
                        <a:pt x="75" y="18"/>
                        <a:pt x="76" y="15"/>
                        <a:pt x="76" y="13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2"/>
                        <a:pt x="1" y="5"/>
                        <a:pt x="0" y="8"/>
                      </a:cubicBezTo>
                      <a:lnTo>
                        <a:pt x="75" y="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 45">
                  <a:extLst>
                    <a:ext uri="{FF2B5EF4-FFF2-40B4-BE49-F238E27FC236}">
                      <a16:creationId xmlns:a16="http://schemas.microsoft.com/office/drawing/2014/main" id="{DC313ECE-FB90-AFD6-8CA1-0B504F29AB7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95313" y="3963988"/>
                  <a:ext cx="177800" cy="80963"/>
                </a:xfrm>
                <a:custGeom>
                  <a:avLst/>
                  <a:gdLst>
                    <a:gd name="T0" fmla="*/ 0 w 96"/>
                    <a:gd name="T1" fmla="*/ 19 h 44"/>
                    <a:gd name="T2" fmla="*/ 91 w 96"/>
                    <a:gd name="T3" fmla="*/ 44 h 44"/>
                    <a:gd name="T4" fmla="*/ 93 w 96"/>
                    <a:gd name="T5" fmla="*/ 35 h 44"/>
                    <a:gd name="T6" fmla="*/ 96 w 96"/>
                    <a:gd name="T7" fmla="*/ 25 h 44"/>
                    <a:gd name="T8" fmla="*/ 6 w 96"/>
                    <a:gd name="T9" fmla="*/ 0 h 44"/>
                    <a:gd name="T10" fmla="*/ 3 w 96"/>
                    <a:gd name="T11" fmla="*/ 10 h 44"/>
                    <a:gd name="T12" fmla="*/ 0 w 96"/>
                    <a:gd name="T13" fmla="*/ 19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6" h="44">
                      <a:moveTo>
                        <a:pt x="0" y="19"/>
                      </a:moveTo>
                      <a:cubicBezTo>
                        <a:pt x="91" y="44"/>
                        <a:pt x="91" y="44"/>
                        <a:pt x="91" y="44"/>
                      </a:cubicBezTo>
                      <a:cubicBezTo>
                        <a:pt x="91" y="43"/>
                        <a:pt x="93" y="36"/>
                        <a:pt x="93" y="35"/>
                      </a:cubicBezTo>
                      <a:cubicBezTo>
                        <a:pt x="94" y="33"/>
                        <a:pt x="96" y="26"/>
                        <a:pt x="96" y="25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5" y="1"/>
                        <a:pt x="3" y="8"/>
                        <a:pt x="3" y="10"/>
                      </a:cubicBezTo>
                      <a:cubicBezTo>
                        <a:pt x="3" y="11"/>
                        <a:pt x="1" y="18"/>
                        <a:pt x="0" y="1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229" name="Group 1238">
                  <a:extLst>
                    <a:ext uri="{FF2B5EF4-FFF2-40B4-BE49-F238E27FC236}">
                      <a16:creationId xmlns:a16="http://schemas.microsoft.com/office/drawing/2014/main" id="{1DD8DAE0-E87D-5FFE-AE49-D2FC11AFECAC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528638" y="2306638"/>
                  <a:ext cx="3992563" cy="3543301"/>
                  <a:chOff x="528638" y="2306638"/>
                  <a:chExt cx="3992563" cy="3543301"/>
                </a:xfrm>
              </p:grpSpPr>
              <p:sp>
                <p:nvSpPr>
                  <p:cNvPr id="230" name="Oval 10">
                    <a:extLst>
                      <a:ext uri="{FF2B5EF4-FFF2-40B4-BE49-F238E27FC236}">
                        <a16:creationId xmlns:a16="http://schemas.microsoft.com/office/drawing/2014/main" id="{28984608-43DD-F2F0-49B4-9F0545B156A1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957263" y="5762626"/>
                    <a:ext cx="87313" cy="87313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1" name="Freeform 11">
                    <a:extLst>
                      <a:ext uri="{FF2B5EF4-FFF2-40B4-BE49-F238E27FC236}">
                        <a16:creationId xmlns:a16="http://schemas.microsoft.com/office/drawing/2014/main" id="{BCCACD13-9937-3617-936E-812D764736B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008188" y="2438401"/>
                    <a:ext cx="63500" cy="136525"/>
                  </a:xfrm>
                  <a:custGeom>
                    <a:avLst/>
                    <a:gdLst>
                      <a:gd name="T0" fmla="*/ 26 w 34"/>
                      <a:gd name="T1" fmla="*/ 74 h 74"/>
                      <a:gd name="T2" fmla="*/ 34 w 34"/>
                      <a:gd name="T3" fmla="*/ 71 h 74"/>
                      <a:gd name="T4" fmla="*/ 8 w 34"/>
                      <a:gd name="T5" fmla="*/ 0 h 74"/>
                      <a:gd name="T6" fmla="*/ 0 w 34"/>
                      <a:gd name="T7" fmla="*/ 2 h 74"/>
                      <a:gd name="T8" fmla="*/ 26 w 34"/>
                      <a:gd name="T9" fmla="*/ 74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" h="74">
                        <a:moveTo>
                          <a:pt x="26" y="74"/>
                        </a:moveTo>
                        <a:cubicBezTo>
                          <a:pt x="28" y="73"/>
                          <a:pt x="31" y="72"/>
                          <a:pt x="34" y="71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3" y="1"/>
                          <a:pt x="0" y="2"/>
                        </a:cubicBezTo>
                        <a:lnTo>
                          <a:pt x="26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2" name="Freeform 12">
                    <a:extLst>
                      <a:ext uri="{FF2B5EF4-FFF2-40B4-BE49-F238E27FC236}">
                        <a16:creationId xmlns:a16="http://schemas.microsoft.com/office/drawing/2014/main" id="{D1ABC51D-5508-2E8D-8FD0-5C1AD4CB1F7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389188" y="2338388"/>
                    <a:ext cx="39688" cy="139700"/>
                  </a:xfrm>
                  <a:custGeom>
                    <a:avLst/>
                    <a:gdLst>
                      <a:gd name="T0" fmla="*/ 13 w 21"/>
                      <a:gd name="T1" fmla="*/ 76 h 76"/>
                      <a:gd name="T2" fmla="*/ 21 w 21"/>
                      <a:gd name="T3" fmla="*/ 75 h 76"/>
                      <a:gd name="T4" fmla="*/ 8 w 21"/>
                      <a:gd name="T5" fmla="*/ 0 h 76"/>
                      <a:gd name="T6" fmla="*/ 0 w 21"/>
                      <a:gd name="T7" fmla="*/ 1 h 76"/>
                      <a:gd name="T8" fmla="*/ 13 w 21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6">
                        <a:moveTo>
                          <a:pt x="13" y="76"/>
                        </a:moveTo>
                        <a:cubicBezTo>
                          <a:pt x="15" y="75"/>
                          <a:pt x="18" y="75"/>
                          <a:pt x="21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5" y="0"/>
                          <a:pt x="2" y="1"/>
                          <a:pt x="0" y="1"/>
                        </a:cubicBezTo>
                        <a:lnTo>
                          <a:pt x="13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3" name="Freeform 13">
                    <a:extLst>
                      <a:ext uri="{FF2B5EF4-FFF2-40B4-BE49-F238E27FC236}">
                        <a16:creationId xmlns:a16="http://schemas.microsoft.com/office/drawing/2014/main" id="{6F4E528F-9997-77A6-D964-B4E31751F6B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584450" y="2314576"/>
                    <a:ext cx="28575" cy="139700"/>
                  </a:xfrm>
                  <a:custGeom>
                    <a:avLst/>
                    <a:gdLst>
                      <a:gd name="T0" fmla="*/ 7 w 15"/>
                      <a:gd name="T1" fmla="*/ 76 h 76"/>
                      <a:gd name="T2" fmla="*/ 15 w 15"/>
                      <a:gd name="T3" fmla="*/ 75 h 76"/>
                      <a:gd name="T4" fmla="*/ 8 w 15"/>
                      <a:gd name="T5" fmla="*/ 0 h 76"/>
                      <a:gd name="T6" fmla="*/ 0 w 15"/>
                      <a:gd name="T7" fmla="*/ 1 h 76"/>
                      <a:gd name="T8" fmla="*/ 7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7" y="76"/>
                        </a:moveTo>
                        <a:cubicBezTo>
                          <a:pt x="9" y="76"/>
                          <a:pt x="12" y="75"/>
                          <a:pt x="15" y="75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6" y="0"/>
                          <a:pt x="3" y="0"/>
                          <a:pt x="0" y="1"/>
                        </a:cubicBezTo>
                        <a:lnTo>
                          <a:pt x="7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4" name="Freeform 14">
                    <a:extLst>
                      <a:ext uri="{FF2B5EF4-FFF2-40B4-BE49-F238E27FC236}">
                        <a16:creationId xmlns:a16="http://schemas.microsoft.com/office/drawing/2014/main" id="{729E8C92-FD25-7441-16E1-2E23217FD26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197100" y="2378076"/>
                    <a:ext cx="49213" cy="141288"/>
                  </a:xfrm>
                  <a:custGeom>
                    <a:avLst/>
                    <a:gdLst>
                      <a:gd name="T0" fmla="*/ 19 w 27"/>
                      <a:gd name="T1" fmla="*/ 76 h 76"/>
                      <a:gd name="T2" fmla="*/ 27 w 27"/>
                      <a:gd name="T3" fmla="*/ 73 h 76"/>
                      <a:gd name="T4" fmla="*/ 7 w 27"/>
                      <a:gd name="T5" fmla="*/ 0 h 76"/>
                      <a:gd name="T6" fmla="*/ 0 w 27"/>
                      <a:gd name="T7" fmla="*/ 2 h 76"/>
                      <a:gd name="T8" fmla="*/ 19 w 27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6">
                        <a:moveTo>
                          <a:pt x="19" y="76"/>
                        </a:moveTo>
                        <a:cubicBezTo>
                          <a:pt x="22" y="75"/>
                          <a:pt x="24" y="74"/>
                          <a:pt x="27" y="73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2" y="2"/>
                          <a:pt x="0" y="2"/>
                        </a:cubicBezTo>
                        <a:lnTo>
                          <a:pt x="19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5" name="Freeform 15">
                    <a:extLst>
                      <a:ext uri="{FF2B5EF4-FFF2-40B4-BE49-F238E27FC236}">
                        <a16:creationId xmlns:a16="http://schemas.microsoft.com/office/drawing/2014/main" id="{69329684-0009-FF84-8341-38E4FA82E43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322638" y="2381251"/>
                    <a:ext cx="49213" cy="138113"/>
                  </a:xfrm>
                  <a:custGeom>
                    <a:avLst/>
                    <a:gdLst>
                      <a:gd name="T0" fmla="*/ 0 w 27"/>
                      <a:gd name="T1" fmla="*/ 73 h 75"/>
                      <a:gd name="T2" fmla="*/ 8 w 27"/>
                      <a:gd name="T3" fmla="*/ 75 h 75"/>
                      <a:gd name="T4" fmla="*/ 27 w 27"/>
                      <a:gd name="T5" fmla="*/ 2 h 75"/>
                      <a:gd name="T6" fmla="*/ 20 w 27"/>
                      <a:gd name="T7" fmla="*/ 0 h 75"/>
                      <a:gd name="T8" fmla="*/ 0 w 27"/>
                      <a:gd name="T9" fmla="*/ 73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" h="75">
                        <a:moveTo>
                          <a:pt x="0" y="73"/>
                        </a:moveTo>
                        <a:cubicBezTo>
                          <a:pt x="3" y="74"/>
                          <a:pt x="5" y="75"/>
                          <a:pt x="8" y="75"/>
                        </a:cubicBezTo>
                        <a:cubicBezTo>
                          <a:pt x="27" y="2"/>
                          <a:pt x="27" y="2"/>
                          <a:pt x="27" y="2"/>
                        </a:cubicBezTo>
                        <a:cubicBezTo>
                          <a:pt x="25" y="1"/>
                          <a:pt x="22" y="1"/>
                          <a:pt x="20" y="0"/>
                        </a:cubicBezTo>
                        <a:lnTo>
                          <a:pt x="0" y="7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6" name="Freeform 16">
                    <a:extLst>
                      <a:ext uri="{FF2B5EF4-FFF2-40B4-BE49-F238E27FC236}">
                        <a16:creationId xmlns:a16="http://schemas.microsoft.com/office/drawing/2014/main" id="{82FC192E-0B94-ECB8-3295-FFDF8F717C7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763838" y="2306638"/>
                    <a:ext cx="38100" cy="174625"/>
                  </a:xfrm>
                  <a:custGeom>
                    <a:avLst/>
                    <a:gdLst>
                      <a:gd name="T0" fmla="*/ 0 w 20"/>
                      <a:gd name="T1" fmla="*/ 0 h 94"/>
                      <a:gd name="T2" fmla="*/ 0 w 20"/>
                      <a:gd name="T3" fmla="*/ 94 h 94"/>
                      <a:gd name="T4" fmla="*/ 10 w 20"/>
                      <a:gd name="T5" fmla="*/ 94 h 94"/>
                      <a:gd name="T6" fmla="*/ 20 w 20"/>
                      <a:gd name="T7" fmla="*/ 94 h 94"/>
                      <a:gd name="T8" fmla="*/ 20 w 20"/>
                      <a:gd name="T9" fmla="*/ 0 h 94"/>
                      <a:gd name="T10" fmla="*/ 10 w 20"/>
                      <a:gd name="T11" fmla="*/ 0 h 94"/>
                      <a:gd name="T12" fmla="*/ 0 w 20"/>
                      <a:gd name="T13" fmla="*/ 0 h 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" h="94">
                        <a:moveTo>
                          <a:pt x="0" y="0"/>
                        </a:moveTo>
                        <a:cubicBezTo>
                          <a:pt x="0" y="94"/>
                          <a:pt x="0" y="94"/>
                          <a:pt x="0" y="94"/>
                        </a:cubicBezTo>
                        <a:cubicBezTo>
                          <a:pt x="1" y="94"/>
                          <a:pt x="8" y="94"/>
                          <a:pt x="10" y="94"/>
                        </a:cubicBezTo>
                        <a:cubicBezTo>
                          <a:pt x="11" y="94"/>
                          <a:pt x="18" y="94"/>
                          <a:pt x="20" y="94"/>
                        </a:cubicBezTo>
                        <a:cubicBezTo>
                          <a:pt x="20" y="0"/>
                          <a:pt x="20" y="0"/>
                          <a:pt x="20" y="0"/>
                        </a:cubicBezTo>
                        <a:cubicBezTo>
                          <a:pt x="18" y="0"/>
                          <a:pt x="11" y="0"/>
                          <a:pt x="10" y="0"/>
                        </a:cubicBezTo>
                        <a:cubicBezTo>
                          <a:pt x="8" y="0"/>
                          <a:pt x="1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7" name="Freeform 17">
                    <a:extLst>
                      <a:ext uri="{FF2B5EF4-FFF2-40B4-BE49-F238E27FC236}">
                        <a16:creationId xmlns:a16="http://schemas.microsoft.com/office/drawing/2014/main" id="{FC07844E-D49F-9FC2-2EE1-7215B83C157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143250" y="2339976"/>
                    <a:ext cx="38100" cy="138113"/>
                  </a:xfrm>
                  <a:custGeom>
                    <a:avLst/>
                    <a:gdLst>
                      <a:gd name="T0" fmla="*/ 0 w 21"/>
                      <a:gd name="T1" fmla="*/ 74 h 75"/>
                      <a:gd name="T2" fmla="*/ 8 w 21"/>
                      <a:gd name="T3" fmla="*/ 75 h 75"/>
                      <a:gd name="T4" fmla="*/ 21 w 21"/>
                      <a:gd name="T5" fmla="*/ 1 h 75"/>
                      <a:gd name="T6" fmla="*/ 13 w 21"/>
                      <a:gd name="T7" fmla="*/ 0 h 75"/>
                      <a:gd name="T8" fmla="*/ 0 w 21"/>
                      <a:gd name="T9" fmla="*/ 74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1" h="75">
                        <a:moveTo>
                          <a:pt x="0" y="74"/>
                        </a:moveTo>
                        <a:cubicBezTo>
                          <a:pt x="2" y="75"/>
                          <a:pt x="5" y="75"/>
                          <a:pt x="8" y="75"/>
                        </a:cubicBezTo>
                        <a:cubicBezTo>
                          <a:pt x="21" y="1"/>
                          <a:pt x="21" y="1"/>
                          <a:pt x="21" y="1"/>
                        </a:cubicBezTo>
                        <a:cubicBezTo>
                          <a:pt x="18" y="0"/>
                          <a:pt x="15" y="0"/>
                          <a:pt x="13" y="0"/>
                        </a:cubicBezTo>
                        <a:lnTo>
                          <a:pt x="0" y="7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8" name="Freeform 18">
                    <a:extLst>
                      <a:ext uri="{FF2B5EF4-FFF2-40B4-BE49-F238E27FC236}">
                        <a16:creationId xmlns:a16="http://schemas.microsoft.com/office/drawing/2014/main" id="{F8CD997A-C918-6819-AE47-E23BB1A4175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959100" y="2314576"/>
                    <a:ext cx="26988" cy="139700"/>
                  </a:xfrm>
                  <a:custGeom>
                    <a:avLst/>
                    <a:gdLst>
                      <a:gd name="T0" fmla="*/ 0 w 15"/>
                      <a:gd name="T1" fmla="*/ 76 h 76"/>
                      <a:gd name="T2" fmla="*/ 8 w 15"/>
                      <a:gd name="T3" fmla="*/ 76 h 76"/>
                      <a:gd name="T4" fmla="*/ 15 w 15"/>
                      <a:gd name="T5" fmla="*/ 1 h 76"/>
                      <a:gd name="T6" fmla="*/ 7 w 15"/>
                      <a:gd name="T7" fmla="*/ 0 h 76"/>
                      <a:gd name="T8" fmla="*/ 0 w 15"/>
                      <a:gd name="T9" fmla="*/ 76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" h="76">
                        <a:moveTo>
                          <a:pt x="0" y="76"/>
                        </a:moveTo>
                        <a:cubicBezTo>
                          <a:pt x="3" y="76"/>
                          <a:pt x="5" y="76"/>
                          <a:pt x="8" y="76"/>
                        </a:cubicBezTo>
                        <a:cubicBezTo>
                          <a:pt x="15" y="1"/>
                          <a:pt x="15" y="1"/>
                          <a:pt x="15" y="1"/>
                        </a:cubicBezTo>
                        <a:cubicBezTo>
                          <a:pt x="12" y="1"/>
                          <a:pt x="9" y="0"/>
                          <a:pt x="7" y="0"/>
                        </a:cubicBezTo>
                        <a:lnTo>
                          <a:pt x="0" y="7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9" name="Freeform 19">
                    <a:extLst>
                      <a:ext uri="{FF2B5EF4-FFF2-40B4-BE49-F238E27FC236}">
                        <a16:creationId xmlns:a16="http://schemas.microsoft.com/office/drawing/2014/main" id="{ED17D92F-8F03-0441-579D-4DC6F914A19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27100" y="3265488"/>
                    <a:ext cx="123825" cy="92075"/>
                  </a:xfrm>
                  <a:custGeom>
                    <a:avLst/>
                    <a:gdLst>
                      <a:gd name="T0" fmla="*/ 63 w 67"/>
                      <a:gd name="T1" fmla="*/ 50 h 50"/>
                      <a:gd name="T2" fmla="*/ 67 w 67"/>
                      <a:gd name="T3" fmla="*/ 43 h 50"/>
                      <a:gd name="T4" fmla="*/ 5 w 67"/>
                      <a:gd name="T5" fmla="*/ 0 h 50"/>
                      <a:gd name="T6" fmla="*/ 0 w 67"/>
                      <a:gd name="T7" fmla="*/ 6 h 50"/>
                      <a:gd name="T8" fmla="*/ 63 w 67"/>
                      <a:gd name="T9" fmla="*/ 5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7" h="50">
                        <a:moveTo>
                          <a:pt x="63" y="50"/>
                        </a:moveTo>
                        <a:cubicBezTo>
                          <a:pt x="64" y="48"/>
                          <a:pt x="66" y="46"/>
                          <a:pt x="67" y="43"/>
                        </a:cubicBezTo>
                        <a:cubicBezTo>
                          <a:pt x="5" y="0"/>
                          <a:pt x="5" y="0"/>
                          <a:pt x="5" y="0"/>
                        </a:cubicBezTo>
                        <a:cubicBezTo>
                          <a:pt x="3" y="2"/>
                          <a:pt x="2" y="4"/>
                          <a:pt x="0" y="6"/>
                        </a:cubicBezTo>
                        <a:lnTo>
                          <a:pt x="63" y="5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0" name="Freeform 20">
                    <a:extLst>
                      <a:ext uri="{FF2B5EF4-FFF2-40B4-BE49-F238E27FC236}">
                        <a16:creationId xmlns:a16="http://schemas.microsoft.com/office/drawing/2014/main" id="{3859CF53-293A-05D2-E559-13E0FBAFED6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0738" y="3430588"/>
                    <a:ext cx="130175" cy="82550"/>
                  </a:xfrm>
                  <a:custGeom>
                    <a:avLst/>
                    <a:gdLst>
                      <a:gd name="T0" fmla="*/ 66 w 70"/>
                      <a:gd name="T1" fmla="*/ 45 h 45"/>
                      <a:gd name="T2" fmla="*/ 70 w 70"/>
                      <a:gd name="T3" fmla="*/ 38 h 45"/>
                      <a:gd name="T4" fmla="*/ 4 w 70"/>
                      <a:gd name="T5" fmla="*/ 0 h 45"/>
                      <a:gd name="T6" fmla="*/ 0 w 70"/>
                      <a:gd name="T7" fmla="*/ 7 h 45"/>
                      <a:gd name="T8" fmla="*/ 66 w 70"/>
                      <a:gd name="T9" fmla="*/ 45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66" y="45"/>
                        </a:moveTo>
                        <a:cubicBezTo>
                          <a:pt x="68" y="43"/>
                          <a:pt x="69" y="41"/>
                          <a:pt x="70" y="38"/>
                        </a:cubicBez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3" y="3"/>
                          <a:pt x="2" y="5"/>
                          <a:pt x="0" y="7"/>
                        </a:cubicBezTo>
                        <a:lnTo>
                          <a:pt x="66" y="4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1" name="Freeform 21">
                    <a:extLst>
                      <a:ext uri="{FF2B5EF4-FFF2-40B4-BE49-F238E27FC236}">
                        <a16:creationId xmlns:a16="http://schemas.microsoft.com/office/drawing/2014/main" id="{F4FD7136-FD58-B1FF-97F0-9A58B04DB1D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1838" y="3606801"/>
                    <a:ext cx="133350" cy="71438"/>
                  </a:xfrm>
                  <a:custGeom>
                    <a:avLst/>
                    <a:gdLst>
                      <a:gd name="T0" fmla="*/ 69 w 72"/>
                      <a:gd name="T1" fmla="*/ 39 h 39"/>
                      <a:gd name="T2" fmla="*/ 72 w 72"/>
                      <a:gd name="T3" fmla="*/ 32 h 39"/>
                      <a:gd name="T4" fmla="*/ 3 w 72"/>
                      <a:gd name="T5" fmla="*/ 0 h 39"/>
                      <a:gd name="T6" fmla="*/ 0 w 72"/>
                      <a:gd name="T7" fmla="*/ 7 h 39"/>
                      <a:gd name="T8" fmla="*/ 69 w 72"/>
                      <a:gd name="T9" fmla="*/ 39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69" y="39"/>
                        </a:moveTo>
                        <a:cubicBezTo>
                          <a:pt x="70" y="37"/>
                          <a:pt x="71" y="34"/>
                          <a:pt x="72" y="32"/>
                        </a:cubicBezTo>
                        <a:cubicBezTo>
                          <a:pt x="3" y="0"/>
                          <a:pt x="3" y="0"/>
                          <a:pt x="3" y="0"/>
                        </a:cubicBezTo>
                        <a:cubicBezTo>
                          <a:pt x="2" y="2"/>
                          <a:pt x="1" y="4"/>
                          <a:pt x="0" y="7"/>
                        </a:cubicBezTo>
                        <a:lnTo>
                          <a:pt x="69" y="3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2" name="Freeform 22">
                    <a:extLst>
                      <a:ext uri="{FF2B5EF4-FFF2-40B4-BE49-F238E27FC236}">
                        <a16:creationId xmlns:a16="http://schemas.microsoft.com/office/drawing/2014/main" id="{84D1507F-26B8-C238-76DC-2236891C39A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498850" y="2438401"/>
                    <a:ext cx="60325" cy="138113"/>
                  </a:xfrm>
                  <a:custGeom>
                    <a:avLst/>
                    <a:gdLst>
                      <a:gd name="T0" fmla="*/ 0 w 33"/>
                      <a:gd name="T1" fmla="*/ 72 h 75"/>
                      <a:gd name="T2" fmla="*/ 7 w 33"/>
                      <a:gd name="T3" fmla="*/ 75 h 75"/>
                      <a:gd name="T4" fmla="*/ 33 w 33"/>
                      <a:gd name="T5" fmla="*/ 3 h 75"/>
                      <a:gd name="T6" fmla="*/ 26 w 33"/>
                      <a:gd name="T7" fmla="*/ 0 h 75"/>
                      <a:gd name="T8" fmla="*/ 0 w 33"/>
                      <a:gd name="T9" fmla="*/ 72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3" h="75">
                        <a:moveTo>
                          <a:pt x="0" y="72"/>
                        </a:moveTo>
                        <a:cubicBezTo>
                          <a:pt x="2" y="73"/>
                          <a:pt x="5" y="74"/>
                          <a:pt x="7" y="75"/>
                        </a:cubicBezTo>
                        <a:cubicBezTo>
                          <a:pt x="33" y="3"/>
                          <a:pt x="33" y="3"/>
                          <a:pt x="33" y="3"/>
                        </a:cubicBezTo>
                        <a:cubicBezTo>
                          <a:pt x="31" y="2"/>
                          <a:pt x="28" y="1"/>
                          <a:pt x="26" y="0"/>
                        </a:cubicBezTo>
                        <a:lnTo>
                          <a:pt x="0" y="7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3" name="Freeform 23">
                    <a:extLst>
                      <a:ext uri="{FF2B5EF4-FFF2-40B4-BE49-F238E27FC236}">
                        <a16:creationId xmlns:a16="http://schemas.microsoft.com/office/drawing/2014/main" id="{28BACB0D-FCAF-7165-4A03-2A83540C03C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649413" y="2601913"/>
                    <a:ext cx="84138" cy="130175"/>
                  </a:xfrm>
                  <a:custGeom>
                    <a:avLst/>
                    <a:gdLst>
                      <a:gd name="T0" fmla="*/ 38 w 45"/>
                      <a:gd name="T1" fmla="*/ 70 h 70"/>
                      <a:gd name="T2" fmla="*/ 45 w 45"/>
                      <a:gd name="T3" fmla="*/ 66 h 70"/>
                      <a:gd name="T4" fmla="*/ 7 w 45"/>
                      <a:gd name="T5" fmla="*/ 0 h 70"/>
                      <a:gd name="T6" fmla="*/ 0 w 45"/>
                      <a:gd name="T7" fmla="*/ 4 h 70"/>
                      <a:gd name="T8" fmla="*/ 38 w 45"/>
                      <a:gd name="T9" fmla="*/ 70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38" y="70"/>
                        </a:moveTo>
                        <a:cubicBezTo>
                          <a:pt x="41" y="68"/>
                          <a:pt x="43" y="67"/>
                          <a:pt x="45" y="66"/>
                        </a:cubicBez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5" y="1"/>
                          <a:pt x="3" y="2"/>
                          <a:pt x="0" y="4"/>
                        </a:cubicBezTo>
                        <a:lnTo>
                          <a:pt x="38" y="7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4" name="Freeform 24">
                    <a:extLst>
                      <a:ext uri="{FF2B5EF4-FFF2-40B4-BE49-F238E27FC236}">
                        <a16:creationId xmlns:a16="http://schemas.microsoft.com/office/drawing/2014/main" id="{84D4D1C9-3B2B-F22B-9513-958E7734BDE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323975" y="2832101"/>
                    <a:ext cx="101600" cy="117475"/>
                  </a:xfrm>
                  <a:custGeom>
                    <a:avLst/>
                    <a:gdLst>
                      <a:gd name="T0" fmla="*/ 49 w 55"/>
                      <a:gd name="T1" fmla="*/ 63 h 63"/>
                      <a:gd name="T2" fmla="*/ 55 w 55"/>
                      <a:gd name="T3" fmla="*/ 58 h 63"/>
                      <a:gd name="T4" fmla="*/ 6 w 55"/>
                      <a:gd name="T5" fmla="*/ 0 h 63"/>
                      <a:gd name="T6" fmla="*/ 0 w 55"/>
                      <a:gd name="T7" fmla="*/ 5 h 63"/>
                      <a:gd name="T8" fmla="*/ 49 w 55"/>
                      <a:gd name="T9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49" y="63"/>
                        </a:moveTo>
                        <a:cubicBezTo>
                          <a:pt x="51" y="61"/>
                          <a:pt x="53" y="60"/>
                          <a:pt x="55" y="58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5"/>
                        </a:cubicBezTo>
                        <a:lnTo>
                          <a:pt x="49" y="6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5" name="Freeform 25">
                    <a:extLst>
                      <a:ext uri="{FF2B5EF4-FFF2-40B4-BE49-F238E27FC236}">
                        <a16:creationId xmlns:a16="http://schemas.microsoft.com/office/drawing/2014/main" id="{E4B9862A-9A24-4D98-6BDC-46917351E0C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479550" y="2711451"/>
                    <a:ext cx="92075" cy="123825"/>
                  </a:xfrm>
                  <a:custGeom>
                    <a:avLst/>
                    <a:gdLst>
                      <a:gd name="T0" fmla="*/ 44 w 50"/>
                      <a:gd name="T1" fmla="*/ 67 h 67"/>
                      <a:gd name="T2" fmla="*/ 50 w 50"/>
                      <a:gd name="T3" fmla="*/ 62 h 67"/>
                      <a:gd name="T4" fmla="*/ 6 w 50"/>
                      <a:gd name="T5" fmla="*/ 0 h 67"/>
                      <a:gd name="T6" fmla="*/ 0 w 50"/>
                      <a:gd name="T7" fmla="*/ 4 h 67"/>
                      <a:gd name="T8" fmla="*/ 44 w 50"/>
                      <a:gd name="T9" fmla="*/ 67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0" h="67">
                        <a:moveTo>
                          <a:pt x="44" y="67"/>
                        </a:moveTo>
                        <a:cubicBezTo>
                          <a:pt x="46" y="65"/>
                          <a:pt x="48" y="64"/>
                          <a:pt x="50" y="62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3"/>
                          <a:pt x="0" y="4"/>
                        </a:cubicBezTo>
                        <a:lnTo>
                          <a:pt x="44" y="6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6" name="Freeform 26">
                    <a:extLst>
                      <a:ext uri="{FF2B5EF4-FFF2-40B4-BE49-F238E27FC236}">
                        <a16:creationId xmlns:a16="http://schemas.microsoft.com/office/drawing/2014/main" id="{6A75C0EF-696D-F7F2-3AEF-54FFDEFFCAD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271963" y="2960688"/>
                    <a:ext cx="109538" cy="111125"/>
                  </a:xfrm>
                  <a:custGeom>
                    <a:avLst/>
                    <a:gdLst>
                      <a:gd name="T0" fmla="*/ 5 w 59"/>
                      <a:gd name="T1" fmla="*/ 60 h 60"/>
                      <a:gd name="T2" fmla="*/ 59 w 59"/>
                      <a:gd name="T3" fmla="*/ 6 h 60"/>
                      <a:gd name="T4" fmla="*/ 56 w 59"/>
                      <a:gd name="T5" fmla="*/ 3 h 60"/>
                      <a:gd name="T6" fmla="*/ 54 w 59"/>
                      <a:gd name="T7" fmla="*/ 0 h 60"/>
                      <a:gd name="T8" fmla="*/ 0 w 59"/>
                      <a:gd name="T9" fmla="*/ 54 h 60"/>
                      <a:gd name="T10" fmla="*/ 5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" y="60"/>
                        </a:moveTo>
                        <a:cubicBezTo>
                          <a:pt x="59" y="6"/>
                          <a:pt x="59" y="6"/>
                          <a:pt x="59" y="6"/>
                        </a:cubicBezTo>
                        <a:cubicBezTo>
                          <a:pt x="58" y="5"/>
                          <a:pt x="57" y="4"/>
                          <a:pt x="56" y="3"/>
                        </a:cubicBezTo>
                        <a:cubicBezTo>
                          <a:pt x="55" y="2"/>
                          <a:pt x="55" y="1"/>
                          <a:pt x="54" y="0"/>
                        </a:cubicBezTo>
                        <a:cubicBezTo>
                          <a:pt x="0" y="54"/>
                          <a:pt x="0" y="54"/>
                          <a:pt x="0" y="54"/>
                        </a:cubicBezTo>
                        <a:cubicBezTo>
                          <a:pt x="2" y="56"/>
                          <a:pt x="4" y="58"/>
                          <a:pt x="5" y="6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7" name="Freeform 27">
                    <a:extLst>
                      <a:ext uri="{FF2B5EF4-FFF2-40B4-BE49-F238E27FC236}">
                        <a16:creationId xmlns:a16="http://schemas.microsoft.com/office/drawing/2014/main" id="{E8810942-11DA-6708-EA40-42D25D5F7A3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79513" y="2963863"/>
                    <a:ext cx="109538" cy="111125"/>
                  </a:xfrm>
                  <a:custGeom>
                    <a:avLst/>
                    <a:gdLst>
                      <a:gd name="T0" fmla="*/ 54 w 59"/>
                      <a:gd name="T1" fmla="*/ 60 h 60"/>
                      <a:gd name="T2" fmla="*/ 59 w 59"/>
                      <a:gd name="T3" fmla="*/ 54 h 60"/>
                      <a:gd name="T4" fmla="*/ 6 w 59"/>
                      <a:gd name="T5" fmla="*/ 0 h 60"/>
                      <a:gd name="T6" fmla="*/ 5 w 59"/>
                      <a:gd name="T7" fmla="*/ 1 h 60"/>
                      <a:gd name="T8" fmla="*/ 0 w 59"/>
                      <a:gd name="T9" fmla="*/ 6 h 60"/>
                      <a:gd name="T10" fmla="*/ 54 w 59"/>
                      <a:gd name="T11" fmla="*/ 6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9" h="60">
                        <a:moveTo>
                          <a:pt x="54" y="60"/>
                        </a:moveTo>
                        <a:cubicBezTo>
                          <a:pt x="56" y="58"/>
                          <a:pt x="57" y="56"/>
                          <a:pt x="59" y="54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5" y="1"/>
                          <a:pt x="5" y="1"/>
                          <a:pt x="5" y="1"/>
                        </a:cubicBezTo>
                        <a:cubicBezTo>
                          <a:pt x="3" y="3"/>
                          <a:pt x="2" y="4"/>
                          <a:pt x="0" y="6"/>
                        </a:cubicBezTo>
                        <a:lnTo>
                          <a:pt x="54" y="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8" name="Freeform 28">
                    <a:extLst>
                      <a:ext uri="{FF2B5EF4-FFF2-40B4-BE49-F238E27FC236}">
                        <a16:creationId xmlns:a16="http://schemas.microsoft.com/office/drawing/2014/main" id="{2783C982-86D8-3ABB-21C4-F15D4AB3CED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28638" y="4557713"/>
                    <a:ext cx="138113" cy="14288"/>
                  </a:xfrm>
                  <a:custGeom>
                    <a:avLst/>
                    <a:gdLst>
                      <a:gd name="T0" fmla="*/ 75 w 75"/>
                      <a:gd name="T1" fmla="*/ 0 h 8"/>
                      <a:gd name="T2" fmla="*/ 0 w 75"/>
                      <a:gd name="T3" fmla="*/ 0 h 8"/>
                      <a:gd name="T4" fmla="*/ 0 w 75"/>
                      <a:gd name="T5" fmla="*/ 8 h 8"/>
                      <a:gd name="T6" fmla="*/ 75 w 75"/>
                      <a:gd name="T7" fmla="*/ 8 h 8"/>
                      <a:gd name="T8" fmla="*/ 75 w 75"/>
                      <a:gd name="T9" fmla="*/ 0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8">
                        <a:moveTo>
                          <a:pt x="75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cubicBezTo>
                          <a:pt x="75" y="8"/>
                          <a:pt x="75" y="8"/>
                          <a:pt x="75" y="8"/>
                        </a:cubicBezTo>
                        <a:cubicBezTo>
                          <a:pt x="75" y="5"/>
                          <a:pt x="75" y="3"/>
                          <a:pt x="75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9" name="Freeform 29">
                    <a:extLst>
                      <a:ext uri="{FF2B5EF4-FFF2-40B4-BE49-F238E27FC236}">
                        <a16:creationId xmlns:a16="http://schemas.microsoft.com/office/drawing/2014/main" id="{2763DB4D-BD2A-1AA1-F65B-0E1B25EA361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133850" y="2828926"/>
                    <a:ext cx="103188" cy="115888"/>
                  </a:xfrm>
                  <a:custGeom>
                    <a:avLst/>
                    <a:gdLst>
                      <a:gd name="T0" fmla="*/ 0 w 55"/>
                      <a:gd name="T1" fmla="*/ 58 h 63"/>
                      <a:gd name="T2" fmla="*/ 6 w 55"/>
                      <a:gd name="T3" fmla="*/ 63 h 63"/>
                      <a:gd name="T4" fmla="*/ 55 w 55"/>
                      <a:gd name="T5" fmla="*/ 5 h 63"/>
                      <a:gd name="T6" fmla="*/ 49 w 55"/>
                      <a:gd name="T7" fmla="*/ 0 h 63"/>
                      <a:gd name="T8" fmla="*/ 0 w 55"/>
                      <a:gd name="T9" fmla="*/ 58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63">
                        <a:moveTo>
                          <a:pt x="0" y="58"/>
                        </a:moveTo>
                        <a:cubicBezTo>
                          <a:pt x="2" y="60"/>
                          <a:pt x="4" y="62"/>
                          <a:pt x="6" y="63"/>
                        </a:cubicBezTo>
                        <a:cubicBezTo>
                          <a:pt x="55" y="5"/>
                          <a:pt x="55" y="5"/>
                          <a:pt x="55" y="5"/>
                        </a:cubicBezTo>
                        <a:cubicBezTo>
                          <a:pt x="53" y="3"/>
                          <a:pt x="51" y="2"/>
                          <a:pt x="49" y="0"/>
                        </a:cubicBezTo>
                        <a:lnTo>
                          <a:pt x="0" y="58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0" name="Freeform 30">
                    <a:extLst>
                      <a:ext uri="{FF2B5EF4-FFF2-40B4-BE49-F238E27FC236}">
                        <a16:creationId xmlns:a16="http://schemas.microsoft.com/office/drawing/2014/main" id="{5E32F565-8C12-69E4-7B95-8ADD2A6ED0A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58813" y="3787776"/>
                    <a:ext cx="136525" cy="60325"/>
                  </a:xfrm>
                  <a:custGeom>
                    <a:avLst/>
                    <a:gdLst>
                      <a:gd name="T0" fmla="*/ 71 w 74"/>
                      <a:gd name="T1" fmla="*/ 33 h 33"/>
                      <a:gd name="T2" fmla="*/ 74 w 74"/>
                      <a:gd name="T3" fmla="*/ 26 h 33"/>
                      <a:gd name="T4" fmla="*/ 2 w 74"/>
                      <a:gd name="T5" fmla="*/ 0 h 33"/>
                      <a:gd name="T6" fmla="*/ 0 w 74"/>
                      <a:gd name="T7" fmla="*/ 7 h 33"/>
                      <a:gd name="T8" fmla="*/ 71 w 74"/>
                      <a:gd name="T9" fmla="*/ 33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4" h="33">
                        <a:moveTo>
                          <a:pt x="71" y="33"/>
                        </a:moveTo>
                        <a:cubicBezTo>
                          <a:pt x="72" y="31"/>
                          <a:pt x="73" y="28"/>
                          <a:pt x="74" y="26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2" y="2"/>
                          <a:pt x="1" y="5"/>
                          <a:pt x="0" y="7"/>
                        </a:cubicBezTo>
                        <a:lnTo>
                          <a:pt x="71" y="3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1" name="Freeform 31">
                    <a:extLst>
                      <a:ext uri="{FF2B5EF4-FFF2-40B4-BE49-F238E27FC236}">
                        <a16:creationId xmlns:a16="http://schemas.microsoft.com/office/drawing/2014/main" id="{8055FAFC-8E2A-084E-2761-53AAF0450F1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832225" y="2605088"/>
                    <a:ext cx="84138" cy="128588"/>
                  </a:xfrm>
                  <a:custGeom>
                    <a:avLst/>
                    <a:gdLst>
                      <a:gd name="T0" fmla="*/ 0 w 45"/>
                      <a:gd name="T1" fmla="*/ 65 h 70"/>
                      <a:gd name="T2" fmla="*/ 7 w 45"/>
                      <a:gd name="T3" fmla="*/ 70 h 70"/>
                      <a:gd name="T4" fmla="*/ 45 w 45"/>
                      <a:gd name="T5" fmla="*/ 4 h 70"/>
                      <a:gd name="T6" fmla="*/ 38 w 45"/>
                      <a:gd name="T7" fmla="*/ 0 h 70"/>
                      <a:gd name="T8" fmla="*/ 0 w 45"/>
                      <a:gd name="T9" fmla="*/ 65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70">
                        <a:moveTo>
                          <a:pt x="0" y="65"/>
                        </a:moveTo>
                        <a:cubicBezTo>
                          <a:pt x="3" y="67"/>
                          <a:pt x="5" y="68"/>
                          <a:pt x="7" y="70"/>
                        </a:cubicBezTo>
                        <a:cubicBezTo>
                          <a:pt x="45" y="4"/>
                          <a:pt x="45" y="4"/>
                          <a:pt x="45" y="4"/>
                        </a:cubicBezTo>
                        <a:cubicBezTo>
                          <a:pt x="43" y="2"/>
                          <a:pt x="41" y="1"/>
                          <a:pt x="38" y="0"/>
                        </a:cubicBezTo>
                        <a:lnTo>
                          <a:pt x="0" y="65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2" name="Freeform 32">
                    <a:extLst>
                      <a:ext uri="{FF2B5EF4-FFF2-40B4-BE49-F238E27FC236}">
                        <a16:creationId xmlns:a16="http://schemas.microsoft.com/office/drawing/2014/main" id="{48E1979E-4E11-F90C-4E71-8B8514386C0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987800" y="2708276"/>
                    <a:ext cx="95250" cy="123825"/>
                  </a:xfrm>
                  <a:custGeom>
                    <a:avLst/>
                    <a:gdLst>
                      <a:gd name="T0" fmla="*/ 0 w 51"/>
                      <a:gd name="T1" fmla="*/ 63 h 67"/>
                      <a:gd name="T2" fmla="*/ 7 w 51"/>
                      <a:gd name="T3" fmla="*/ 67 h 67"/>
                      <a:gd name="T4" fmla="*/ 51 w 51"/>
                      <a:gd name="T5" fmla="*/ 5 h 67"/>
                      <a:gd name="T6" fmla="*/ 44 w 51"/>
                      <a:gd name="T7" fmla="*/ 0 h 67"/>
                      <a:gd name="T8" fmla="*/ 0 w 51"/>
                      <a:gd name="T9" fmla="*/ 63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1" h="67">
                        <a:moveTo>
                          <a:pt x="0" y="63"/>
                        </a:moveTo>
                        <a:cubicBezTo>
                          <a:pt x="2" y="64"/>
                          <a:pt x="5" y="66"/>
                          <a:pt x="7" y="67"/>
                        </a:cubicBezTo>
                        <a:cubicBezTo>
                          <a:pt x="51" y="5"/>
                          <a:pt x="51" y="5"/>
                          <a:pt x="51" y="5"/>
                        </a:cubicBezTo>
                        <a:cubicBezTo>
                          <a:pt x="48" y="3"/>
                          <a:pt x="46" y="2"/>
                          <a:pt x="44" y="0"/>
                        </a:cubicBezTo>
                        <a:lnTo>
                          <a:pt x="0" y="63"/>
                        </a:ln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3" name="Freeform 33">
                    <a:extLst>
                      <a:ext uri="{FF2B5EF4-FFF2-40B4-BE49-F238E27FC236}">
                        <a16:creationId xmlns:a16="http://schemas.microsoft.com/office/drawing/2014/main" id="{BC0E803C-E017-CC53-8C2F-1AEA758EAE0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61988" y="5280026"/>
                    <a:ext cx="139700" cy="60325"/>
                  </a:xfrm>
                  <a:custGeom>
                    <a:avLst/>
                    <a:gdLst>
                      <a:gd name="T0" fmla="*/ 75 w 75"/>
                      <a:gd name="T1" fmla="*/ 7 h 33"/>
                      <a:gd name="T2" fmla="*/ 72 w 75"/>
                      <a:gd name="T3" fmla="*/ 0 h 33"/>
                      <a:gd name="T4" fmla="*/ 0 w 75"/>
                      <a:gd name="T5" fmla="*/ 26 h 33"/>
                      <a:gd name="T6" fmla="*/ 3 w 75"/>
                      <a:gd name="T7" fmla="*/ 33 h 33"/>
                      <a:gd name="T8" fmla="*/ 75 w 75"/>
                      <a:gd name="T9" fmla="*/ 7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33">
                        <a:moveTo>
                          <a:pt x="75" y="7"/>
                        </a:moveTo>
                        <a:cubicBezTo>
                          <a:pt x="74" y="5"/>
                          <a:pt x="73" y="2"/>
                          <a:pt x="72" y="0"/>
                        </a:cubicBezTo>
                        <a:cubicBezTo>
                          <a:pt x="0" y="26"/>
                          <a:pt x="0" y="26"/>
                          <a:pt x="0" y="26"/>
                        </a:cubicBezTo>
                        <a:cubicBezTo>
                          <a:pt x="1" y="28"/>
                          <a:pt x="2" y="31"/>
                          <a:pt x="3" y="33"/>
                        </a:cubicBezTo>
                        <a:lnTo>
                          <a:pt x="75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4" name="Freeform 34">
                    <a:extLst>
                      <a:ext uri="{FF2B5EF4-FFF2-40B4-BE49-F238E27FC236}">
                        <a16:creationId xmlns:a16="http://schemas.microsoft.com/office/drawing/2014/main" id="{F86DA139-AB69-D76C-B9AE-345A571FB5D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04838" y="5103813"/>
                    <a:ext cx="138113" cy="50800"/>
                  </a:xfrm>
                  <a:custGeom>
                    <a:avLst/>
                    <a:gdLst>
                      <a:gd name="T0" fmla="*/ 75 w 75"/>
                      <a:gd name="T1" fmla="*/ 8 h 27"/>
                      <a:gd name="T2" fmla="*/ 73 w 75"/>
                      <a:gd name="T3" fmla="*/ 0 h 27"/>
                      <a:gd name="T4" fmla="*/ 0 w 75"/>
                      <a:gd name="T5" fmla="*/ 20 h 27"/>
                      <a:gd name="T6" fmla="*/ 2 w 75"/>
                      <a:gd name="T7" fmla="*/ 27 h 27"/>
                      <a:gd name="T8" fmla="*/ 75 w 75"/>
                      <a:gd name="T9" fmla="*/ 8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27">
                        <a:moveTo>
                          <a:pt x="75" y="8"/>
                        </a:moveTo>
                        <a:cubicBezTo>
                          <a:pt x="74" y="5"/>
                          <a:pt x="74" y="3"/>
                          <a:pt x="73" y="0"/>
                        </a:cubicBezTo>
                        <a:cubicBezTo>
                          <a:pt x="0" y="20"/>
                          <a:pt x="0" y="20"/>
                          <a:pt x="0" y="20"/>
                        </a:cubicBezTo>
                        <a:cubicBezTo>
                          <a:pt x="0" y="22"/>
                          <a:pt x="1" y="25"/>
                          <a:pt x="2" y="27"/>
                        </a:cubicBezTo>
                        <a:lnTo>
                          <a:pt x="75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5" name="Freeform 35">
                    <a:extLst>
                      <a:ext uri="{FF2B5EF4-FFF2-40B4-BE49-F238E27FC236}">
                        <a16:creationId xmlns:a16="http://schemas.microsoft.com/office/drawing/2014/main" id="{2BB6C3F3-C1C7-81B3-AE1A-1EC903EE209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28675" y="5613401"/>
                    <a:ext cx="130175" cy="82550"/>
                  </a:xfrm>
                  <a:custGeom>
                    <a:avLst/>
                    <a:gdLst>
                      <a:gd name="T0" fmla="*/ 70 w 70"/>
                      <a:gd name="T1" fmla="*/ 7 h 45"/>
                      <a:gd name="T2" fmla="*/ 66 w 70"/>
                      <a:gd name="T3" fmla="*/ 0 h 45"/>
                      <a:gd name="T4" fmla="*/ 0 w 70"/>
                      <a:gd name="T5" fmla="*/ 38 h 45"/>
                      <a:gd name="T6" fmla="*/ 4 w 70"/>
                      <a:gd name="T7" fmla="*/ 45 h 45"/>
                      <a:gd name="T8" fmla="*/ 70 w 70"/>
                      <a:gd name="T9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0" h="45">
                        <a:moveTo>
                          <a:pt x="70" y="7"/>
                        </a:moveTo>
                        <a:cubicBezTo>
                          <a:pt x="69" y="4"/>
                          <a:pt x="67" y="2"/>
                          <a:pt x="66" y="0"/>
                        </a:cubicBezTo>
                        <a:cubicBezTo>
                          <a:pt x="0" y="38"/>
                          <a:pt x="0" y="38"/>
                          <a:pt x="0" y="38"/>
                        </a:cubicBezTo>
                        <a:cubicBezTo>
                          <a:pt x="1" y="40"/>
                          <a:pt x="3" y="42"/>
                          <a:pt x="4" y="45"/>
                        </a:cubicBezTo>
                        <a:lnTo>
                          <a:pt x="70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6" name="Freeform 36">
                    <a:extLst>
                      <a:ext uri="{FF2B5EF4-FFF2-40B4-BE49-F238E27FC236}">
                        <a16:creationId xmlns:a16="http://schemas.microsoft.com/office/drawing/2014/main" id="{402128B3-D42C-4D1D-D8DE-5AF0DA566CD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61975" y="4924426"/>
                    <a:ext cx="141288" cy="38100"/>
                  </a:xfrm>
                  <a:custGeom>
                    <a:avLst/>
                    <a:gdLst>
                      <a:gd name="T0" fmla="*/ 76 w 76"/>
                      <a:gd name="T1" fmla="*/ 8 h 21"/>
                      <a:gd name="T2" fmla="*/ 74 w 76"/>
                      <a:gd name="T3" fmla="*/ 0 h 21"/>
                      <a:gd name="T4" fmla="*/ 0 w 76"/>
                      <a:gd name="T5" fmla="*/ 13 h 21"/>
                      <a:gd name="T6" fmla="*/ 1 w 76"/>
                      <a:gd name="T7" fmla="*/ 21 h 21"/>
                      <a:gd name="T8" fmla="*/ 76 w 76"/>
                      <a:gd name="T9" fmla="*/ 8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21">
                        <a:moveTo>
                          <a:pt x="76" y="8"/>
                        </a:moveTo>
                        <a:cubicBezTo>
                          <a:pt x="75" y="5"/>
                          <a:pt x="75" y="3"/>
                          <a:pt x="74" y="0"/>
                        </a:cubicBez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0" y="16"/>
                          <a:pt x="1" y="18"/>
                          <a:pt x="1" y="21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7" name="Freeform 37">
                    <a:extLst>
                      <a:ext uri="{FF2B5EF4-FFF2-40B4-BE49-F238E27FC236}">
                        <a16:creationId xmlns:a16="http://schemas.microsoft.com/office/drawing/2014/main" id="{8888F5BD-991E-8553-CB44-02D96682723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38188" y="5449888"/>
                    <a:ext cx="133350" cy="73025"/>
                  </a:xfrm>
                  <a:custGeom>
                    <a:avLst/>
                    <a:gdLst>
                      <a:gd name="T0" fmla="*/ 72 w 72"/>
                      <a:gd name="T1" fmla="*/ 7 h 39"/>
                      <a:gd name="T2" fmla="*/ 69 w 72"/>
                      <a:gd name="T3" fmla="*/ 0 h 39"/>
                      <a:gd name="T4" fmla="*/ 0 w 72"/>
                      <a:gd name="T5" fmla="*/ 32 h 39"/>
                      <a:gd name="T6" fmla="*/ 3 w 72"/>
                      <a:gd name="T7" fmla="*/ 39 h 39"/>
                      <a:gd name="T8" fmla="*/ 72 w 72"/>
                      <a:gd name="T9" fmla="*/ 7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2" h="39">
                        <a:moveTo>
                          <a:pt x="72" y="7"/>
                        </a:moveTo>
                        <a:cubicBezTo>
                          <a:pt x="71" y="4"/>
                          <a:pt x="70" y="2"/>
                          <a:pt x="69" y="0"/>
                        </a:cubicBezTo>
                        <a:cubicBezTo>
                          <a:pt x="0" y="32"/>
                          <a:pt x="0" y="32"/>
                          <a:pt x="0" y="32"/>
                        </a:cubicBezTo>
                        <a:cubicBezTo>
                          <a:pt x="1" y="34"/>
                          <a:pt x="2" y="37"/>
                          <a:pt x="3" y="39"/>
                        </a:cubicBezTo>
                        <a:lnTo>
                          <a:pt x="72" y="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8" name="Freeform 39">
                    <a:extLst>
                      <a:ext uri="{FF2B5EF4-FFF2-40B4-BE49-F238E27FC236}">
                        <a16:creationId xmlns:a16="http://schemas.microsoft.com/office/drawing/2014/main" id="{96A2E537-EC17-02A1-C096-B737B10848E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740276"/>
                    <a:ext cx="139700" cy="28575"/>
                  </a:xfrm>
                  <a:custGeom>
                    <a:avLst/>
                    <a:gdLst>
                      <a:gd name="T0" fmla="*/ 76 w 76"/>
                      <a:gd name="T1" fmla="*/ 8 h 15"/>
                      <a:gd name="T2" fmla="*/ 75 w 76"/>
                      <a:gd name="T3" fmla="*/ 0 h 15"/>
                      <a:gd name="T4" fmla="*/ 0 w 76"/>
                      <a:gd name="T5" fmla="*/ 7 h 15"/>
                      <a:gd name="T6" fmla="*/ 1 w 76"/>
                      <a:gd name="T7" fmla="*/ 15 h 15"/>
                      <a:gd name="T8" fmla="*/ 76 w 76"/>
                      <a:gd name="T9" fmla="*/ 8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6" h="15">
                        <a:moveTo>
                          <a:pt x="76" y="8"/>
                        </a:moveTo>
                        <a:cubicBezTo>
                          <a:pt x="76" y="6"/>
                          <a:pt x="76" y="3"/>
                          <a:pt x="75" y="0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0" y="10"/>
                          <a:pt x="1" y="12"/>
                          <a:pt x="1" y="15"/>
                        </a:cubicBezTo>
                        <a:lnTo>
                          <a:pt x="76" y="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9" name="Freeform 40">
                    <a:extLst>
                      <a:ext uri="{FF2B5EF4-FFF2-40B4-BE49-F238E27FC236}">
                        <a16:creationId xmlns:a16="http://schemas.microsoft.com/office/drawing/2014/main" id="{1FCFF414-BC6C-B3D1-DFBD-C2586B2A9D0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36575" y="4360863"/>
                    <a:ext cx="138113" cy="28575"/>
                  </a:xfrm>
                  <a:custGeom>
                    <a:avLst/>
                    <a:gdLst>
                      <a:gd name="T0" fmla="*/ 75 w 75"/>
                      <a:gd name="T1" fmla="*/ 15 h 15"/>
                      <a:gd name="T2" fmla="*/ 75 w 75"/>
                      <a:gd name="T3" fmla="*/ 7 h 15"/>
                      <a:gd name="T4" fmla="*/ 0 w 75"/>
                      <a:gd name="T5" fmla="*/ 0 h 15"/>
                      <a:gd name="T6" fmla="*/ 0 w 75"/>
                      <a:gd name="T7" fmla="*/ 8 h 15"/>
                      <a:gd name="T8" fmla="*/ 75 w 75"/>
                      <a:gd name="T9" fmla="*/ 15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5" h="15">
                        <a:moveTo>
                          <a:pt x="75" y="15"/>
                        </a:moveTo>
                        <a:cubicBezTo>
                          <a:pt x="75" y="12"/>
                          <a:pt x="75" y="9"/>
                          <a:pt x="75" y="7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3"/>
                          <a:pt x="0" y="5"/>
                          <a:pt x="0" y="8"/>
                        </a:cubicBezTo>
                        <a:lnTo>
                          <a:pt x="75" y="1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0" name="Freeform 41">
                    <a:extLst>
                      <a:ext uri="{FF2B5EF4-FFF2-40B4-BE49-F238E27FC236}">
                        <a16:creationId xmlns:a16="http://schemas.microsoft.com/office/drawing/2014/main" id="{46E2052C-0B37-6394-BB1A-E8D63DA6E55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644900" y="2508251"/>
                    <a:ext cx="107950" cy="171450"/>
                  </a:xfrm>
                  <a:custGeom>
                    <a:avLst/>
                    <a:gdLst>
                      <a:gd name="T0" fmla="*/ 39 w 58"/>
                      <a:gd name="T1" fmla="*/ 0 h 93"/>
                      <a:gd name="T2" fmla="*/ 0 w 58"/>
                      <a:gd name="T3" fmla="*/ 85 h 93"/>
                      <a:gd name="T4" fmla="*/ 10 w 58"/>
                      <a:gd name="T5" fmla="*/ 89 h 93"/>
                      <a:gd name="T6" fmla="*/ 19 w 58"/>
                      <a:gd name="T7" fmla="*/ 93 h 93"/>
                      <a:gd name="T8" fmla="*/ 58 w 58"/>
                      <a:gd name="T9" fmla="*/ 8 h 93"/>
                      <a:gd name="T10" fmla="*/ 49 w 58"/>
                      <a:gd name="T11" fmla="*/ 4 h 93"/>
                      <a:gd name="T12" fmla="*/ 39 w 58"/>
                      <a:gd name="T13" fmla="*/ 0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39" y="0"/>
                        </a:moveTo>
                        <a:cubicBezTo>
                          <a:pt x="0" y="85"/>
                          <a:pt x="0" y="85"/>
                          <a:pt x="0" y="85"/>
                        </a:cubicBezTo>
                        <a:cubicBezTo>
                          <a:pt x="2" y="85"/>
                          <a:pt x="8" y="88"/>
                          <a:pt x="10" y="89"/>
                        </a:cubicBezTo>
                        <a:cubicBezTo>
                          <a:pt x="11" y="90"/>
                          <a:pt x="17" y="93"/>
                          <a:pt x="19" y="93"/>
                        </a:cubicBezTo>
                        <a:cubicBezTo>
                          <a:pt x="58" y="8"/>
                          <a:pt x="58" y="8"/>
                          <a:pt x="58" y="8"/>
                        </a:cubicBezTo>
                        <a:cubicBezTo>
                          <a:pt x="56" y="8"/>
                          <a:pt x="50" y="4"/>
                          <a:pt x="49" y="4"/>
                        </a:cubicBezTo>
                        <a:cubicBezTo>
                          <a:pt x="47" y="3"/>
                          <a:pt x="41" y="0"/>
                          <a:pt x="39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1" name="Freeform 42">
                    <a:extLst>
                      <a:ext uri="{FF2B5EF4-FFF2-40B4-BE49-F238E27FC236}">
                        <a16:creationId xmlns:a16="http://schemas.microsoft.com/office/drawing/2014/main" id="{B1329609-3CE6-DF69-371D-FDDC3E790AA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4364038" y="3095626"/>
                    <a:ext cx="157163" cy="139700"/>
                  </a:xfrm>
                  <a:custGeom>
                    <a:avLst/>
                    <a:gdLst>
                      <a:gd name="T0" fmla="*/ 72 w 85"/>
                      <a:gd name="T1" fmla="*/ 0 h 76"/>
                      <a:gd name="T2" fmla="*/ 0 w 85"/>
                      <a:gd name="T3" fmla="*/ 60 h 76"/>
                      <a:gd name="T4" fmla="*/ 6 w 85"/>
                      <a:gd name="T5" fmla="*/ 68 h 76"/>
                      <a:gd name="T6" fmla="*/ 13 w 85"/>
                      <a:gd name="T7" fmla="*/ 76 h 76"/>
                      <a:gd name="T8" fmla="*/ 85 w 85"/>
                      <a:gd name="T9" fmla="*/ 16 h 76"/>
                      <a:gd name="T10" fmla="*/ 78 w 85"/>
                      <a:gd name="T11" fmla="*/ 8 h 76"/>
                      <a:gd name="T12" fmla="*/ 72 w 85"/>
                      <a:gd name="T13" fmla="*/ 0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6">
                        <a:moveTo>
                          <a:pt x="72" y="0"/>
                        </a:move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1" y="61"/>
                          <a:pt x="6" y="67"/>
                          <a:pt x="6" y="68"/>
                        </a:cubicBezTo>
                        <a:cubicBezTo>
                          <a:pt x="7" y="69"/>
                          <a:pt x="12" y="75"/>
                          <a:pt x="13" y="76"/>
                        </a:cubicBezTo>
                        <a:cubicBezTo>
                          <a:pt x="85" y="16"/>
                          <a:pt x="85" y="16"/>
                          <a:pt x="85" y="16"/>
                        </a:cubicBezTo>
                        <a:cubicBezTo>
                          <a:pt x="84" y="15"/>
                          <a:pt x="79" y="9"/>
                          <a:pt x="78" y="8"/>
                        </a:cubicBezTo>
                        <a:cubicBezTo>
                          <a:pt x="78" y="7"/>
                          <a:pt x="73" y="1"/>
                          <a:pt x="72" y="0"/>
                        </a:cubicBezTo>
                        <a:close/>
                      </a:path>
                    </a:pathLst>
                  </a:custGeom>
                  <a:solidFill>
                    <a:srgbClr val="BB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2" name="Freeform 43">
                    <a:extLst>
                      <a:ext uri="{FF2B5EF4-FFF2-40B4-BE49-F238E27FC236}">
                        <a16:creationId xmlns:a16="http://schemas.microsoft.com/office/drawing/2014/main" id="{087C0378-2F1D-47EA-296E-598A045A9A7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814513" y="2506663"/>
                    <a:ext cx="107950" cy="171450"/>
                  </a:xfrm>
                  <a:custGeom>
                    <a:avLst/>
                    <a:gdLst>
                      <a:gd name="T0" fmla="*/ 0 w 58"/>
                      <a:gd name="T1" fmla="*/ 9 h 93"/>
                      <a:gd name="T2" fmla="*/ 40 w 58"/>
                      <a:gd name="T3" fmla="*/ 93 h 93"/>
                      <a:gd name="T4" fmla="*/ 49 w 58"/>
                      <a:gd name="T5" fmla="*/ 89 h 93"/>
                      <a:gd name="T6" fmla="*/ 58 w 58"/>
                      <a:gd name="T7" fmla="*/ 85 h 93"/>
                      <a:gd name="T8" fmla="*/ 18 w 58"/>
                      <a:gd name="T9" fmla="*/ 0 h 93"/>
                      <a:gd name="T10" fmla="*/ 9 w 58"/>
                      <a:gd name="T11" fmla="*/ 4 h 93"/>
                      <a:gd name="T12" fmla="*/ 0 w 58"/>
                      <a:gd name="T13" fmla="*/ 9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93">
                        <a:moveTo>
                          <a:pt x="0" y="9"/>
                        </a:moveTo>
                        <a:cubicBezTo>
                          <a:pt x="40" y="93"/>
                          <a:pt x="40" y="93"/>
                          <a:pt x="40" y="93"/>
                        </a:cubicBezTo>
                        <a:cubicBezTo>
                          <a:pt x="41" y="93"/>
                          <a:pt x="47" y="90"/>
                          <a:pt x="49" y="89"/>
                        </a:cubicBezTo>
                        <a:cubicBezTo>
                          <a:pt x="50" y="88"/>
                          <a:pt x="57" y="85"/>
                          <a:pt x="58" y="85"/>
                        </a:cubicBezTo>
                        <a:cubicBezTo>
                          <a:pt x="18" y="0"/>
                          <a:pt x="18" y="0"/>
                          <a:pt x="18" y="0"/>
                        </a:cubicBezTo>
                        <a:cubicBezTo>
                          <a:pt x="17" y="1"/>
                          <a:pt x="10" y="4"/>
                          <a:pt x="9" y="4"/>
                        </a:cubicBezTo>
                        <a:cubicBezTo>
                          <a:pt x="7" y="5"/>
                          <a:pt x="1" y="8"/>
                          <a:pt x="0" y="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3" name="Freeform 44">
                    <a:extLst>
                      <a:ext uri="{FF2B5EF4-FFF2-40B4-BE49-F238E27FC236}">
                        <a16:creationId xmlns:a16="http://schemas.microsoft.com/office/drawing/2014/main" id="{3827F0ED-8795-F0A5-C296-92F408E7AAA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225" y="3100388"/>
                    <a:ext cx="157163" cy="139700"/>
                  </a:xfrm>
                  <a:custGeom>
                    <a:avLst/>
                    <a:gdLst>
                      <a:gd name="T0" fmla="*/ 0 w 85"/>
                      <a:gd name="T1" fmla="*/ 16 h 75"/>
                      <a:gd name="T2" fmla="*/ 72 w 85"/>
                      <a:gd name="T3" fmla="*/ 75 h 75"/>
                      <a:gd name="T4" fmla="*/ 78 w 85"/>
                      <a:gd name="T5" fmla="*/ 67 h 75"/>
                      <a:gd name="T6" fmla="*/ 85 w 85"/>
                      <a:gd name="T7" fmla="*/ 59 h 75"/>
                      <a:gd name="T8" fmla="*/ 12 w 85"/>
                      <a:gd name="T9" fmla="*/ 0 h 75"/>
                      <a:gd name="T10" fmla="*/ 6 w 85"/>
                      <a:gd name="T11" fmla="*/ 8 h 75"/>
                      <a:gd name="T12" fmla="*/ 0 w 85"/>
                      <a:gd name="T13" fmla="*/ 16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5" h="75">
                        <a:moveTo>
                          <a:pt x="0" y="16"/>
                        </a:moveTo>
                        <a:cubicBezTo>
                          <a:pt x="72" y="75"/>
                          <a:pt x="72" y="75"/>
                          <a:pt x="72" y="75"/>
                        </a:cubicBezTo>
                        <a:cubicBezTo>
                          <a:pt x="73" y="74"/>
                          <a:pt x="78" y="68"/>
                          <a:pt x="78" y="67"/>
                        </a:cubicBezTo>
                        <a:cubicBezTo>
                          <a:pt x="79" y="66"/>
                          <a:pt x="84" y="60"/>
                          <a:pt x="85" y="59"/>
                        </a:cubicBezTo>
                        <a:cubicBezTo>
                          <a:pt x="12" y="0"/>
                          <a:pt x="12" y="0"/>
                          <a:pt x="12" y="0"/>
                        </a:cubicBezTo>
                        <a:cubicBezTo>
                          <a:pt x="11" y="1"/>
                          <a:pt x="7" y="7"/>
                          <a:pt x="6" y="8"/>
                        </a:cubicBezTo>
                        <a:cubicBezTo>
                          <a:pt x="5" y="9"/>
                          <a:pt x="0" y="14"/>
                          <a:pt x="0" y="16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4" name="Freeform 46">
                    <a:extLst>
                      <a:ext uri="{FF2B5EF4-FFF2-40B4-BE49-F238E27FC236}">
                        <a16:creationId xmlns:a16="http://schemas.microsoft.com/office/drawing/2014/main" id="{B2036F85-7061-5139-6986-90598C3D3FA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58800" y="4906963"/>
                    <a:ext cx="177800" cy="69850"/>
                  </a:xfrm>
                  <a:custGeom>
                    <a:avLst/>
                    <a:gdLst>
                      <a:gd name="T0" fmla="*/ 4 w 96"/>
                      <a:gd name="T1" fmla="*/ 37 h 37"/>
                      <a:gd name="T2" fmla="*/ 96 w 96"/>
                      <a:gd name="T3" fmla="*/ 20 h 37"/>
                      <a:gd name="T4" fmla="*/ 94 w 96"/>
                      <a:gd name="T5" fmla="*/ 10 h 37"/>
                      <a:gd name="T6" fmla="*/ 92 w 96"/>
                      <a:gd name="T7" fmla="*/ 0 h 37"/>
                      <a:gd name="T8" fmla="*/ 0 w 96"/>
                      <a:gd name="T9" fmla="*/ 17 h 37"/>
                      <a:gd name="T10" fmla="*/ 2 w 96"/>
                      <a:gd name="T11" fmla="*/ 27 h 37"/>
                      <a:gd name="T12" fmla="*/ 4 w 96"/>
                      <a:gd name="T13" fmla="*/ 37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6" h="37">
                        <a:moveTo>
                          <a:pt x="4" y="37"/>
                        </a:moveTo>
                        <a:cubicBezTo>
                          <a:pt x="96" y="20"/>
                          <a:pt x="96" y="20"/>
                          <a:pt x="96" y="20"/>
                        </a:cubicBezTo>
                        <a:cubicBezTo>
                          <a:pt x="96" y="19"/>
                          <a:pt x="94" y="12"/>
                          <a:pt x="94" y="10"/>
                        </a:cubicBezTo>
                        <a:cubicBezTo>
                          <a:pt x="94" y="9"/>
                          <a:pt x="93" y="2"/>
                          <a:pt x="92" y="0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1" y="18"/>
                          <a:pt x="2" y="25"/>
                          <a:pt x="2" y="27"/>
                        </a:cubicBezTo>
                        <a:cubicBezTo>
                          <a:pt x="2" y="28"/>
                          <a:pt x="4" y="35"/>
                          <a:pt x="4" y="3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98" name="Group 1019">
                <a:extLst>
                  <a:ext uri="{FF2B5EF4-FFF2-40B4-BE49-F238E27FC236}">
                    <a16:creationId xmlns:a16="http://schemas.microsoft.com/office/drawing/2014/main" id="{469823CB-88A8-EC06-009F-EB463EB5BDA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486427" y="2263024"/>
                <a:ext cx="1699667" cy="2477857"/>
                <a:chOff x="1866900" y="3224213"/>
                <a:chExt cx="2184400" cy="3184525"/>
              </a:xfrm>
            </p:grpSpPr>
            <p:sp>
              <p:nvSpPr>
                <p:cNvPr id="223" name="Freeform 47">
                  <a:extLst>
                    <a:ext uri="{FF2B5EF4-FFF2-40B4-BE49-F238E27FC236}">
                      <a16:creationId xmlns:a16="http://schemas.microsoft.com/office/drawing/2014/main" id="{FFE2F155-F311-F4FC-2BFA-6656583E711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933575" y="3373438"/>
                  <a:ext cx="2117725" cy="3035300"/>
                </a:xfrm>
                <a:custGeom>
                  <a:avLst/>
                  <a:gdLst>
                    <a:gd name="T0" fmla="*/ 1142 w 1142"/>
                    <a:gd name="T1" fmla="*/ 0 h 1640"/>
                    <a:gd name="T2" fmla="*/ 883 w 1142"/>
                    <a:gd name="T3" fmla="*/ 142 h 1640"/>
                    <a:gd name="T4" fmla="*/ 947 w 1142"/>
                    <a:gd name="T5" fmla="*/ 186 h 1640"/>
                    <a:gd name="T6" fmla="*/ 619 w 1142"/>
                    <a:gd name="T7" fmla="*/ 667 h 1640"/>
                    <a:gd name="T8" fmla="*/ 588 w 1142"/>
                    <a:gd name="T9" fmla="*/ 663 h 1640"/>
                    <a:gd name="T10" fmla="*/ 465 w 1142"/>
                    <a:gd name="T11" fmla="*/ 729 h 1640"/>
                    <a:gd name="T12" fmla="*/ 463 w 1142"/>
                    <a:gd name="T13" fmla="*/ 895 h 1640"/>
                    <a:gd name="T14" fmla="*/ 0 w 1142"/>
                    <a:gd name="T15" fmla="*/ 1576 h 1640"/>
                    <a:gd name="T16" fmla="*/ 93 w 1142"/>
                    <a:gd name="T17" fmla="*/ 1640 h 1640"/>
                    <a:gd name="T18" fmla="*/ 558 w 1142"/>
                    <a:gd name="T19" fmla="*/ 959 h 1640"/>
                    <a:gd name="T20" fmla="*/ 588 w 1142"/>
                    <a:gd name="T21" fmla="*/ 963 h 1640"/>
                    <a:gd name="T22" fmla="*/ 712 w 1142"/>
                    <a:gd name="T23" fmla="*/ 897 h 1640"/>
                    <a:gd name="T24" fmla="*/ 713 w 1142"/>
                    <a:gd name="T25" fmla="*/ 731 h 1640"/>
                    <a:gd name="T26" fmla="*/ 1041 w 1142"/>
                    <a:gd name="T27" fmla="*/ 250 h 1640"/>
                    <a:gd name="T28" fmla="*/ 1105 w 1142"/>
                    <a:gd name="T29" fmla="*/ 293 h 1640"/>
                    <a:gd name="T30" fmla="*/ 1142 w 1142"/>
                    <a:gd name="T31" fmla="*/ 0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142" h="1640">
                      <a:moveTo>
                        <a:pt x="1142" y="0"/>
                      </a:move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619" y="667"/>
                        <a:pt x="619" y="667"/>
                        <a:pt x="619" y="667"/>
                      </a:cubicBezTo>
                      <a:cubicBezTo>
                        <a:pt x="609" y="665"/>
                        <a:pt x="599" y="663"/>
                        <a:pt x="588" y="663"/>
                      </a:cubicBezTo>
                      <a:cubicBezTo>
                        <a:pt x="541" y="663"/>
                        <a:pt x="494" y="686"/>
                        <a:pt x="465" y="729"/>
                      </a:cubicBezTo>
                      <a:cubicBezTo>
                        <a:pt x="430" y="780"/>
                        <a:pt x="431" y="846"/>
                        <a:pt x="463" y="895"/>
                      </a:cubicBezTo>
                      <a:cubicBezTo>
                        <a:pt x="463" y="895"/>
                        <a:pt x="56" y="1493"/>
                        <a:pt x="0" y="1576"/>
                      </a:cubicBezTo>
                      <a:cubicBezTo>
                        <a:pt x="93" y="1640"/>
                        <a:pt x="93" y="1640"/>
                        <a:pt x="93" y="1640"/>
                      </a:cubicBezTo>
                      <a:cubicBezTo>
                        <a:pt x="153" y="1551"/>
                        <a:pt x="558" y="959"/>
                        <a:pt x="558" y="959"/>
                      </a:cubicBezTo>
                      <a:cubicBezTo>
                        <a:pt x="568" y="961"/>
                        <a:pt x="578" y="963"/>
                        <a:pt x="588" y="963"/>
                      </a:cubicBezTo>
                      <a:cubicBezTo>
                        <a:pt x="636" y="963"/>
                        <a:pt x="683" y="940"/>
                        <a:pt x="712" y="897"/>
                      </a:cubicBezTo>
                      <a:cubicBezTo>
                        <a:pt x="747" y="846"/>
                        <a:pt x="745" y="780"/>
                        <a:pt x="713" y="731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142" y="0"/>
                        <a:pt x="1142" y="0"/>
                        <a:pt x="1142" y="0"/>
                      </a:cubicBezTo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 48">
                  <a:extLst>
                    <a:ext uri="{FF2B5EF4-FFF2-40B4-BE49-F238E27FC236}">
                      <a16:creationId xmlns:a16="http://schemas.microsoft.com/office/drawing/2014/main" id="{5C557506-4535-607B-5156-09E86E31ACF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866900" y="3224213"/>
                  <a:ext cx="2117725" cy="3036888"/>
                </a:xfrm>
                <a:custGeom>
                  <a:avLst/>
                  <a:gdLst>
                    <a:gd name="T0" fmla="*/ 0 w 1142"/>
                    <a:gd name="T1" fmla="*/ 1576 h 1640"/>
                    <a:gd name="T2" fmla="*/ 463 w 1142"/>
                    <a:gd name="T3" fmla="*/ 895 h 1640"/>
                    <a:gd name="T4" fmla="*/ 465 w 1142"/>
                    <a:gd name="T5" fmla="*/ 729 h 1640"/>
                    <a:gd name="T6" fmla="*/ 619 w 1142"/>
                    <a:gd name="T7" fmla="*/ 667 h 1640"/>
                    <a:gd name="T8" fmla="*/ 947 w 1142"/>
                    <a:gd name="T9" fmla="*/ 186 h 1640"/>
                    <a:gd name="T10" fmla="*/ 883 w 1142"/>
                    <a:gd name="T11" fmla="*/ 142 h 1640"/>
                    <a:gd name="T12" fmla="*/ 1142 w 1142"/>
                    <a:gd name="T13" fmla="*/ 0 h 1640"/>
                    <a:gd name="T14" fmla="*/ 1105 w 1142"/>
                    <a:gd name="T15" fmla="*/ 293 h 1640"/>
                    <a:gd name="T16" fmla="*/ 1041 w 1142"/>
                    <a:gd name="T17" fmla="*/ 250 h 1640"/>
                    <a:gd name="T18" fmla="*/ 713 w 1142"/>
                    <a:gd name="T19" fmla="*/ 731 h 1640"/>
                    <a:gd name="T20" fmla="*/ 712 w 1142"/>
                    <a:gd name="T21" fmla="*/ 897 h 1640"/>
                    <a:gd name="T22" fmla="*/ 558 w 1142"/>
                    <a:gd name="T23" fmla="*/ 959 h 1640"/>
                    <a:gd name="T24" fmla="*/ 93 w 1142"/>
                    <a:gd name="T25" fmla="*/ 1640 h 1640"/>
                    <a:gd name="T26" fmla="*/ 0 w 1142"/>
                    <a:gd name="T27" fmla="*/ 1576 h 16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42" h="1640">
                      <a:moveTo>
                        <a:pt x="0" y="1576"/>
                      </a:moveTo>
                      <a:cubicBezTo>
                        <a:pt x="56" y="1493"/>
                        <a:pt x="463" y="895"/>
                        <a:pt x="463" y="895"/>
                      </a:cubicBezTo>
                      <a:cubicBezTo>
                        <a:pt x="431" y="846"/>
                        <a:pt x="430" y="780"/>
                        <a:pt x="465" y="729"/>
                      </a:cubicBezTo>
                      <a:cubicBezTo>
                        <a:pt x="500" y="677"/>
                        <a:pt x="562" y="655"/>
                        <a:pt x="619" y="667"/>
                      </a:cubicBezTo>
                      <a:cubicBezTo>
                        <a:pt x="947" y="186"/>
                        <a:pt x="947" y="186"/>
                        <a:pt x="947" y="186"/>
                      </a:cubicBezTo>
                      <a:cubicBezTo>
                        <a:pt x="883" y="142"/>
                        <a:pt x="883" y="142"/>
                        <a:pt x="883" y="142"/>
                      </a:cubicBezTo>
                      <a:cubicBezTo>
                        <a:pt x="1142" y="0"/>
                        <a:pt x="1142" y="0"/>
                        <a:pt x="1142" y="0"/>
                      </a:cubicBezTo>
                      <a:cubicBezTo>
                        <a:pt x="1105" y="293"/>
                        <a:pt x="1105" y="293"/>
                        <a:pt x="1105" y="293"/>
                      </a:cubicBezTo>
                      <a:cubicBezTo>
                        <a:pt x="1041" y="250"/>
                        <a:pt x="1041" y="250"/>
                        <a:pt x="1041" y="250"/>
                      </a:cubicBezTo>
                      <a:cubicBezTo>
                        <a:pt x="713" y="731"/>
                        <a:pt x="713" y="731"/>
                        <a:pt x="713" y="731"/>
                      </a:cubicBezTo>
                      <a:cubicBezTo>
                        <a:pt x="745" y="780"/>
                        <a:pt x="747" y="846"/>
                        <a:pt x="712" y="897"/>
                      </a:cubicBezTo>
                      <a:cubicBezTo>
                        <a:pt x="677" y="949"/>
                        <a:pt x="615" y="971"/>
                        <a:pt x="558" y="959"/>
                      </a:cubicBezTo>
                      <a:cubicBezTo>
                        <a:pt x="558" y="959"/>
                        <a:pt x="153" y="1551"/>
                        <a:pt x="93" y="1640"/>
                      </a:cubicBezTo>
                      <a:lnTo>
                        <a:pt x="0" y="157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 49">
                  <a:extLst>
                    <a:ext uri="{FF2B5EF4-FFF2-40B4-BE49-F238E27FC236}">
                      <a16:creationId xmlns:a16="http://schemas.microsoft.com/office/drawing/2014/main" id="{F313F7C6-45BF-FD6D-EC38-7E5E397683D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849563" y="4622801"/>
                  <a:ext cx="215900" cy="214313"/>
                </a:xfrm>
                <a:custGeom>
                  <a:avLst/>
                  <a:gdLst>
                    <a:gd name="T0" fmla="*/ 100 w 116"/>
                    <a:gd name="T1" fmla="*/ 87 h 116"/>
                    <a:gd name="T2" fmla="*/ 30 w 116"/>
                    <a:gd name="T3" fmla="*/ 100 h 116"/>
                    <a:gd name="T4" fmla="*/ 16 w 116"/>
                    <a:gd name="T5" fmla="*/ 29 h 116"/>
                    <a:gd name="T6" fmla="*/ 87 w 116"/>
                    <a:gd name="T7" fmla="*/ 16 h 116"/>
                    <a:gd name="T8" fmla="*/ 100 w 116"/>
                    <a:gd name="T9" fmla="*/ 87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" h="116">
                      <a:moveTo>
                        <a:pt x="100" y="87"/>
                      </a:moveTo>
                      <a:cubicBezTo>
                        <a:pt x="85" y="110"/>
                        <a:pt x="53" y="116"/>
                        <a:pt x="30" y="100"/>
                      </a:cubicBezTo>
                      <a:cubicBezTo>
                        <a:pt x="6" y="84"/>
                        <a:pt x="0" y="53"/>
                        <a:pt x="16" y="29"/>
                      </a:cubicBezTo>
                      <a:cubicBezTo>
                        <a:pt x="32" y="6"/>
                        <a:pt x="64" y="0"/>
                        <a:pt x="87" y="16"/>
                      </a:cubicBezTo>
                      <a:cubicBezTo>
                        <a:pt x="110" y="32"/>
                        <a:pt x="116" y="63"/>
                        <a:pt x="100" y="87"/>
                      </a:cubicBezTo>
                      <a:close/>
                    </a:path>
                  </a:pathLst>
                </a:custGeom>
                <a:solidFill>
                  <a:srgbClr val="002B6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Oval 50">
                  <a:extLst>
                    <a:ext uri="{FF2B5EF4-FFF2-40B4-BE49-F238E27FC236}">
                      <a16:creationId xmlns:a16="http://schemas.microsoft.com/office/drawing/2014/main" id="{566AAB8D-493E-B14C-F2E2-C721D72EF35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2919413" y="4694238"/>
                  <a:ext cx="73025" cy="73025"/>
                </a:xfrm>
                <a:prstGeom prst="ellipse">
                  <a:avLst/>
                </a:prstGeom>
                <a:solidFill>
                  <a:srgbClr val="56B9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99" name="Group 1020">
                <a:extLst>
                  <a:ext uri="{FF2B5EF4-FFF2-40B4-BE49-F238E27FC236}">
                    <a16:creationId xmlns:a16="http://schemas.microsoft.com/office/drawing/2014/main" id="{ADCAA1CE-FEF0-EB27-1EEA-0AA288B0510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163860" y="3516775"/>
                <a:ext cx="839952" cy="104994"/>
                <a:chOff x="4022725" y="4835526"/>
                <a:chExt cx="1079500" cy="134938"/>
              </a:xfrm>
            </p:grpSpPr>
            <p:sp>
              <p:nvSpPr>
                <p:cNvPr id="100" name="Rectangle 53">
                  <a:extLst>
                    <a:ext uri="{FF2B5EF4-FFF2-40B4-BE49-F238E27FC236}">
                      <a16:creationId xmlns:a16="http://schemas.microsoft.com/office/drawing/2014/main" id="{49B06CE2-EB72-BD1A-E463-07F4EBEE0C2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Rectangle 54">
                  <a:extLst>
                    <a:ext uri="{FF2B5EF4-FFF2-40B4-BE49-F238E27FC236}">
                      <a16:creationId xmlns:a16="http://schemas.microsoft.com/office/drawing/2014/main" id="{0F2B1A21-089D-4F4A-F3EF-6D254CDA728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94665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Rectangle 55">
                  <a:extLst>
                    <a:ext uri="{FF2B5EF4-FFF2-40B4-BE49-F238E27FC236}">
                      <a16:creationId xmlns:a16="http://schemas.microsoft.com/office/drawing/2014/main" id="{CA90C38F-0438-5258-31C6-7434EFAAAF9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Rectangle 56">
                  <a:extLst>
                    <a:ext uri="{FF2B5EF4-FFF2-40B4-BE49-F238E27FC236}">
                      <a16:creationId xmlns:a16="http://schemas.microsoft.com/office/drawing/2014/main" id="{A3B40A09-BFE2-0508-C211-B1B3047F030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946651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Rectangle 57">
                  <a:extLst>
                    <a:ext uri="{FF2B5EF4-FFF2-40B4-BE49-F238E27FC236}">
                      <a16:creationId xmlns:a16="http://schemas.microsoft.com/office/drawing/2014/main" id="{DEE44556-EFDC-744B-26A7-BC685E95F42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Rectangle 58">
                  <a:extLst>
                    <a:ext uri="{FF2B5EF4-FFF2-40B4-BE49-F238E27FC236}">
                      <a16:creationId xmlns:a16="http://schemas.microsoft.com/office/drawing/2014/main" id="{39A62F06-779A-37F4-D425-98D65684365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946651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 59">
                  <a:extLst>
                    <a:ext uri="{FF2B5EF4-FFF2-40B4-BE49-F238E27FC236}">
                      <a16:creationId xmlns:a16="http://schemas.microsoft.com/office/drawing/2014/main" id="{BFAC24D3-660B-263B-4F92-D4819413BB7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 60">
                  <a:extLst>
                    <a:ext uri="{FF2B5EF4-FFF2-40B4-BE49-F238E27FC236}">
                      <a16:creationId xmlns:a16="http://schemas.microsoft.com/office/drawing/2014/main" id="{0DA259F1-FFB6-A48C-0CD8-AB602848976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946651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reeform 61">
                  <a:extLst>
                    <a:ext uri="{FF2B5EF4-FFF2-40B4-BE49-F238E27FC236}">
                      <a16:creationId xmlns:a16="http://schemas.microsoft.com/office/drawing/2014/main" id="{209C46F3-3CCB-B35C-6799-E36D21CEB89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 62">
                  <a:extLst>
                    <a:ext uri="{FF2B5EF4-FFF2-40B4-BE49-F238E27FC236}">
                      <a16:creationId xmlns:a16="http://schemas.microsoft.com/office/drawing/2014/main" id="{3DB8A324-1B83-D1F4-2BA6-D6BFE0F7B1C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948238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Rectangle 63">
                  <a:extLst>
                    <a:ext uri="{FF2B5EF4-FFF2-40B4-BE49-F238E27FC236}">
                      <a16:creationId xmlns:a16="http://schemas.microsoft.com/office/drawing/2014/main" id="{8B65625D-5DD1-87D1-A083-59B9D75C5D6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Rectangle 64">
                  <a:extLst>
                    <a:ext uri="{FF2B5EF4-FFF2-40B4-BE49-F238E27FC236}">
                      <a16:creationId xmlns:a16="http://schemas.microsoft.com/office/drawing/2014/main" id="{257DD795-9918-1CDB-9CDD-F705AE03BA0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948238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Rectangle 65">
                  <a:extLst>
                    <a:ext uri="{FF2B5EF4-FFF2-40B4-BE49-F238E27FC236}">
                      <a16:creationId xmlns:a16="http://schemas.microsoft.com/office/drawing/2014/main" id="{52EA9600-DE78-83C8-0923-576243EA6CB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Rectangle 66">
                  <a:extLst>
                    <a:ext uri="{FF2B5EF4-FFF2-40B4-BE49-F238E27FC236}">
                      <a16:creationId xmlns:a16="http://schemas.microsoft.com/office/drawing/2014/main" id="{FEECB493-4307-A7D7-CEC9-2C740DF5A1D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4" name="Rectangle 67">
                  <a:extLst>
                    <a:ext uri="{FF2B5EF4-FFF2-40B4-BE49-F238E27FC236}">
                      <a16:creationId xmlns:a16="http://schemas.microsoft.com/office/drawing/2014/main" id="{0FB4CE02-D903-C2EF-54F9-EB6D9BD0B7B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Rectangle 68">
                  <a:extLst>
                    <a:ext uri="{FF2B5EF4-FFF2-40B4-BE49-F238E27FC236}">
                      <a16:creationId xmlns:a16="http://schemas.microsoft.com/office/drawing/2014/main" id="{4C560923-308D-F644-E890-8847DBED1F8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948238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Rectangle 69">
                  <a:extLst>
                    <a:ext uri="{FF2B5EF4-FFF2-40B4-BE49-F238E27FC236}">
                      <a16:creationId xmlns:a16="http://schemas.microsoft.com/office/drawing/2014/main" id="{27C806CE-DC56-41F5-DE95-CE4071A7DC8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Rectangle 70">
                  <a:extLst>
                    <a:ext uri="{FF2B5EF4-FFF2-40B4-BE49-F238E27FC236}">
                      <a16:creationId xmlns:a16="http://schemas.microsoft.com/office/drawing/2014/main" id="{B9E7B2F4-697F-4E70-9B3D-70EFB9E6EDA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9741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Rectangle 71">
                  <a:extLst>
                    <a:ext uri="{FF2B5EF4-FFF2-40B4-BE49-F238E27FC236}">
                      <a16:creationId xmlns:a16="http://schemas.microsoft.com/office/drawing/2014/main" id="{89994721-F8BA-60C7-78E0-8B79E0BA6C8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Rectangle 72">
                  <a:extLst>
                    <a:ext uri="{FF2B5EF4-FFF2-40B4-BE49-F238E27FC236}">
                      <a16:creationId xmlns:a16="http://schemas.microsoft.com/office/drawing/2014/main" id="{11255DA8-130C-7144-972D-C22B5895BB7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Rectangle 73">
                  <a:extLst>
                    <a:ext uri="{FF2B5EF4-FFF2-40B4-BE49-F238E27FC236}">
                      <a16:creationId xmlns:a16="http://schemas.microsoft.com/office/drawing/2014/main" id="{58277917-84CA-13FB-5182-E7E8BDCAB87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Rectangle 74">
                  <a:extLst>
                    <a:ext uri="{FF2B5EF4-FFF2-40B4-BE49-F238E27FC236}">
                      <a16:creationId xmlns:a16="http://schemas.microsoft.com/office/drawing/2014/main" id="{3D980B5C-3B2C-648E-867C-348C315C380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948238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Rectangle 75">
                  <a:extLst>
                    <a:ext uri="{FF2B5EF4-FFF2-40B4-BE49-F238E27FC236}">
                      <a16:creationId xmlns:a16="http://schemas.microsoft.com/office/drawing/2014/main" id="{94DD5247-92C4-FA07-C480-990D3890F9B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Rectangle 76">
                  <a:extLst>
                    <a:ext uri="{FF2B5EF4-FFF2-40B4-BE49-F238E27FC236}">
                      <a16:creationId xmlns:a16="http://schemas.microsoft.com/office/drawing/2014/main" id="{FC16B577-33D1-EC6C-977E-F06E42DF70C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Rectangle 77">
                  <a:extLst>
                    <a:ext uri="{FF2B5EF4-FFF2-40B4-BE49-F238E27FC236}">
                      <a16:creationId xmlns:a16="http://schemas.microsoft.com/office/drawing/2014/main" id="{128B4663-5C4E-5874-BE01-BFE594CD161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Rectangle 78">
                  <a:extLst>
                    <a:ext uri="{FF2B5EF4-FFF2-40B4-BE49-F238E27FC236}">
                      <a16:creationId xmlns:a16="http://schemas.microsoft.com/office/drawing/2014/main" id="{6F006AF6-86C2-2743-F211-3CF221F2D0A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Rectangle 79">
                  <a:extLst>
                    <a:ext uri="{FF2B5EF4-FFF2-40B4-BE49-F238E27FC236}">
                      <a16:creationId xmlns:a16="http://schemas.microsoft.com/office/drawing/2014/main" id="{657B813B-A3CC-7D57-E010-40661B5BBD4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Rectangle 80">
                  <a:extLst>
                    <a:ext uri="{FF2B5EF4-FFF2-40B4-BE49-F238E27FC236}">
                      <a16:creationId xmlns:a16="http://schemas.microsoft.com/office/drawing/2014/main" id="{AAD38F93-95C1-D03A-5DA7-A4A1354B7C7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9498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Rectangle 81">
                  <a:extLst>
                    <a:ext uri="{FF2B5EF4-FFF2-40B4-BE49-F238E27FC236}">
                      <a16:creationId xmlns:a16="http://schemas.microsoft.com/office/drawing/2014/main" id="{3C86B26A-A630-69DA-A0C0-70CAE896A4F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Rectangle 82">
                  <a:extLst>
                    <a:ext uri="{FF2B5EF4-FFF2-40B4-BE49-F238E27FC236}">
                      <a16:creationId xmlns:a16="http://schemas.microsoft.com/office/drawing/2014/main" id="{E786F815-5576-3A58-CFC9-E92132B805F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949826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Rectangle 83">
                  <a:extLst>
                    <a:ext uri="{FF2B5EF4-FFF2-40B4-BE49-F238E27FC236}">
                      <a16:creationId xmlns:a16="http://schemas.microsoft.com/office/drawing/2014/main" id="{1AA3AC19-A2FE-4977-5CBA-46FB598B6C6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Rectangle 84">
                  <a:extLst>
                    <a:ext uri="{FF2B5EF4-FFF2-40B4-BE49-F238E27FC236}">
                      <a16:creationId xmlns:a16="http://schemas.microsoft.com/office/drawing/2014/main" id="{E52D9FCE-BBFC-4E4E-505C-13DEE129199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Rectangle 85">
                  <a:extLst>
                    <a:ext uri="{FF2B5EF4-FFF2-40B4-BE49-F238E27FC236}">
                      <a16:creationId xmlns:a16="http://schemas.microsoft.com/office/drawing/2014/main" id="{C08BC74D-7315-1D1A-5DBD-EFB0D9D073C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Rectangle 86">
                  <a:extLst>
                    <a:ext uri="{FF2B5EF4-FFF2-40B4-BE49-F238E27FC236}">
                      <a16:creationId xmlns:a16="http://schemas.microsoft.com/office/drawing/2014/main" id="{F1773548-6D24-78C4-CFB1-5D08BA1E0E6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Rectangle 87">
                  <a:extLst>
                    <a:ext uri="{FF2B5EF4-FFF2-40B4-BE49-F238E27FC236}">
                      <a16:creationId xmlns:a16="http://schemas.microsoft.com/office/drawing/2014/main" id="{01ED61B6-B4DB-9F41-36A5-674AB892089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Rectangle 88">
                  <a:extLst>
                    <a:ext uri="{FF2B5EF4-FFF2-40B4-BE49-F238E27FC236}">
                      <a16:creationId xmlns:a16="http://schemas.microsoft.com/office/drawing/2014/main" id="{CD9AF9B6-D5F3-35B1-FDE8-E8D14815BD8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949826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 89">
                  <a:extLst>
                    <a:ext uri="{FF2B5EF4-FFF2-40B4-BE49-F238E27FC236}">
                      <a16:creationId xmlns:a16="http://schemas.microsoft.com/office/drawing/2014/main" id="{C5799F7B-AA97-8697-2F7F-987B105CB55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Freeform 90">
                  <a:extLst>
                    <a:ext uri="{FF2B5EF4-FFF2-40B4-BE49-F238E27FC236}">
                      <a16:creationId xmlns:a16="http://schemas.microsoft.com/office/drawing/2014/main" id="{58959A21-54B0-A1FC-60D4-AD68AF93BA1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951413"/>
                  <a:ext cx="20638" cy="19050"/>
                </a:xfrm>
                <a:custGeom>
                  <a:avLst/>
                  <a:gdLst>
                    <a:gd name="T0" fmla="*/ 13 w 13"/>
                    <a:gd name="T1" fmla="*/ 0 h 12"/>
                    <a:gd name="T2" fmla="*/ 0 w 13"/>
                    <a:gd name="T3" fmla="*/ 0 h 12"/>
                    <a:gd name="T4" fmla="*/ 1 w 13"/>
                    <a:gd name="T5" fmla="*/ 12 h 12"/>
                    <a:gd name="T6" fmla="*/ 13 w 13"/>
                    <a:gd name="T7" fmla="*/ 12 h 12"/>
                    <a:gd name="T8" fmla="*/ 13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1" y="12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Freeform 91">
                  <a:extLst>
                    <a:ext uri="{FF2B5EF4-FFF2-40B4-BE49-F238E27FC236}">
                      <a16:creationId xmlns:a16="http://schemas.microsoft.com/office/drawing/2014/main" id="{C332EABC-E079-196D-F189-7F77B4DBA48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951413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Rectangle 92">
                  <a:extLst>
                    <a:ext uri="{FF2B5EF4-FFF2-40B4-BE49-F238E27FC236}">
                      <a16:creationId xmlns:a16="http://schemas.microsoft.com/office/drawing/2014/main" id="{FEA03577-C9D8-B633-86E8-DACD138A19E9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Rectangle 93">
                  <a:extLst>
                    <a:ext uri="{FF2B5EF4-FFF2-40B4-BE49-F238E27FC236}">
                      <a16:creationId xmlns:a16="http://schemas.microsoft.com/office/drawing/2014/main" id="{70B9B3DF-D41D-E4D9-4DF2-5C11208041F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951413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Rectangle 94">
                  <a:extLst>
                    <a:ext uri="{FF2B5EF4-FFF2-40B4-BE49-F238E27FC236}">
                      <a16:creationId xmlns:a16="http://schemas.microsoft.com/office/drawing/2014/main" id="{DB62FF7F-8CC4-30A5-0609-7919A6E94C8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Rectangle 95">
                  <a:extLst>
                    <a:ext uri="{FF2B5EF4-FFF2-40B4-BE49-F238E27FC236}">
                      <a16:creationId xmlns:a16="http://schemas.microsoft.com/office/drawing/2014/main" id="{60C6FA6F-0952-4594-C1DD-37379AE4085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83175" y="483552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3" name="Freeform 96">
                  <a:extLst>
                    <a:ext uri="{FF2B5EF4-FFF2-40B4-BE49-F238E27FC236}">
                      <a16:creationId xmlns:a16="http://schemas.microsoft.com/office/drawing/2014/main" id="{C4CB17BE-3D0B-4D11-B45D-34E466F6B04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Freeform 97">
                  <a:extLst>
                    <a:ext uri="{FF2B5EF4-FFF2-40B4-BE49-F238E27FC236}">
                      <a16:creationId xmlns:a16="http://schemas.microsoft.com/office/drawing/2014/main" id="{C2A79A64-ED37-BF5E-B663-986786BE5E4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035550" y="4835526"/>
                  <a:ext cx="19050" cy="20638"/>
                </a:xfrm>
                <a:custGeom>
                  <a:avLst/>
                  <a:gdLst>
                    <a:gd name="T0" fmla="*/ 12 w 12"/>
                    <a:gd name="T1" fmla="*/ 0 h 13"/>
                    <a:gd name="T2" fmla="*/ 0 w 12"/>
                    <a:gd name="T3" fmla="*/ 0 h 13"/>
                    <a:gd name="T4" fmla="*/ 0 w 12"/>
                    <a:gd name="T5" fmla="*/ 13 h 13"/>
                    <a:gd name="T6" fmla="*/ 12 w 12"/>
                    <a:gd name="T7" fmla="*/ 12 h 13"/>
                    <a:gd name="T8" fmla="*/ 12 w 12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2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Rectangle 98">
                  <a:extLst>
                    <a:ext uri="{FF2B5EF4-FFF2-40B4-BE49-F238E27FC236}">
                      <a16:creationId xmlns:a16="http://schemas.microsoft.com/office/drawing/2014/main" id="{B979FF22-4710-1458-0DC4-D872B5DE62D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Rectangle 99">
                  <a:extLst>
                    <a:ext uri="{FF2B5EF4-FFF2-40B4-BE49-F238E27FC236}">
                      <a16:creationId xmlns:a16="http://schemas.microsoft.com/office/drawing/2014/main" id="{D4E57A1B-74A1-369B-4F47-B02DE450D7C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35526"/>
                  <a:ext cx="17463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eform 100">
                  <a:extLst>
                    <a:ext uri="{FF2B5EF4-FFF2-40B4-BE49-F238E27FC236}">
                      <a16:creationId xmlns:a16="http://schemas.microsoft.com/office/drawing/2014/main" id="{62A99DEB-A151-2BE3-32F9-97439B06BC6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 101">
                  <a:extLst>
                    <a:ext uri="{FF2B5EF4-FFF2-40B4-BE49-F238E27FC236}">
                      <a16:creationId xmlns:a16="http://schemas.microsoft.com/office/drawing/2014/main" id="{6734D41B-6CDC-DF82-3AF1-24301FFD0C2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938713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 102">
                  <a:extLst>
                    <a:ext uri="{FF2B5EF4-FFF2-40B4-BE49-F238E27FC236}">
                      <a16:creationId xmlns:a16="http://schemas.microsoft.com/office/drawing/2014/main" id="{4B78B6F8-6252-DC7A-5AE7-01A9037D6FA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Freeform 103">
                  <a:extLst>
                    <a:ext uri="{FF2B5EF4-FFF2-40B4-BE49-F238E27FC236}">
                      <a16:creationId xmlns:a16="http://schemas.microsoft.com/office/drawing/2014/main" id="{BA6B377C-F418-F9FB-D430-18F55D15F69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91088" y="4835526"/>
                  <a:ext cx="20638" cy="20638"/>
                </a:xfrm>
                <a:custGeom>
                  <a:avLst/>
                  <a:gdLst>
                    <a:gd name="T0" fmla="*/ 12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2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2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Rectangle 104">
                  <a:extLst>
                    <a:ext uri="{FF2B5EF4-FFF2-40B4-BE49-F238E27FC236}">
                      <a16:creationId xmlns:a16="http://schemas.microsoft.com/office/drawing/2014/main" id="{2B18888D-19D8-29F6-76D8-F2509616801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Rectangle 105">
                  <a:extLst>
                    <a:ext uri="{FF2B5EF4-FFF2-40B4-BE49-F238E27FC236}">
                      <a16:creationId xmlns:a16="http://schemas.microsoft.com/office/drawing/2014/main" id="{19527A12-1C82-8C09-11D1-F58576E15FC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43463" y="4837113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Rectangle 106">
                  <a:extLst>
                    <a:ext uri="{FF2B5EF4-FFF2-40B4-BE49-F238E27FC236}">
                      <a16:creationId xmlns:a16="http://schemas.microsoft.com/office/drawing/2014/main" id="{3B584D3D-B662-C203-1D36-E2AFB71C14F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Rectangle 107">
                  <a:extLst>
                    <a:ext uri="{FF2B5EF4-FFF2-40B4-BE49-F238E27FC236}">
                      <a16:creationId xmlns:a16="http://schemas.microsoft.com/office/drawing/2014/main" id="{64A3BB2F-DD86-8884-B89C-8AFD664B19B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Rectangle 108">
                  <a:extLst>
                    <a:ext uri="{FF2B5EF4-FFF2-40B4-BE49-F238E27FC236}">
                      <a16:creationId xmlns:a16="http://schemas.microsoft.com/office/drawing/2014/main" id="{1021D085-8CD9-427F-5537-8C0D6EAABAE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Rectangle 109">
                  <a:extLst>
                    <a:ext uri="{FF2B5EF4-FFF2-40B4-BE49-F238E27FC236}">
                      <a16:creationId xmlns:a16="http://schemas.microsoft.com/office/drawing/2014/main" id="{4D5E34F5-749D-0737-D803-6A431338186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46625" y="483711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reeform 110">
                  <a:extLst>
                    <a:ext uri="{FF2B5EF4-FFF2-40B4-BE49-F238E27FC236}">
                      <a16:creationId xmlns:a16="http://schemas.microsoft.com/office/drawing/2014/main" id="{7BB54E8F-BF47-A151-3384-2AC3DF865BE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 111">
                  <a:extLst>
                    <a:ext uri="{FF2B5EF4-FFF2-40B4-BE49-F238E27FC236}">
                      <a16:creationId xmlns:a16="http://schemas.microsoft.com/office/drawing/2014/main" id="{9AEC989A-6706-DD8A-555D-B7FCDB2B8C8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Rectangle 112">
                  <a:extLst>
                    <a:ext uri="{FF2B5EF4-FFF2-40B4-BE49-F238E27FC236}">
                      <a16:creationId xmlns:a16="http://schemas.microsoft.com/office/drawing/2014/main" id="{3E71A1DE-9D77-A2E2-399E-DA6BD49CD7C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Rectangle 113">
                  <a:extLst>
                    <a:ext uri="{FF2B5EF4-FFF2-40B4-BE49-F238E27FC236}">
                      <a16:creationId xmlns:a16="http://schemas.microsoft.com/office/drawing/2014/main" id="{7A9215EF-B736-D678-4475-29205E5207C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Rectangle 114">
                  <a:extLst>
                    <a:ext uri="{FF2B5EF4-FFF2-40B4-BE49-F238E27FC236}">
                      <a16:creationId xmlns:a16="http://schemas.microsoft.com/office/drawing/2014/main" id="{18A6CFFC-3FA9-12C6-0827-3DBEAD3AA85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Rectangle 115">
                  <a:extLst>
                    <a:ext uri="{FF2B5EF4-FFF2-40B4-BE49-F238E27FC236}">
                      <a16:creationId xmlns:a16="http://schemas.microsoft.com/office/drawing/2014/main" id="{05E6F948-1FE6-44A2-E848-0920412440A8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3711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 116">
                  <a:extLst>
                    <a:ext uri="{FF2B5EF4-FFF2-40B4-BE49-F238E27FC236}">
                      <a16:creationId xmlns:a16="http://schemas.microsoft.com/office/drawing/2014/main" id="{BE96F8C7-4198-AE40-3720-7C166B5C837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 117">
                  <a:extLst>
                    <a:ext uri="{FF2B5EF4-FFF2-40B4-BE49-F238E27FC236}">
                      <a16:creationId xmlns:a16="http://schemas.microsoft.com/office/drawing/2014/main" id="{FADACCD1-BA64-B862-E1AE-C0A6762749D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52950" y="483711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0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Rectangle 118">
                  <a:extLst>
                    <a:ext uri="{FF2B5EF4-FFF2-40B4-BE49-F238E27FC236}">
                      <a16:creationId xmlns:a16="http://schemas.microsoft.com/office/drawing/2014/main" id="{1B653067-BD1D-F719-5C7B-C1C8EFD9C1A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Rectangle 119">
                  <a:extLst>
                    <a:ext uri="{FF2B5EF4-FFF2-40B4-BE49-F238E27FC236}">
                      <a16:creationId xmlns:a16="http://schemas.microsoft.com/office/drawing/2014/main" id="{F7D086D7-CEC6-A9E0-4034-2BF9A345E20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05325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Rectangle 120">
                  <a:extLst>
                    <a:ext uri="{FF2B5EF4-FFF2-40B4-BE49-F238E27FC236}">
                      <a16:creationId xmlns:a16="http://schemas.microsoft.com/office/drawing/2014/main" id="{60D6BBAD-7D16-F74B-DB5B-76A7A91C6CAD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Rectangle 121">
                  <a:extLst>
                    <a:ext uri="{FF2B5EF4-FFF2-40B4-BE49-F238E27FC236}">
                      <a16:creationId xmlns:a16="http://schemas.microsoft.com/office/drawing/2014/main" id="{7847BAFE-8FF0-4034-C447-4ACFC6DDB7B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38701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Rectangle 122">
                  <a:extLst>
                    <a:ext uri="{FF2B5EF4-FFF2-40B4-BE49-F238E27FC236}">
                      <a16:creationId xmlns:a16="http://schemas.microsoft.com/office/drawing/2014/main" id="{189D75D8-09F7-CD63-B7EE-545417C880C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Rectangle 123">
                  <a:extLst>
                    <a:ext uri="{FF2B5EF4-FFF2-40B4-BE49-F238E27FC236}">
                      <a16:creationId xmlns:a16="http://schemas.microsoft.com/office/drawing/2014/main" id="{15E07D46-62A5-D396-4C22-2D3B565E37B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3870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 124">
                  <a:extLst>
                    <a:ext uri="{FF2B5EF4-FFF2-40B4-BE49-F238E27FC236}">
                      <a16:creationId xmlns:a16="http://schemas.microsoft.com/office/drawing/2014/main" id="{CE204C5F-091D-764E-799F-31C52B8111A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Freeform 125">
                  <a:extLst>
                    <a:ext uri="{FF2B5EF4-FFF2-40B4-BE49-F238E27FC236}">
                      <a16:creationId xmlns:a16="http://schemas.microsoft.com/office/drawing/2014/main" id="{5AEC05FD-A897-0998-4E30-8B9D69E865D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360863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Rectangle 126">
                  <a:extLst>
                    <a:ext uri="{FF2B5EF4-FFF2-40B4-BE49-F238E27FC236}">
                      <a16:creationId xmlns:a16="http://schemas.microsoft.com/office/drawing/2014/main" id="{8E10B7B9-613A-C515-BD31-5C0EF917108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Rectangle 127">
                  <a:extLst>
                    <a:ext uri="{FF2B5EF4-FFF2-40B4-BE49-F238E27FC236}">
                      <a16:creationId xmlns:a16="http://schemas.microsoft.com/office/drawing/2014/main" id="{EB65D153-568E-1B56-D543-DE467401BA1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Rectangle 128">
                  <a:extLst>
                    <a:ext uri="{FF2B5EF4-FFF2-40B4-BE49-F238E27FC236}">
                      <a16:creationId xmlns:a16="http://schemas.microsoft.com/office/drawing/2014/main" id="{C2F001E1-C47C-273D-DF6A-923BE99D5B3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Rectangle 129">
                  <a:extLst>
                    <a:ext uri="{FF2B5EF4-FFF2-40B4-BE49-F238E27FC236}">
                      <a16:creationId xmlns:a16="http://schemas.microsoft.com/office/drawing/2014/main" id="{E1358756-7EDF-4865-B342-321A2E6956B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38701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 130">
                  <a:extLst>
                    <a:ext uri="{FF2B5EF4-FFF2-40B4-BE49-F238E27FC236}">
                      <a16:creationId xmlns:a16="http://schemas.microsoft.com/office/drawing/2014/main" id="{76DB15F0-2746-776E-5184-2F2B651F8DF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Freeform 131">
                  <a:extLst>
                    <a:ext uri="{FF2B5EF4-FFF2-40B4-BE49-F238E27FC236}">
                      <a16:creationId xmlns:a16="http://schemas.microsoft.com/office/drawing/2014/main" id="{6AF43F3B-1628-EBD2-3BED-B6EF1F345A6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16400" y="483870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1 h 13"/>
                    <a:gd name="T4" fmla="*/ 1 w 13"/>
                    <a:gd name="T5" fmla="*/ 13 h 13"/>
                    <a:gd name="T6" fmla="*/ 13 w 13"/>
                    <a:gd name="T7" fmla="*/ 13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1"/>
                      </a:lnTo>
                      <a:lnTo>
                        <a:pt x="1" y="13"/>
                      </a:lnTo>
                      <a:lnTo>
                        <a:pt x="13" y="13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 132">
                  <a:extLst>
                    <a:ext uri="{FF2B5EF4-FFF2-40B4-BE49-F238E27FC236}">
                      <a16:creationId xmlns:a16="http://schemas.microsoft.com/office/drawing/2014/main" id="{F04AA6D5-0398-19DB-4A82-AFD60538C8A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40288"/>
                  <a:ext cx="20638" cy="19050"/>
                </a:xfrm>
                <a:custGeom>
                  <a:avLst/>
                  <a:gdLst>
                    <a:gd name="T0" fmla="*/ 2 w 13"/>
                    <a:gd name="T1" fmla="*/ 12 h 12"/>
                    <a:gd name="T2" fmla="*/ 13 w 13"/>
                    <a:gd name="T3" fmla="*/ 12 h 12"/>
                    <a:gd name="T4" fmla="*/ 13 w 13"/>
                    <a:gd name="T5" fmla="*/ 0 h 12"/>
                    <a:gd name="T6" fmla="*/ 0 w 13"/>
                    <a:gd name="T7" fmla="*/ 0 h 12"/>
                    <a:gd name="T8" fmla="*/ 2 w 13"/>
                    <a:gd name="T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2" y="12"/>
                      </a:moveTo>
                      <a:lnTo>
                        <a:pt x="13" y="12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2" y="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Rectangle 133">
                  <a:extLst>
                    <a:ext uri="{FF2B5EF4-FFF2-40B4-BE49-F238E27FC236}">
                      <a16:creationId xmlns:a16="http://schemas.microsoft.com/office/drawing/2014/main" id="{4022DA4F-D906-76AB-DB0C-903F5EAAD20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21150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Rectangle 134">
                  <a:extLst>
                    <a:ext uri="{FF2B5EF4-FFF2-40B4-BE49-F238E27FC236}">
                      <a16:creationId xmlns:a16="http://schemas.microsoft.com/office/drawing/2014/main" id="{4766A231-A456-0205-0D21-AA92380747C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3525" y="4840288"/>
                  <a:ext cx="19050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Rectangle 135">
                  <a:extLst>
                    <a:ext uri="{FF2B5EF4-FFF2-40B4-BE49-F238E27FC236}">
                      <a16:creationId xmlns:a16="http://schemas.microsoft.com/office/drawing/2014/main" id="{5F9EA978-4E59-5B73-7D41-8599DF7FE98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solidFill>
                  <a:srgbClr val="299EB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Rectangle 136">
                  <a:extLst>
                    <a:ext uri="{FF2B5EF4-FFF2-40B4-BE49-F238E27FC236}">
                      <a16:creationId xmlns:a16="http://schemas.microsoft.com/office/drawing/2014/main" id="{A392F21D-E0A5-F20C-6502-E82F0001D5D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5035550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Rectangle 137">
                  <a:extLst>
                    <a:ext uri="{FF2B5EF4-FFF2-40B4-BE49-F238E27FC236}">
                      <a16:creationId xmlns:a16="http://schemas.microsoft.com/office/drawing/2014/main" id="{1243BB24-9351-5061-081B-8ABB082EAC9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solidFill>
                  <a:srgbClr val="34A3B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Rectangle 138">
                  <a:extLst>
                    <a:ext uri="{FF2B5EF4-FFF2-40B4-BE49-F238E27FC236}">
                      <a16:creationId xmlns:a16="http://schemas.microsoft.com/office/drawing/2014/main" id="{1EC76950-312F-C772-B654-F5FA4748F99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87925" y="4892676"/>
                  <a:ext cx="17463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Rectangle 139">
                  <a:extLst>
                    <a:ext uri="{FF2B5EF4-FFF2-40B4-BE49-F238E27FC236}">
                      <a16:creationId xmlns:a16="http://schemas.microsoft.com/office/drawing/2014/main" id="{863F394B-12C3-EBBC-8E73-28AEC3F0F65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solidFill>
                  <a:srgbClr val="3FA8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Rectangle 140">
                  <a:extLst>
                    <a:ext uri="{FF2B5EF4-FFF2-40B4-BE49-F238E27FC236}">
                      <a16:creationId xmlns:a16="http://schemas.microsoft.com/office/drawing/2014/main" id="{810286C8-8F15-980F-0AC5-156FCEF56F6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938713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Rectangle 141">
                  <a:extLst>
                    <a:ext uri="{FF2B5EF4-FFF2-40B4-BE49-F238E27FC236}">
                      <a16:creationId xmlns:a16="http://schemas.microsoft.com/office/drawing/2014/main" id="{808D17DA-8CD7-79E2-22E2-0A660BD2734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solidFill>
                  <a:srgbClr val="4AADC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Rectangle 142">
                  <a:extLst>
                    <a:ext uri="{FF2B5EF4-FFF2-40B4-BE49-F238E27FC236}">
                      <a16:creationId xmlns:a16="http://schemas.microsoft.com/office/drawing/2014/main" id="{2B53FCF7-6BAC-544F-2590-D4D8DEF67BF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891088" y="4892676"/>
                  <a:ext cx="19050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Freeform 143">
                  <a:extLst>
                    <a:ext uri="{FF2B5EF4-FFF2-40B4-BE49-F238E27FC236}">
                      <a16:creationId xmlns:a16="http://schemas.microsoft.com/office/drawing/2014/main" id="{31C9EF6D-5235-3F7E-C7B6-67BC0844B2C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56B3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Freeform 144">
                  <a:extLst>
                    <a:ext uri="{FF2B5EF4-FFF2-40B4-BE49-F238E27FC236}">
                      <a16:creationId xmlns:a16="http://schemas.microsoft.com/office/drawing/2014/main" id="{78AF2D18-E51C-60CA-EC7C-28099D2FB69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843463" y="4892676"/>
                  <a:ext cx="17463" cy="20638"/>
                </a:xfrm>
                <a:custGeom>
                  <a:avLst/>
                  <a:gdLst>
                    <a:gd name="T0" fmla="*/ 11 w 11"/>
                    <a:gd name="T1" fmla="*/ 0 h 13"/>
                    <a:gd name="T2" fmla="*/ 0 w 11"/>
                    <a:gd name="T3" fmla="*/ 0 h 13"/>
                    <a:gd name="T4" fmla="*/ 0 w 11"/>
                    <a:gd name="T5" fmla="*/ 13 h 13"/>
                    <a:gd name="T6" fmla="*/ 11 w 11"/>
                    <a:gd name="T7" fmla="*/ 12 h 13"/>
                    <a:gd name="T8" fmla="*/ 11 w 11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1" y="12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Rectangle 145">
                  <a:extLst>
                    <a:ext uri="{FF2B5EF4-FFF2-40B4-BE49-F238E27FC236}">
                      <a16:creationId xmlns:a16="http://schemas.microsoft.com/office/drawing/2014/main" id="{F703F57F-92B6-13F1-80B2-D4A7878B20B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solidFill>
                  <a:srgbClr val="61B8C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Rectangle 146">
                  <a:extLst>
                    <a:ext uri="{FF2B5EF4-FFF2-40B4-BE49-F238E27FC236}">
                      <a16:creationId xmlns:a16="http://schemas.microsoft.com/office/drawing/2014/main" id="{3DA4A0EE-354C-DDB4-93A4-DE0EC7AC9E74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794250" y="4892676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4" name="Freeform 147">
                  <a:extLst>
                    <a:ext uri="{FF2B5EF4-FFF2-40B4-BE49-F238E27FC236}">
                      <a16:creationId xmlns:a16="http://schemas.microsoft.com/office/drawing/2014/main" id="{D38E6851-001E-E2D7-1C10-55334A36777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6CBDC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Freeform 148">
                  <a:extLst>
                    <a:ext uri="{FF2B5EF4-FFF2-40B4-BE49-F238E27FC236}">
                      <a16:creationId xmlns:a16="http://schemas.microsoft.com/office/drawing/2014/main" id="{E8AF941F-27BB-8DFC-34C5-0488169C7B4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746625" y="4892676"/>
                  <a:ext cx="20638" cy="20638"/>
                </a:xfrm>
                <a:custGeom>
                  <a:avLst/>
                  <a:gdLst>
                    <a:gd name="T0" fmla="*/ 11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3 h 13"/>
                    <a:gd name="T8" fmla="*/ 11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1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3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Freeform 149">
                  <a:extLst>
                    <a:ext uri="{FF2B5EF4-FFF2-40B4-BE49-F238E27FC236}">
                      <a16:creationId xmlns:a16="http://schemas.microsoft.com/office/drawing/2014/main" id="{E7C07C61-5A35-254D-55AC-B6F86B282D0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77C2D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Freeform 150">
                  <a:extLst>
                    <a:ext uri="{FF2B5EF4-FFF2-40B4-BE49-F238E27FC236}">
                      <a16:creationId xmlns:a16="http://schemas.microsoft.com/office/drawing/2014/main" id="{3C45EC2A-B33B-E589-3D2B-9876572188E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697413" y="4894263"/>
                  <a:ext cx="20638" cy="19050"/>
                </a:xfrm>
                <a:custGeom>
                  <a:avLst/>
                  <a:gdLst>
                    <a:gd name="T0" fmla="*/ 12 w 13"/>
                    <a:gd name="T1" fmla="*/ 0 h 12"/>
                    <a:gd name="T2" fmla="*/ 0 w 13"/>
                    <a:gd name="T3" fmla="*/ 0 h 12"/>
                    <a:gd name="T4" fmla="*/ 0 w 13"/>
                    <a:gd name="T5" fmla="*/ 12 h 12"/>
                    <a:gd name="T6" fmla="*/ 13 w 13"/>
                    <a:gd name="T7" fmla="*/ 12 h 12"/>
                    <a:gd name="T8" fmla="*/ 12 w 13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2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13" y="12"/>
                      </a:lnTo>
                      <a:lnTo>
                        <a:pt x="1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Rectangle 151">
                  <a:extLst>
                    <a:ext uri="{FF2B5EF4-FFF2-40B4-BE49-F238E27FC236}">
                      <a16:creationId xmlns:a16="http://schemas.microsoft.com/office/drawing/2014/main" id="{9D293B24-143F-F86A-CABF-ABAB4F9EA5D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solidFill>
                  <a:srgbClr val="83C7D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Rectangle 152">
                  <a:extLst>
                    <a:ext uri="{FF2B5EF4-FFF2-40B4-BE49-F238E27FC236}">
                      <a16:creationId xmlns:a16="http://schemas.microsoft.com/office/drawing/2014/main" id="{A28CC960-46BD-4F47-4E7C-B244F3A76AB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49788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Rectangle 153">
                  <a:extLst>
                    <a:ext uri="{FF2B5EF4-FFF2-40B4-BE49-F238E27FC236}">
                      <a16:creationId xmlns:a16="http://schemas.microsoft.com/office/drawing/2014/main" id="{C73DC5AA-9C1E-9890-5E36-103CC91ECAE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solidFill>
                  <a:srgbClr val="8ECCD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Rectangle 154">
                  <a:extLst>
                    <a:ext uri="{FF2B5EF4-FFF2-40B4-BE49-F238E27FC236}">
                      <a16:creationId xmlns:a16="http://schemas.microsoft.com/office/drawing/2014/main" id="{FB2DB004-C02C-1F4D-6387-C9662F2B105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02163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Rectangle 155">
                  <a:extLst>
                    <a:ext uri="{FF2B5EF4-FFF2-40B4-BE49-F238E27FC236}">
                      <a16:creationId xmlns:a16="http://schemas.microsoft.com/office/drawing/2014/main" id="{9DDB23F4-53D0-9458-6B13-94EFBC40C73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solidFill>
                  <a:srgbClr val="99D1D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Rectangle 156">
                  <a:extLst>
                    <a:ext uri="{FF2B5EF4-FFF2-40B4-BE49-F238E27FC236}">
                      <a16:creationId xmlns:a16="http://schemas.microsoft.com/office/drawing/2014/main" id="{832826A8-F2FC-8B71-74F5-0F5E9CC650E2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552950" y="4894263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Freeform 157">
                  <a:extLst>
                    <a:ext uri="{FF2B5EF4-FFF2-40B4-BE49-F238E27FC236}">
                      <a16:creationId xmlns:a16="http://schemas.microsoft.com/office/drawing/2014/main" id="{21B77EDC-BE0B-854A-9F1E-4EC84AF4433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A5D6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Freeform 158">
                  <a:extLst>
                    <a:ext uri="{FF2B5EF4-FFF2-40B4-BE49-F238E27FC236}">
                      <a16:creationId xmlns:a16="http://schemas.microsoft.com/office/drawing/2014/main" id="{F1646D36-3B0A-F53D-2A4D-724B5A2A3C2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505325" y="4894263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6" name="Rectangle 159">
                  <a:extLst>
                    <a:ext uri="{FF2B5EF4-FFF2-40B4-BE49-F238E27FC236}">
                      <a16:creationId xmlns:a16="http://schemas.microsoft.com/office/drawing/2014/main" id="{1C6F21AA-9495-617F-783C-4FADEAB8E2D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solidFill>
                  <a:srgbClr val="B0DBE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7" name="Rectangle 160">
                  <a:extLst>
                    <a:ext uri="{FF2B5EF4-FFF2-40B4-BE49-F238E27FC236}">
                      <a16:creationId xmlns:a16="http://schemas.microsoft.com/office/drawing/2014/main" id="{361C232A-134C-F6EE-ACD7-AC8FF5B7785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57700" y="4894263"/>
                  <a:ext cx="19050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Rectangle 161">
                  <a:extLst>
                    <a:ext uri="{FF2B5EF4-FFF2-40B4-BE49-F238E27FC236}">
                      <a16:creationId xmlns:a16="http://schemas.microsoft.com/office/drawing/2014/main" id="{504BCC88-46EF-846B-96C4-78E86A937F5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solidFill>
                  <a:srgbClr val="BCE1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Rectangle 162">
                  <a:extLst>
                    <a:ext uri="{FF2B5EF4-FFF2-40B4-BE49-F238E27FC236}">
                      <a16:creationId xmlns:a16="http://schemas.microsoft.com/office/drawing/2014/main" id="{5763EFCA-4CA3-2831-16FC-9692888569F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408488" y="4894263"/>
                  <a:ext cx="20638" cy="20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Rectangle 163">
                  <a:extLst>
                    <a:ext uri="{FF2B5EF4-FFF2-40B4-BE49-F238E27FC236}">
                      <a16:creationId xmlns:a16="http://schemas.microsoft.com/office/drawing/2014/main" id="{41B974E5-ED3F-C4D0-50DC-961A5863031C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solidFill>
                  <a:srgbClr val="C6E5E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Rectangle 164">
                  <a:extLst>
                    <a:ext uri="{FF2B5EF4-FFF2-40B4-BE49-F238E27FC236}">
                      <a16:creationId xmlns:a16="http://schemas.microsoft.com/office/drawing/2014/main" id="{812718CA-2222-F6C3-0803-0CE2B1160C8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60863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Rectangle 165">
                  <a:extLst>
                    <a:ext uri="{FF2B5EF4-FFF2-40B4-BE49-F238E27FC236}">
                      <a16:creationId xmlns:a16="http://schemas.microsoft.com/office/drawing/2014/main" id="{32C4ABAA-80DC-B63A-A0D9-EED2964AADE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solidFill>
                  <a:srgbClr val="D2EB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Rectangle 166">
                  <a:extLst>
                    <a:ext uri="{FF2B5EF4-FFF2-40B4-BE49-F238E27FC236}">
                      <a16:creationId xmlns:a16="http://schemas.microsoft.com/office/drawing/2014/main" id="{C537977D-4FC8-F812-016D-7FB7D131C40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31165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Rectangle 167">
                  <a:extLst>
                    <a:ext uri="{FF2B5EF4-FFF2-40B4-BE49-F238E27FC236}">
                      <a16:creationId xmlns:a16="http://schemas.microsoft.com/office/drawing/2014/main" id="{416DE308-C566-556C-9B98-C05672B76AE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solidFill>
                  <a:srgbClr val="DDF0F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Rectangle 168">
                  <a:extLst>
                    <a:ext uri="{FF2B5EF4-FFF2-40B4-BE49-F238E27FC236}">
                      <a16:creationId xmlns:a16="http://schemas.microsoft.com/office/drawing/2014/main" id="{E3E4E58A-F863-0AFD-C37B-A3F4F6062531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64025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Rectangle 169">
                  <a:extLst>
                    <a:ext uri="{FF2B5EF4-FFF2-40B4-BE49-F238E27FC236}">
                      <a16:creationId xmlns:a16="http://schemas.microsoft.com/office/drawing/2014/main" id="{90BC4ECD-66C0-C486-B629-D6887EFAD2E0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solidFill>
                  <a:srgbClr val="E9F5F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7" name="Rectangle 170">
                  <a:extLst>
                    <a:ext uri="{FF2B5EF4-FFF2-40B4-BE49-F238E27FC236}">
                      <a16:creationId xmlns:a16="http://schemas.microsoft.com/office/drawing/2014/main" id="{AB15CC0C-B9E7-887E-4B1D-A458DAE4AFDA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216400" y="4895851"/>
                  <a:ext cx="20638" cy="19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8" name="Freeform 171">
                  <a:extLst>
                    <a:ext uri="{FF2B5EF4-FFF2-40B4-BE49-F238E27FC236}">
                      <a16:creationId xmlns:a16="http://schemas.microsoft.com/office/drawing/2014/main" id="{E521D7C5-32E7-CA9D-8FC6-E8CD727B864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3FAF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9" name="Freeform 172">
                  <a:extLst>
                    <a:ext uri="{FF2B5EF4-FFF2-40B4-BE49-F238E27FC236}">
                      <a16:creationId xmlns:a16="http://schemas.microsoft.com/office/drawing/2014/main" id="{2E5E5DF1-BE1B-DB2B-8E08-73A6A688837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67188" y="4895851"/>
                  <a:ext cx="20638" cy="20638"/>
                </a:xfrm>
                <a:custGeom>
                  <a:avLst/>
                  <a:gdLst>
                    <a:gd name="T0" fmla="*/ 13 w 13"/>
                    <a:gd name="T1" fmla="*/ 0 h 13"/>
                    <a:gd name="T2" fmla="*/ 0 w 13"/>
                    <a:gd name="T3" fmla="*/ 0 h 13"/>
                    <a:gd name="T4" fmla="*/ 0 w 13"/>
                    <a:gd name="T5" fmla="*/ 13 h 13"/>
                    <a:gd name="T6" fmla="*/ 13 w 13"/>
                    <a:gd name="T7" fmla="*/ 12 h 13"/>
                    <a:gd name="T8" fmla="*/ 13 w 13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3">
                      <a:moveTo>
                        <a:pt x="13" y="0"/>
                      </a:moveTo>
                      <a:lnTo>
                        <a:pt x="0" y="0"/>
                      </a:lnTo>
                      <a:lnTo>
                        <a:pt x="0" y="13"/>
                      </a:lnTo>
                      <a:lnTo>
                        <a:pt x="13" y="12"/>
                      </a:lnTo>
                      <a:lnTo>
                        <a:pt x="1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Rectangle 173">
                  <a:extLst>
                    <a:ext uri="{FF2B5EF4-FFF2-40B4-BE49-F238E27FC236}">
                      <a16:creationId xmlns:a16="http://schemas.microsoft.com/office/drawing/2014/main" id="{572D8252-33C1-1665-8F47-BCBE3FCD204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119563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Rectangle 174">
                  <a:extLst>
                    <a:ext uri="{FF2B5EF4-FFF2-40B4-BE49-F238E27FC236}">
                      <a16:creationId xmlns:a16="http://schemas.microsoft.com/office/drawing/2014/main" id="{48C7D9DF-4038-4321-A2E3-25778348C41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071938" y="4895851"/>
                  <a:ext cx="20638" cy="206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 175">
                  <a:extLst>
                    <a:ext uri="{FF2B5EF4-FFF2-40B4-BE49-F238E27FC236}">
                      <a16:creationId xmlns:a16="http://schemas.microsoft.com/office/drawing/2014/main" id="{75EC043A-EBCE-456E-202B-A7260FED2E3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022725" y="4899026"/>
                  <a:ext cx="20638" cy="17463"/>
                </a:xfrm>
                <a:custGeom>
                  <a:avLst/>
                  <a:gdLst>
                    <a:gd name="T0" fmla="*/ 1 w 13"/>
                    <a:gd name="T1" fmla="*/ 11 h 11"/>
                    <a:gd name="T2" fmla="*/ 13 w 13"/>
                    <a:gd name="T3" fmla="*/ 11 h 11"/>
                    <a:gd name="T4" fmla="*/ 13 w 13"/>
                    <a:gd name="T5" fmla="*/ 0 h 11"/>
                    <a:gd name="T6" fmla="*/ 0 w 13"/>
                    <a:gd name="T7" fmla="*/ 0 h 11"/>
                    <a:gd name="T8" fmla="*/ 1 w 13"/>
                    <a:gd name="T9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1">
                      <a:moveTo>
                        <a:pt x="1" y="11"/>
                      </a:moveTo>
                      <a:lnTo>
                        <a:pt x="13" y="11"/>
                      </a:lnTo>
                      <a:lnTo>
                        <a:pt x="13" y="0"/>
                      </a:lnTo>
                      <a:lnTo>
                        <a:pt x="0" y="0"/>
                      </a:lnTo>
                      <a:lnTo>
                        <a:pt x="1" y="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8" name="Group 6">
              <a:extLst>
                <a:ext uri="{FF2B5EF4-FFF2-40B4-BE49-F238E27FC236}">
                  <a16:creationId xmlns:a16="http://schemas.microsoft.com/office/drawing/2014/main" id="{7411386A-F328-33F9-7E6E-C9BC990892F4}"/>
                </a:ext>
              </a:extLst>
            </p:cNvPr>
            <p:cNvGrpSpPr/>
            <p:nvPr/>
          </p:nvGrpSpPr>
          <p:grpSpPr>
            <a:xfrm>
              <a:off x="1868421" y="3874372"/>
              <a:ext cx="2908640" cy="1223224"/>
              <a:chOff x="1868421" y="3874372"/>
              <a:chExt cx="2908640" cy="1223224"/>
            </a:xfrm>
          </p:grpSpPr>
          <p:grpSp>
            <p:nvGrpSpPr>
              <p:cNvPr id="9" name="Group 2">
                <a:extLst>
                  <a:ext uri="{FF2B5EF4-FFF2-40B4-BE49-F238E27FC236}">
                    <a16:creationId xmlns:a16="http://schemas.microsoft.com/office/drawing/2014/main" id="{50F5A3B9-F3D9-5474-3F22-B8FF05204536}"/>
                  </a:ext>
                </a:extLst>
              </p:cNvPr>
              <p:cNvGrpSpPr/>
              <p:nvPr/>
            </p:nvGrpSpPr>
            <p:grpSpPr>
              <a:xfrm>
                <a:off x="1868421" y="3874372"/>
                <a:ext cx="1112318" cy="1215895"/>
                <a:chOff x="1868421" y="3874372"/>
                <a:chExt cx="1112318" cy="1215895"/>
              </a:xfrm>
            </p:grpSpPr>
            <p:sp>
              <p:nvSpPr>
                <p:cNvPr id="72" name="Freeform 177">
                  <a:extLst>
                    <a:ext uri="{FF2B5EF4-FFF2-40B4-BE49-F238E27FC236}">
                      <a16:creationId xmlns:a16="http://schemas.microsoft.com/office/drawing/2014/main" id="{0DED72A0-8CD0-82E3-8E51-A9D5C5F6EC5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163948" y="4817283"/>
                  <a:ext cx="124002" cy="272984"/>
                </a:xfrm>
                <a:custGeom>
                  <a:avLst/>
                  <a:gdLst>
                    <a:gd name="T0" fmla="*/ 20 w 119"/>
                    <a:gd name="T1" fmla="*/ 0 h 262"/>
                    <a:gd name="T2" fmla="*/ 3 w 119"/>
                    <a:gd name="T3" fmla="*/ 0 h 262"/>
                    <a:gd name="T4" fmla="*/ 4 w 119"/>
                    <a:gd name="T5" fmla="*/ 6 h 262"/>
                    <a:gd name="T6" fmla="*/ 22 w 119"/>
                    <a:gd name="T7" fmla="*/ 13 h 262"/>
                    <a:gd name="T8" fmla="*/ 42 w 119"/>
                    <a:gd name="T9" fmla="*/ 23 h 262"/>
                    <a:gd name="T10" fmla="*/ 46 w 119"/>
                    <a:gd name="T11" fmla="*/ 26 h 262"/>
                    <a:gd name="T12" fmla="*/ 35 w 119"/>
                    <a:gd name="T13" fmla="*/ 28 h 262"/>
                    <a:gd name="T14" fmla="*/ 37 w 119"/>
                    <a:gd name="T15" fmla="*/ 262 h 262"/>
                    <a:gd name="T16" fmla="*/ 119 w 119"/>
                    <a:gd name="T17" fmla="*/ 262 h 262"/>
                    <a:gd name="T18" fmla="*/ 69 w 119"/>
                    <a:gd name="T19" fmla="*/ 23 h 262"/>
                    <a:gd name="T20" fmla="*/ 68 w 119"/>
                    <a:gd name="T21" fmla="*/ 23 h 262"/>
                    <a:gd name="T22" fmla="*/ 69 w 119"/>
                    <a:gd name="T23" fmla="*/ 1 h 262"/>
                    <a:gd name="T24" fmla="*/ 49 w 119"/>
                    <a:gd name="T25" fmla="*/ 1 h 262"/>
                    <a:gd name="T26" fmla="*/ 48 w 119"/>
                    <a:gd name="T27" fmla="*/ 9 h 262"/>
                    <a:gd name="T28" fmla="*/ 20 w 119"/>
                    <a:gd name="T29" fmla="*/ 0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9" h="262">
                      <a:moveTo>
                        <a:pt x="20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0" y="5"/>
                        <a:pt x="4" y="6"/>
                      </a:cubicBezTo>
                      <a:cubicBezTo>
                        <a:pt x="6" y="7"/>
                        <a:pt x="22" y="13"/>
                        <a:pt x="22" y="13"/>
                      </a:cubicBezTo>
                      <a:cubicBezTo>
                        <a:pt x="42" y="23"/>
                        <a:pt x="42" y="23"/>
                        <a:pt x="42" y="23"/>
                      </a:cubicBezTo>
                      <a:cubicBezTo>
                        <a:pt x="46" y="26"/>
                        <a:pt x="46" y="26"/>
                        <a:pt x="46" y="26"/>
                      </a:cubicBezTo>
                      <a:cubicBezTo>
                        <a:pt x="35" y="28"/>
                        <a:pt x="35" y="28"/>
                        <a:pt x="35" y="28"/>
                      </a:cubicBezTo>
                      <a:cubicBezTo>
                        <a:pt x="37" y="262"/>
                        <a:pt x="37" y="262"/>
                        <a:pt x="37" y="262"/>
                      </a:cubicBezTo>
                      <a:cubicBezTo>
                        <a:pt x="119" y="262"/>
                        <a:pt x="119" y="262"/>
                        <a:pt x="119" y="262"/>
                      </a:cubicBezTo>
                      <a:cubicBezTo>
                        <a:pt x="105" y="159"/>
                        <a:pt x="69" y="23"/>
                        <a:pt x="69" y="23"/>
                      </a:cubicBezTo>
                      <a:cubicBezTo>
                        <a:pt x="68" y="23"/>
                        <a:pt x="68" y="23"/>
                        <a:pt x="68" y="23"/>
                      </a:cubicBezTo>
                      <a:cubicBezTo>
                        <a:pt x="69" y="1"/>
                        <a:pt x="69" y="1"/>
                        <a:pt x="69" y="1"/>
                      </a:cubicBezTo>
                      <a:cubicBezTo>
                        <a:pt x="49" y="1"/>
                        <a:pt x="49" y="1"/>
                        <a:pt x="49" y="1"/>
                      </a:cubicBezTo>
                      <a:cubicBezTo>
                        <a:pt x="48" y="9"/>
                        <a:pt x="48" y="9"/>
                        <a:pt x="48" y="9"/>
                      </a:cubicBezTo>
                      <a:cubicBezTo>
                        <a:pt x="20" y="0"/>
                        <a:pt x="20" y="0"/>
                        <a:pt x="20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grpSp>
              <p:nvGrpSpPr>
                <p:cNvPr id="73" name="Group 1087">
                  <a:extLst>
                    <a:ext uri="{FF2B5EF4-FFF2-40B4-BE49-F238E27FC236}">
                      <a16:creationId xmlns:a16="http://schemas.microsoft.com/office/drawing/2014/main" id="{A73014A0-3B2B-8CF5-8B10-2E4A5E179540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1868421" y="3874372"/>
                  <a:ext cx="1112318" cy="907889"/>
                  <a:chOff x="10205244" y="514350"/>
                  <a:chExt cx="1429544" cy="1166813"/>
                </a:xfrm>
              </p:grpSpPr>
              <p:sp>
                <p:nvSpPr>
                  <p:cNvPr id="74" name="Freeform 254">
                    <a:extLst>
                      <a:ext uri="{FF2B5EF4-FFF2-40B4-BE49-F238E27FC236}">
                        <a16:creationId xmlns:a16="http://schemas.microsoft.com/office/drawing/2014/main" id="{26A8E036-3DC1-445C-3B82-C0B83855139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05244" y="950913"/>
                    <a:ext cx="88900" cy="63500"/>
                  </a:xfrm>
                  <a:custGeom>
                    <a:avLst/>
                    <a:gdLst>
                      <a:gd name="T0" fmla="*/ 47 w 48"/>
                      <a:gd name="T1" fmla="*/ 8 h 35"/>
                      <a:gd name="T2" fmla="*/ 47 w 48"/>
                      <a:gd name="T3" fmla="*/ 0 h 35"/>
                      <a:gd name="T4" fmla="*/ 16 w 48"/>
                      <a:gd name="T5" fmla="*/ 3 h 35"/>
                      <a:gd name="T6" fmla="*/ 21 w 48"/>
                      <a:gd name="T7" fmla="*/ 6 h 35"/>
                      <a:gd name="T8" fmla="*/ 29 w 48"/>
                      <a:gd name="T9" fmla="*/ 7 h 35"/>
                      <a:gd name="T10" fmla="*/ 14 w 48"/>
                      <a:gd name="T11" fmla="*/ 24 h 35"/>
                      <a:gd name="T12" fmla="*/ 2 w 48"/>
                      <a:gd name="T13" fmla="*/ 24 h 35"/>
                      <a:gd name="T14" fmla="*/ 0 w 48"/>
                      <a:gd name="T15" fmla="*/ 28 h 35"/>
                      <a:gd name="T16" fmla="*/ 15 w 48"/>
                      <a:gd name="T17" fmla="*/ 29 h 35"/>
                      <a:gd name="T18" fmla="*/ 5 w 48"/>
                      <a:gd name="T19" fmla="*/ 33 h 35"/>
                      <a:gd name="T20" fmla="*/ 6 w 48"/>
                      <a:gd name="T21" fmla="*/ 35 h 35"/>
                      <a:gd name="T22" fmla="*/ 27 w 48"/>
                      <a:gd name="T23" fmla="*/ 31 h 35"/>
                      <a:gd name="T24" fmla="*/ 31 w 48"/>
                      <a:gd name="T25" fmla="*/ 27 h 35"/>
                      <a:gd name="T26" fmla="*/ 39 w 48"/>
                      <a:gd name="T27" fmla="*/ 19 h 35"/>
                      <a:gd name="T28" fmla="*/ 44 w 48"/>
                      <a:gd name="T29" fmla="*/ 14 h 35"/>
                      <a:gd name="T30" fmla="*/ 48 w 48"/>
                      <a:gd name="T31" fmla="*/ 14 h 35"/>
                      <a:gd name="T32" fmla="*/ 47 w 48"/>
                      <a:gd name="T33" fmla="*/ 8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48" h="35">
                        <a:moveTo>
                          <a:pt x="47" y="8"/>
                        </a:moveTo>
                        <a:cubicBezTo>
                          <a:pt x="47" y="4"/>
                          <a:pt x="47" y="2"/>
                          <a:pt x="47" y="0"/>
                        </a:cubicBezTo>
                        <a:cubicBezTo>
                          <a:pt x="36" y="0"/>
                          <a:pt x="16" y="3"/>
                          <a:pt x="16" y="3"/>
                        </a:cubicBezTo>
                        <a:cubicBezTo>
                          <a:pt x="16" y="3"/>
                          <a:pt x="16" y="6"/>
                          <a:pt x="21" y="6"/>
                        </a:cubicBezTo>
                        <a:cubicBezTo>
                          <a:pt x="26" y="6"/>
                          <a:pt x="29" y="7"/>
                          <a:pt x="29" y="7"/>
                        </a:cubicBezTo>
                        <a:cubicBezTo>
                          <a:pt x="14" y="24"/>
                          <a:pt x="14" y="24"/>
                          <a:pt x="14" y="24"/>
                        </a:cubicBezTo>
                        <a:cubicBezTo>
                          <a:pt x="14" y="24"/>
                          <a:pt x="4" y="24"/>
                          <a:pt x="2" y="24"/>
                        </a:cubicBezTo>
                        <a:cubicBezTo>
                          <a:pt x="1" y="25"/>
                          <a:pt x="0" y="27"/>
                          <a:pt x="0" y="28"/>
                        </a:cubicBezTo>
                        <a:cubicBezTo>
                          <a:pt x="4" y="28"/>
                          <a:pt x="15" y="29"/>
                          <a:pt x="15" y="29"/>
                        </a:cubicBezTo>
                        <a:cubicBezTo>
                          <a:pt x="15" y="29"/>
                          <a:pt x="7" y="31"/>
                          <a:pt x="5" y="33"/>
                        </a:cubicBezTo>
                        <a:cubicBezTo>
                          <a:pt x="5" y="33"/>
                          <a:pt x="4" y="35"/>
                          <a:pt x="6" y="35"/>
                        </a:cubicBezTo>
                        <a:cubicBezTo>
                          <a:pt x="15" y="34"/>
                          <a:pt x="26" y="32"/>
                          <a:pt x="27" y="31"/>
                        </a:cubicBezTo>
                        <a:cubicBezTo>
                          <a:pt x="29" y="29"/>
                          <a:pt x="31" y="27"/>
                          <a:pt x="31" y="27"/>
                        </a:cubicBezTo>
                        <a:cubicBezTo>
                          <a:pt x="31" y="27"/>
                          <a:pt x="35" y="23"/>
                          <a:pt x="39" y="19"/>
                        </a:cubicBezTo>
                        <a:cubicBezTo>
                          <a:pt x="43" y="16"/>
                          <a:pt x="44" y="14"/>
                          <a:pt x="44" y="14"/>
                        </a:cubicBezTo>
                        <a:cubicBezTo>
                          <a:pt x="48" y="14"/>
                          <a:pt x="48" y="14"/>
                          <a:pt x="48" y="14"/>
                        </a:cubicBezTo>
                        <a:cubicBezTo>
                          <a:pt x="48" y="14"/>
                          <a:pt x="47" y="11"/>
                          <a:pt x="47" y="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" name="Freeform 235">
                    <a:extLst>
                      <a:ext uri="{FF2B5EF4-FFF2-40B4-BE49-F238E27FC236}">
                        <a16:creationId xmlns:a16="http://schemas.microsoft.com/office/drawing/2014/main" id="{EC66A09F-BCF7-93B7-03A2-2BF998C4B8E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20438" y="976313"/>
                    <a:ext cx="206375" cy="155575"/>
                  </a:xfrm>
                  <a:custGeom>
                    <a:avLst/>
                    <a:gdLst>
                      <a:gd name="T0" fmla="*/ 112 w 112"/>
                      <a:gd name="T1" fmla="*/ 84 h 84"/>
                      <a:gd name="T2" fmla="*/ 30 w 112"/>
                      <a:gd name="T3" fmla="*/ 73 h 84"/>
                      <a:gd name="T4" fmla="*/ 0 w 112"/>
                      <a:gd name="T5" fmla="*/ 0 h 84"/>
                      <a:gd name="T6" fmla="*/ 68 w 112"/>
                      <a:gd name="T7" fmla="*/ 23 h 84"/>
                      <a:gd name="T8" fmla="*/ 112 w 112"/>
                      <a:gd name="T9" fmla="*/ 84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2" h="84">
                        <a:moveTo>
                          <a:pt x="112" y="84"/>
                        </a:moveTo>
                        <a:cubicBezTo>
                          <a:pt x="112" y="84"/>
                          <a:pt x="80" y="48"/>
                          <a:pt x="30" y="73"/>
                        </a:cubicBezTo>
                        <a:cubicBezTo>
                          <a:pt x="9" y="83"/>
                          <a:pt x="0" y="0"/>
                          <a:pt x="0" y="0"/>
                        </a:cubicBezTo>
                        <a:cubicBezTo>
                          <a:pt x="0" y="0"/>
                          <a:pt x="11" y="5"/>
                          <a:pt x="68" y="23"/>
                        </a:cubicBezTo>
                        <a:cubicBezTo>
                          <a:pt x="83" y="28"/>
                          <a:pt x="112" y="84"/>
                          <a:pt x="112" y="84"/>
                        </a:cubicBezTo>
                        <a:close/>
                      </a:path>
                    </a:pathLst>
                  </a:custGeom>
                  <a:solidFill>
                    <a:srgbClr val="5D819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Freeform 236">
                    <a:extLst>
                      <a:ext uri="{FF2B5EF4-FFF2-40B4-BE49-F238E27FC236}">
                        <a16:creationId xmlns:a16="http://schemas.microsoft.com/office/drawing/2014/main" id="{69DDBEEB-7426-8507-79FE-53E5450C2EF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555413" y="1190625"/>
                    <a:ext cx="79375" cy="52388"/>
                  </a:xfrm>
                  <a:custGeom>
                    <a:avLst/>
                    <a:gdLst>
                      <a:gd name="T0" fmla="*/ 0 w 43"/>
                      <a:gd name="T1" fmla="*/ 12 h 28"/>
                      <a:gd name="T2" fmla="*/ 7 w 43"/>
                      <a:gd name="T3" fmla="*/ 0 h 28"/>
                      <a:gd name="T4" fmla="*/ 19 w 43"/>
                      <a:gd name="T5" fmla="*/ 7 h 28"/>
                      <a:gd name="T6" fmla="*/ 16 w 43"/>
                      <a:gd name="T7" fmla="*/ 12 h 28"/>
                      <a:gd name="T8" fmla="*/ 35 w 43"/>
                      <a:gd name="T9" fmla="*/ 18 h 28"/>
                      <a:gd name="T10" fmla="*/ 43 w 43"/>
                      <a:gd name="T11" fmla="*/ 24 h 28"/>
                      <a:gd name="T12" fmla="*/ 40 w 43"/>
                      <a:gd name="T13" fmla="*/ 27 h 28"/>
                      <a:gd name="T14" fmla="*/ 29 w 43"/>
                      <a:gd name="T15" fmla="*/ 25 h 28"/>
                      <a:gd name="T16" fmla="*/ 12 w 43"/>
                      <a:gd name="T17" fmla="*/ 24 h 28"/>
                      <a:gd name="T18" fmla="*/ 0 w 43"/>
                      <a:gd name="T19" fmla="*/ 12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3" h="28">
                        <a:moveTo>
                          <a:pt x="0" y="12"/>
                        </a:moveTo>
                        <a:cubicBezTo>
                          <a:pt x="7" y="0"/>
                          <a:pt x="7" y="0"/>
                          <a:pt x="7" y="0"/>
                        </a:cubicBezTo>
                        <a:cubicBezTo>
                          <a:pt x="19" y="7"/>
                          <a:pt x="19" y="7"/>
                          <a:pt x="19" y="7"/>
                        </a:cubicBezTo>
                        <a:cubicBezTo>
                          <a:pt x="16" y="12"/>
                          <a:pt x="16" y="12"/>
                          <a:pt x="16" y="12"/>
                        </a:cubicBezTo>
                        <a:cubicBezTo>
                          <a:pt x="35" y="18"/>
                          <a:pt x="35" y="18"/>
                          <a:pt x="35" y="18"/>
                        </a:cubicBezTo>
                        <a:cubicBezTo>
                          <a:pt x="43" y="24"/>
                          <a:pt x="43" y="24"/>
                          <a:pt x="43" y="24"/>
                        </a:cubicBezTo>
                        <a:cubicBezTo>
                          <a:pt x="43" y="24"/>
                          <a:pt x="43" y="28"/>
                          <a:pt x="40" y="27"/>
                        </a:cubicBezTo>
                        <a:cubicBezTo>
                          <a:pt x="39" y="27"/>
                          <a:pt x="29" y="25"/>
                          <a:pt x="29" y="25"/>
                        </a:cubicBezTo>
                        <a:cubicBezTo>
                          <a:pt x="12" y="24"/>
                          <a:pt x="12" y="24"/>
                          <a:pt x="12" y="24"/>
                        </a:cubicBez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" name="Freeform 237">
                    <a:extLst>
                      <a:ext uri="{FF2B5EF4-FFF2-40B4-BE49-F238E27FC236}">
                        <a16:creationId xmlns:a16="http://schemas.microsoft.com/office/drawing/2014/main" id="{ED296215-27D5-0950-3371-B6BF642E4F6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049000" y="1157288"/>
                    <a:ext cx="534988" cy="444500"/>
                  </a:xfrm>
                  <a:custGeom>
                    <a:avLst/>
                    <a:gdLst>
                      <a:gd name="T0" fmla="*/ 13 w 288"/>
                      <a:gd name="T1" fmla="*/ 30 h 240"/>
                      <a:gd name="T2" fmla="*/ 97 w 288"/>
                      <a:gd name="T3" fmla="*/ 29 h 240"/>
                      <a:gd name="T4" fmla="*/ 121 w 288"/>
                      <a:gd name="T5" fmla="*/ 154 h 240"/>
                      <a:gd name="T6" fmla="*/ 269 w 288"/>
                      <a:gd name="T7" fmla="*/ 26 h 240"/>
                      <a:gd name="T8" fmla="*/ 288 w 288"/>
                      <a:gd name="T9" fmla="*/ 44 h 240"/>
                      <a:gd name="T10" fmla="*/ 145 w 288"/>
                      <a:gd name="T11" fmla="*/ 206 h 240"/>
                      <a:gd name="T12" fmla="*/ 78 w 288"/>
                      <a:gd name="T13" fmla="*/ 202 h 240"/>
                      <a:gd name="T14" fmla="*/ 0 w 288"/>
                      <a:gd name="T15" fmla="*/ 68 h 240"/>
                      <a:gd name="T16" fmla="*/ 13 w 288"/>
                      <a:gd name="T17" fmla="*/ 30 h 2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88" h="240">
                        <a:moveTo>
                          <a:pt x="13" y="30"/>
                        </a:moveTo>
                        <a:cubicBezTo>
                          <a:pt x="13" y="30"/>
                          <a:pt x="86" y="0"/>
                          <a:pt x="97" y="29"/>
                        </a:cubicBezTo>
                        <a:cubicBezTo>
                          <a:pt x="114" y="69"/>
                          <a:pt x="119" y="127"/>
                          <a:pt x="121" y="154"/>
                        </a:cubicBezTo>
                        <a:cubicBezTo>
                          <a:pt x="269" y="26"/>
                          <a:pt x="269" y="26"/>
                          <a:pt x="269" y="26"/>
                        </a:cubicBezTo>
                        <a:cubicBezTo>
                          <a:pt x="288" y="44"/>
                          <a:pt x="288" y="44"/>
                          <a:pt x="288" y="44"/>
                        </a:cubicBezTo>
                        <a:cubicBezTo>
                          <a:pt x="288" y="44"/>
                          <a:pt x="154" y="192"/>
                          <a:pt x="145" y="206"/>
                        </a:cubicBezTo>
                        <a:cubicBezTo>
                          <a:pt x="135" y="220"/>
                          <a:pt x="102" y="240"/>
                          <a:pt x="78" y="202"/>
                        </a:cubicBezTo>
                        <a:cubicBezTo>
                          <a:pt x="55" y="163"/>
                          <a:pt x="14" y="93"/>
                          <a:pt x="0" y="68"/>
                        </a:cubicBezTo>
                        <a:cubicBezTo>
                          <a:pt x="107" y="63"/>
                          <a:pt x="13" y="30"/>
                          <a:pt x="13" y="3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" name="Freeform 238">
                    <a:extLst>
                      <a:ext uri="{FF2B5EF4-FFF2-40B4-BE49-F238E27FC236}">
                        <a16:creationId xmlns:a16="http://schemas.microsoft.com/office/drawing/2014/main" id="{87340070-9901-F979-5E69-45F4260678C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50513" y="677863"/>
                    <a:ext cx="373063" cy="328613"/>
                  </a:xfrm>
                  <a:custGeom>
                    <a:avLst/>
                    <a:gdLst>
                      <a:gd name="T0" fmla="*/ 179 w 201"/>
                      <a:gd name="T1" fmla="*/ 0 h 177"/>
                      <a:gd name="T2" fmla="*/ 134 w 201"/>
                      <a:gd name="T3" fmla="*/ 67 h 177"/>
                      <a:gd name="T4" fmla="*/ 99 w 201"/>
                      <a:gd name="T5" fmla="*/ 122 h 177"/>
                      <a:gd name="T6" fmla="*/ 9 w 201"/>
                      <a:gd name="T7" fmla="*/ 39 h 177"/>
                      <a:gd name="T8" fmla="*/ 0 w 201"/>
                      <a:gd name="T9" fmla="*/ 48 h 177"/>
                      <a:gd name="T10" fmla="*/ 65 w 201"/>
                      <a:gd name="T11" fmla="*/ 141 h 177"/>
                      <a:gd name="T12" fmla="*/ 116 w 201"/>
                      <a:gd name="T13" fmla="*/ 177 h 177"/>
                      <a:gd name="T14" fmla="*/ 201 w 201"/>
                      <a:gd name="T15" fmla="*/ 87 h 177"/>
                      <a:gd name="T16" fmla="*/ 179 w 201"/>
                      <a:gd name="T17" fmla="*/ 0 h 1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1" h="177">
                        <a:moveTo>
                          <a:pt x="179" y="0"/>
                        </a:moveTo>
                        <a:cubicBezTo>
                          <a:pt x="179" y="0"/>
                          <a:pt x="155" y="11"/>
                          <a:pt x="134" y="67"/>
                        </a:cubicBezTo>
                        <a:cubicBezTo>
                          <a:pt x="121" y="98"/>
                          <a:pt x="99" y="122"/>
                          <a:pt x="99" y="122"/>
                        </a:cubicBezTo>
                        <a:cubicBezTo>
                          <a:pt x="9" y="39"/>
                          <a:pt x="9" y="39"/>
                          <a:pt x="9" y="39"/>
                        </a:cubicBezTo>
                        <a:cubicBezTo>
                          <a:pt x="0" y="48"/>
                          <a:pt x="0" y="48"/>
                          <a:pt x="0" y="48"/>
                        </a:cubicBezTo>
                        <a:cubicBezTo>
                          <a:pt x="0" y="48"/>
                          <a:pt x="41" y="108"/>
                          <a:pt x="65" y="141"/>
                        </a:cubicBezTo>
                        <a:cubicBezTo>
                          <a:pt x="86" y="172"/>
                          <a:pt x="116" y="177"/>
                          <a:pt x="116" y="177"/>
                        </a:cubicBezTo>
                        <a:cubicBezTo>
                          <a:pt x="201" y="87"/>
                          <a:pt x="201" y="87"/>
                          <a:pt x="201" y="87"/>
                        </a:cubicBezTo>
                        <a:lnTo>
                          <a:pt x="179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" name="Freeform 239">
                    <a:extLst>
                      <a:ext uri="{FF2B5EF4-FFF2-40B4-BE49-F238E27FC236}">
                        <a16:creationId xmlns:a16="http://schemas.microsoft.com/office/drawing/2014/main" id="{7EEE3E92-6F27-7BB3-AE55-ECFC4E00D55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7525" y="700088"/>
                    <a:ext cx="284163" cy="404813"/>
                  </a:xfrm>
                  <a:custGeom>
                    <a:avLst/>
                    <a:gdLst>
                      <a:gd name="T0" fmla="*/ 154 w 154"/>
                      <a:gd name="T1" fmla="*/ 219 h 219"/>
                      <a:gd name="T2" fmla="*/ 32 w 154"/>
                      <a:gd name="T3" fmla="*/ 117 h 219"/>
                      <a:gd name="T4" fmla="*/ 43 w 154"/>
                      <a:gd name="T5" fmla="*/ 0 h 219"/>
                      <a:gd name="T6" fmla="*/ 154 w 154"/>
                      <a:gd name="T7" fmla="*/ 219 h 2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54" h="219">
                        <a:moveTo>
                          <a:pt x="154" y="219"/>
                        </a:moveTo>
                        <a:cubicBezTo>
                          <a:pt x="154" y="219"/>
                          <a:pt x="59" y="173"/>
                          <a:pt x="32" y="117"/>
                        </a:cubicBezTo>
                        <a:cubicBezTo>
                          <a:pt x="0" y="47"/>
                          <a:pt x="43" y="0"/>
                          <a:pt x="43" y="0"/>
                        </a:cubicBezTo>
                        <a:cubicBezTo>
                          <a:pt x="154" y="219"/>
                          <a:pt x="154" y="219"/>
                          <a:pt x="154" y="219"/>
                        </a:cubicBezTo>
                      </a:path>
                    </a:pathLst>
                  </a:custGeom>
                  <a:solidFill>
                    <a:srgbClr val="9FCDD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" name="Freeform 240">
                    <a:extLst>
                      <a:ext uri="{FF2B5EF4-FFF2-40B4-BE49-F238E27FC236}">
                        <a16:creationId xmlns:a16="http://schemas.microsoft.com/office/drawing/2014/main" id="{14411757-8D38-E866-B715-5FB7A5969A5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18800" y="666750"/>
                    <a:ext cx="525463" cy="481013"/>
                  </a:xfrm>
                  <a:custGeom>
                    <a:avLst/>
                    <a:gdLst>
                      <a:gd name="T0" fmla="*/ 135 w 283"/>
                      <a:gd name="T1" fmla="*/ 260 h 260"/>
                      <a:gd name="T2" fmla="*/ 32 w 283"/>
                      <a:gd name="T3" fmla="*/ 116 h 260"/>
                      <a:gd name="T4" fmla="*/ 13 w 283"/>
                      <a:gd name="T5" fmla="*/ 25 h 260"/>
                      <a:gd name="T6" fmla="*/ 45 w 283"/>
                      <a:gd name="T7" fmla="*/ 0 h 260"/>
                      <a:gd name="T8" fmla="*/ 174 w 283"/>
                      <a:gd name="T9" fmla="*/ 74 h 260"/>
                      <a:gd name="T10" fmla="*/ 283 w 283"/>
                      <a:gd name="T11" fmla="*/ 245 h 260"/>
                      <a:gd name="T12" fmla="*/ 135 w 283"/>
                      <a:gd name="T13" fmla="*/ 26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3" h="260">
                        <a:moveTo>
                          <a:pt x="135" y="260"/>
                        </a:moveTo>
                        <a:cubicBezTo>
                          <a:pt x="135" y="260"/>
                          <a:pt x="85" y="180"/>
                          <a:pt x="32" y="116"/>
                        </a:cubicBezTo>
                        <a:cubicBezTo>
                          <a:pt x="0" y="76"/>
                          <a:pt x="13" y="25"/>
                          <a:pt x="13" y="25"/>
                        </a:cubicBezTo>
                        <a:cubicBezTo>
                          <a:pt x="13" y="25"/>
                          <a:pt x="30" y="1"/>
                          <a:pt x="45" y="0"/>
                        </a:cubicBezTo>
                        <a:cubicBezTo>
                          <a:pt x="71" y="7"/>
                          <a:pt x="133" y="22"/>
                          <a:pt x="174" y="74"/>
                        </a:cubicBezTo>
                        <a:cubicBezTo>
                          <a:pt x="232" y="148"/>
                          <a:pt x="283" y="245"/>
                          <a:pt x="283" y="245"/>
                        </a:cubicBezTo>
                        <a:cubicBezTo>
                          <a:pt x="135" y="260"/>
                          <a:pt x="135" y="260"/>
                          <a:pt x="135" y="260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" name="Freeform 241">
                    <a:extLst>
                      <a:ext uri="{FF2B5EF4-FFF2-40B4-BE49-F238E27FC236}">
                        <a16:creationId xmlns:a16="http://schemas.microsoft.com/office/drawing/2014/main" id="{9EE6563D-6E3D-54C8-B11E-851311A0036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01350" y="911225"/>
                    <a:ext cx="23813" cy="30163"/>
                  </a:xfrm>
                  <a:custGeom>
                    <a:avLst/>
                    <a:gdLst>
                      <a:gd name="T0" fmla="*/ 0 w 13"/>
                      <a:gd name="T1" fmla="*/ 0 h 16"/>
                      <a:gd name="T2" fmla="*/ 13 w 13"/>
                      <a:gd name="T3" fmla="*/ 16 h 16"/>
                      <a:gd name="T4" fmla="*/ 6 w 13"/>
                      <a:gd name="T5" fmla="*/ 5 h 16"/>
                      <a:gd name="T6" fmla="*/ 0 w 13"/>
                      <a:gd name="T7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3" h="16">
                        <a:moveTo>
                          <a:pt x="0" y="0"/>
                        </a:moveTo>
                        <a:cubicBezTo>
                          <a:pt x="0" y="0"/>
                          <a:pt x="5" y="7"/>
                          <a:pt x="13" y="16"/>
                        </a:cubicBezTo>
                        <a:cubicBezTo>
                          <a:pt x="11" y="12"/>
                          <a:pt x="8" y="9"/>
                          <a:pt x="6" y="5"/>
                        </a:cubicBezTo>
                        <a:cubicBezTo>
                          <a:pt x="2" y="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" name="Freeform 242">
                    <a:extLst>
                      <a:ext uri="{FF2B5EF4-FFF2-40B4-BE49-F238E27FC236}">
                        <a16:creationId xmlns:a16="http://schemas.microsoft.com/office/drawing/2014/main" id="{9073AFD3-F0CD-B020-52B9-52916B3D40C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2463" y="920750"/>
                    <a:ext cx="252413" cy="200025"/>
                  </a:xfrm>
                  <a:custGeom>
                    <a:avLst/>
                    <a:gdLst>
                      <a:gd name="T0" fmla="*/ 0 w 136"/>
                      <a:gd name="T1" fmla="*/ 0 h 108"/>
                      <a:gd name="T2" fmla="*/ 7 w 136"/>
                      <a:gd name="T3" fmla="*/ 11 h 108"/>
                      <a:gd name="T4" fmla="*/ 63 w 136"/>
                      <a:gd name="T5" fmla="*/ 48 h 108"/>
                      <a:gd name="T6" fmla="*/ 124 w 136"/>
                      <a:gd name="T7" fmla="*/ 107 h 108"/>
                      <a:gd name="T8" fmla="*/ 136 w 136"/>
                      <a:gd name="T9" fmla="*/ 108 h 108"/>
                      <a:gd name="T10" fmla="*/ 62 w 136"/>
                      <a:gd name="T11" fmla="*/ 43 h 108"/>
                      <a:gd name="T12" fmla="*/ 0 w 136"/>
                      <a:gd name="T13" fmla="*/ 0 h 1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36" h="108">
                        <a:moveTo>
                          <a:pt x="0" y="0"/>
                        </a:moveTo>
                        <a:cubicBezTo>
                          <a:pt x="2" y="4"/>
                          <a:pt x="5" y="7"/>
                          <a:pt x="7" y="11"/>
                        </a:cubicBezTo>
                        <a:cubicBezTo>
                          <a:pt x="20" y="24"/>
                          <a:pt x="40" y="41"/>
                          <a:pt x="63" y="48"/>
                        </a:cubicBezTo>
                        <a:cubicBezTo>
                          <a:pt x="97" y="58"/>
                          <a:pt x="124" y="107"/>
                          <a:pt x="124" y="107"/>
                        </a:cubicBezTo>
                        <a:cubicBezTo>
                          <a:pt x="136" y="108"/>
                          <a:pt x="136" y="108"/>
                          <a:pt x="136" y="108"/>
                        </a:cubicBezTo>
                        <a:cubicBezTo>
                          <a:pt x="136" y="108"/>
                          <a:pt x="100" y="63"/>
                          <a:pt x="62" y="43"/>
                        </a:cubicBezTo>
                        <a:cubicBezTo>
                          <a:pt x="33" y="29"/>
                          <a:pt x="10" y="10"/>
                          <a:pt x="0" y="0"/>
                        </a:cubicBezTo>
                      </a:path>
                    </a:pathLst>
                  </a:custGeom>
                  <a:solidFill>
                    <a:srgbClr val="63A5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" name="Freeform 243">
                    <a:extLst>
                      <a:ext uri="{FF2B5EF4-FFF2-40B4-BE49-F238E27FC236}">
                        <a16:creationId xmlns:a16="http://schemas.microsoft.com/office/drawing/2014/main" id="{74CF3E7D-56F6-D171-CBC7-800B4D6B8BA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9438" y="730250"/>
                    <a:ext cx="211138" cy="368300"/>
                  </a:xfrm>
                  <a:custGeom>
                    <a:avLst/>
                    <a:gdLst>
                      <a:gd name="T0" fmla="*/ 5 w 114"/>
                      <a:gd name="T1" fmla="*/ 0 h 199"/>
                      <a:gd name="T2" fmla="*/ 2 w 114"/>
                      <a:gd name="T3" fmla="*/ 9 h 199"/>
                      <a:gd name="T4" fmla="*/ 8 w 114"/>
                      <a:gd name="T5" fmla="*/ 18 h 199"/>
                      <a:gd name="T6" fmla="*/ 17 w 114"/>
                      <a:gd name="T7" fmla="*/ 94 h 199"/>
                      <a:gd name="T8" fmla="*/ 83 w 114"/>
                      <a:gd name="T9" fmla="*/ 194 h 199"/>
                      <a:gd name="T10" fmla="*/ 114 w 114"/>
                      <a:gd name="T11" fmla="*/ 199 h 199"/>
                      <a:gd name="T12" fmla="*/ 111 w 114"/>
                      <a:gd name="T13" fmla="*/ 166 h 199"/>
                      <a:gd name="T14" fmla="*/ 33 w 114"/>
                      <a:gd name="T15" fmla="*/ 84 h 199"/>
                      <a:gd name="T16" fmla="*/ 14 w 114"/>
                      <a:gd name="T17" fmla="*/ 17 h 199"/>
                      <a:gd name="T18" fmla="*/ 17 w 114"/>
                      <a:gd name="T19" fmla="*/ 7 h 199"/>
                      <a:gd name="T20" fmla="*/ 5 w 114"/>
                      <a:gd name="T21" fmla="*/ 0 h 1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14" h="199">
                        <a:moveTo>
                          <a:pt x="5" y="0"/>
                        </a:moveTo>
                        <a:cubicBezTo>
                          <a:pt x="5" y="0"/>
                          <a:pt x="2" y="4"/>
                          <a:pt x="2" y="9"/>
                        </a:cubicBezTo>
                        <a:cubicBezTo>
                          <a:pt x="3" y="14"/>
                          <a:pt x="8" y="18"/>
                          <a:pt x="8" y="18"/>
                        </a:cubicBezTo>
                        <a:cubicBezTo>
                          <a:pt x="8" y="18"/>
                          <a:pt x="0" y="55"/>
                          <a:pt x="17" y="94"/>
                        </a:cubicBezTo>
                        <a:cubicBezTo>
                          <a:pt x="43" y="154"/>
                          <a:pt x="83" y="194"/>
                          <a:pt x="83" y="194"/>
                        </a:cubicBezTo>
                        <a:cubicBezTo>
                          <a:pt x="114" y="199"/>
                          <a:pt x="114" y="199"/>
                          <a:pt x="114" y="199"/>
                        </a:cubicBezTo>
                        <a:cubicBezTo>
                          <a:pt x="111" y="166"/>
                          <a:pt x="111" y="166"/>
                          <a:pt x="111" y="166"/>
                        </a:cubicBezTo>
                        <a:cubicBezTo>
                          <a:pt x="111" y="166"/>
                          <a:pt x="65" y="139"/>
                          <a:pt x="33" y="84"/>
                        </a:cubicBezTo>
                        <a:cubicBezTo>
                          <a:pt x="11" y="46"/>
                          <a:pt x="14" y="17"/>
                          <a:pt x="14" y="17"/>
                        </a:cubicBezTo>
                        <a:cubicBezTo>
                          <a:pt x="14" y="17"/>
                          <a:pt x="15" y="12"/>
                          <a:pt x="17" y="7"/>
                        </a:cubicBezTo>
                        <a:cubicBezTo>
                          <a:pt x="9" y="4"/>
                          <a:pt x="5" y="0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" name="Freeform 244">
                    <a:extLst>
                      <a:ext uri="{FF2B5EF4-FFF2-40B4-BE49-F238E27FC236}">
                        <a16:creationId xmlns:a16="http://schemas.microsoft.com/office/drawing/2014/main" id="{89A3B1B2-1D0C-E43B-C743-DDB2BBE4649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80700" y="617538"/>
                    <a:ext cx="131763" cy="107950"/>
                  </a:xfrm>
                  <a:custGeom>
                    <a:avLst/>
                    <a:gdLst>
                      <a:gd name="T0" fmla="*/ 70 w 71"/>
                      <a:gd name="T1" fmla="*/ 28 h 59"/>
                      <a:gd name="T2" fmla="*/ 71 w 71"/>
                      <a:gd name="T3" fmla="*/ 24 h 59"/>
                      <a:gd name="T4" fmla="*/ 62 w 71"/>
                      <a:gd name="T5" fmla="*/ 0 h 59"/>
                      <a:gd name="T6" fmla="*/ 42 w 71"/>
                      <a:gd name="T7" fmla="*/ 17 h 59"/>
                      <a:gd name="T8" fmla="*/ 21 w 71"/>
                      <a:gd name="T9" fmla="*/ 23 h 59"/>
                      <a:gd name="T10" fmla="*/ 0 w 71"/>
                      <a:gd name="T11" fmla="*/ 11 h 59"/>
                      <a:gd name="T12" fmla="*/ 36 w 71"/>
                      <a:gd name="T13" fmla="*/ 59 h 59"/>
                      <a:gd name="T14" fmla="*/ 70 w 71"/>
                      <a:gd name="T15" fmla="*/ 28 h 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1" h="59">
                        <a:moveTo>
                          <a:pt x="70" y="28"/>
                        </a:moveTo>
                        <a:cubicBezTo>
                          <a:pt x="69" y="26"/>
                          <a:pt x="71" y="24"/>
                          <a:pt x="71" y="24"/>
                        </a:cubicBezTo>
                        <a:cubicBezTo>
                          <a:pt x="62" y="0"/>
                          <a:pt x="62" y="0"/>
                          <a:pt x="62" y="0"/>
                        </a:cubicBezTo>
                        <a:cubicBezTo>
                          <a:pt x="62" y="0"/>
                          <a:pt x="48" y="10"/>
                          <a:pt x="42" y="17"/>
                        </a:cubicBezTo>
                        <a:cubicBezTo>
                          <a:pt x="36" y="24"/>
                          <a:pt x="25" y="24"/>
                          <a:pt x="21" y="23"/>
                        </a:cubicBezTo>
                        <a:cubicBezTo>
                          <a:pt x="13" y="19"/>
                          <a:pt x="0" y="11"/>
                          <a:pt x="0" y="11"/>
                        </a:cubicBezTo>
                        <a:cubicBezTo>
                          <a:pt x="0" y="11"/>
                          <a:pt x="24" y="28"/>
                          <a:pt x="36" y="59"/>
                        </a:cubicBezTo>
                        <a:cubicBezTo>
                          <a:pt x="60" y="44"/>
                          <a:pt x="67" y="33"/>
                          <a:pt x="70" y="28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5" name="Freeform 245">
                    <a:extLst>
                      <a:ext uri="{FF2B5EF4-FFF2-40B4-BE49-F238E27FC236}">
                        <a16:creationId xmlns:a16="http://schemas.microsoft.com/office/drawing/2014/main" id="{62C7C01E-78D4-B2EF-A3EB-D7B875BB14D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79113" y="541338"/>
                    <a:ext cx="138113" cy="127000"/>
                  </a:xfrm>
                  <a:custGeom>
                    <a:avLst/>
                    <a:gdLst>
                      <a:gd name="T0" fmla="*/ 1 w 75"/>
                      <a:gd name="T1" fmla="*/ 52 h 69"/>
                      <a:gd name="T2" fmla="*/ 25 w 75"/>
                      <a:gd name="T3" fmla="*/ 65 h 69"/>
                      <a:gd name="T4" fmla="*/ 39 w 75"/>
                      <a:gd name="T5" fmla="*/ 62 h 69"/>
                      <a:gd name="T6" fmla="*/ 52 w 75"/>
                      <a:gd name="T7" fmla="*/ 51 h 69"/>
                      <a:gd name="T8" fmla="*/ 60 w 75"/>
                      <a:gd name="T9" fmla="*/ 50 h 69"/>
                      <a:gd name="T10" fmla="*/ 62 w 75"/>
                      <a:gd name="T11" fmla="*/ 39 h 69"/>
                      <a:gd name="T12" fmla="*/ 75 w 75"/>
                      <a:gd name="T13" fmla="*/ 12 h 69"/>
                      <a:gd name="T14" fmla="*/ 65 w 75"/>
                      <a:gd name="T15" fmla="*/ 1 h 69"/>
                      <a:gd name="T16" fmla="*/ 50 w 75"/>
                      <a:gd name="T17" fmla="*/ 0 h 69"/>
                      <a:gd name="T18" fmla="*/ 12 w 75"/>
                      <a:gd name="T19" fmla="*/ 20 h 69"/>
                      <a:gd name="T20" fmla="*/ 13 w 75"/>
                      <a:gd name="T21" fmla="*/ 23 h 69"/>
                      <a:gd name="T22" fmla="*/ 18 w 75"/>
                      <a:gd name="T23" fmla="*/ 27 h 69"/>
                      <a:gd name="T24" fmla="*/ 1 w 75"/>
                      <a:gd name="T25" fmla="*/ 51 h 69"/>
                      <a:gd name="T26" fmla="*/ 1 w 75"/>
                      <a:gd name="T27" fmla="*/ 52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75" h="69">
                        <a:moveTo>
                          <a:pt x="1" y="52"/>
                        </a:moveTo>
                        <a:cubicBezTo>
                          <a:pt x="7" y="56"/>
                          <a:pt x="19" y="63"/>
                          <a:pt x="25" y="65"/>
                        </a:cubicBezTo>
                        <a:cubicBezTo>
                          <a:pt x="33" y="69"/>
                          <a:pt x="39" y="62"/>
                          <a:pt x="39" y="62"/>
                        </a:cubicBezTo>
                        <a:cubicBezTo>
                          <a:pt x="52" y="51"/>
                          <a:pt x="52" y="51"/>
                          <a:pt x="52" y="51"/>
                        </a:cubicBezTo>
                        <a:cubicBezTo>
                          <a:pt x="52" y="51"/>
                          <a:pt x="56" y="51"/>
                          <a:pt x="60" y="50"/>
                        </a:cubicBezTo>
                        <a:cubicBezTo>
                          <a:pt x="62" y="49"/>
                          <a:pt x="66" y="45"/>
                          <a:pt x="62" y="39"/>
                        </a:cubicBezTo>
                        <a:cubicBezTo>
                          <a:pt x="54" y="30"/>
                          <a:pt x="75" y="12"/>
                          <a:pt x="75" y="12"/>
                        </a:cubicBezTo>
                        <a:cubicBezTo>
                          <a:pt x="65" y="1"/>
                          <a:pt x="65" y="1"/>
                          <a:pt x="65" y="1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12" y="20"/>
                          <a:pt x="12" y="20"/>
                          <a:pt x="12" y="20"/>
                        </a:cubicBezTo>
                        <a:cubicBezTo>
                          <a:pt x="12" y="20"/>
                          <a:pt x="11" y="22"/>
                          <a:pt x="13" y="23"/>
                        </a:cubicBezTo>
                        <a:cubicBezTo>
                          <a:pt x="15" y="25"/>
                          <a:pt x="18" y="27"/>
                          <a:pt x="18" y="27"/>
                        </a:cubicBezTo>
                        <a:cubicBezTo>
                          <a:pt x="18" y="27"/>
                          <a:pt x="2" y="50"/>
                          <a:pt x="1" y="51"/>
                        </a:cubicBezTo>
                        <a:cubicBezTo>
                          <a:pt x="0" y="52"/>
                          <a:pt x="1" y="52"/>
                          <a:pt x="1" y="52"/>
                        </a:cubicBezTo>
                        <a:close/>
                      </a:path>
                    </a:pathLst>
                  </a:custGeom>
                  <a:solidFill>
                    <a:srgbClr val="E9F6F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" name="Freeform 246">
                    <a:extLst>
                      <a:ext uri="{FF2B5EF4-FFF2-40B4-BE49-F238E27FC236}">
                        <a16:creationId xmlns:a16="http://schemas.microsoft.com/office/drawing/2014/main" id="{1983CEEF-371F-B1A0-55BF-82F26A15016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36263" y="563563"/>
                    <a:ext cx="19050" cy="22225"/>
                  </a:xfrm>
                  <a:custGeom>
                    <a:avLst/>
                    <a:gdLst>
                      <a:gd name="T0" fmla="*/ 1 w 10"/>
                      <a:gd name="T1" fmla="*/ 4 h 12"/>
                      <a:gd name="T2" fmla="*/ 2 w 10"/>
                      <a:gd name="T3" fmla="*/ 7 h 12"/>
                      <a:gd name="T4" fmla="*/ 9 w 10"/>
                      <a:gd name="T5" fmla="*/ 11 h 12"/>
                      <a:gd name="T6" fmla="*/ 4 w 10"/>
                      <a:gd name="T7" fmla="*/ 2 h 12"/>
                      <a:gd name="T8" fmla="*/ 1 w 10"/>
                      <a:gd name="T9" fmla="*/ 4 h 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" h="12">
                        <a:moveTo>
                          <a:pt x="1" y="4"/>
                        </a:moveTo>
                        <a:cubicBezTo>
                          <a:pt x="0" y="6"/>
                          <a:pt x="1" y="6"/>
                          <a:pt x="2" y="7"/>
                        </a:cubicBezTo>
                        <a:cubicBezTo>
                          <a:pt x="4" y="8"/>
                          <a:pt x="10" y="12"/>
                          <a:pt x="9" y="11"/>
                        </a:cubicBezTo>
                        <a:cubicBezTo>
                          <a:pt x="9" y="10"/>
                          <a:pt x="7" y="7"/>
                          <a:pt x="4" y="2"/>
                        </a:cubicBezTo>
                        <a:cubicBezTo>
                          <a:pt x="3" y="0"/>
                          <a:pt x="2" y="2"/>
                          <a:pt x="1" y="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7" name="Freeform 247">
                    <a:extLst>
                      <a:ext uri="{FF2B5EF4-FFF2-40B4-BE49-F238E27FC236}">
                        <a16:creationId xmlns:a16="http://schemas.microsoft.com/office/drawing/2014/main" id="{1F5FFB83-ACD9-59AA-C31E-A5E48ED3D2B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514350"/>
                    <a:ext cx="103188" cy="147638"/>
                  </a:xfrm>
                  <a:custGeom>
                    <a:avLst/>
                    <a:gdLst>
                      <a:gd name="T0" fmla="*/ 56 w 56"/>
                      <a:gd name="T1" fmla="*/ 44 h 79"/>
                      <a:gd name="T2" fmla="*/ 15 w 56"/>
                      <a:gd name="T3" fmla="*/ 6 h 79"/>
                      <a:gd name="T4" fmla="*/ 12 w 56"/>
                      <a:gd name="T5" fmla="*/ 14 h 79"/>
                      <a:gd name="T6" fmla="*/ 26 w 56"/>
                      <a:gd name="T7" fmla="*/ 30 h 79"/>
                      <a:gd name="T8" fmla="*/ 8 w 56"/>
                      <a:gd name="T9" fmla="*/ 55 h 79"/>
                      <a:gd name="T10" fmla="*/ 25 w 56"/>
                      <a:gd name="T11" fmla="*/ 55 h 79"/>
                      <a:gd name="T12" fmla="*/ 34 w 56"/>
                      <a:gd name="T13" fmla="*/ 79 h 79"/>
                      <a:gd name="T14" fmla="*/ 56 w 56"/>
                      <a:gd name="T15" fmla="*/ 44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6" h="79">
                        <a:moveTo>
                          <a:pt x="56" y="44"/>
                        </a:moveTo>
                        <a:cubicBezTo>
                          <a:pt x="35" y="8"/>
                          <a:pt x="23" y="0"/>
                          <a:pt x="15" y="6"/>
                        </a:cubicBezTo>
                        <a:cubicBezTo>
                          <a:pt x="13" y="7"/>
                          <a:pt x="11" y="11"/>
                          <a:pt x="12" y="14"/>
                        </a:cubicBezTo>
                        <a:cubicBezTo>
                          <a:pt x="23" y="19"/>
                          <a:pt x="33" y="25"/>
                          <a:pt x="26" y="30"/>
                        </a:cubicBezTo>
                        <a:cubicBezTo>
                          <a:pt x="24" y="32"/>
                          <a:pt x="0" y="50"/>
                          <a:pt x="8" y="55"/>
                        </a:cubicBezTo>
                        <a:cubicBezTo>
                          <a:pt x="12" y="53"/>
                          <a:pt x="21" y="48"/>
                          <a:pt x="25" y="55"/>
                        </a:cubicBezTo>
                        <a:cubicBezTo>
                          <a:pt x="28" y="60"/>
                          <a:pt x="19" y="66"/>
                          <a:pt x="34" y="79"/>
                        </a:cubicBezTo>
                        <a:cubicBezTo>
                          <a:pt x="43" y="66"/>
                          <a:pt x="55" y="51"/>
                          <a:pt x="56" y="44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8" name="Freeform 248">
                    <a:extLst>
                      <a:ext uri="{FF2B5EF4-FFF2-40B4-BE49-F238E27FC236}">
                        <a16:creationId xmlns:a16="http://schemas.microsoft.com/office/drawing/2014/main" id="{8B547BF4-A875-3B18-D412-8FA78268C2F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87038" y="1652588"/>
                    <a:ext cx="85725" cy="28575"/>
                  </a:xfrm>
                  <a:custGeom>
                    <a:avLst/>
                    <a:gdLst>
                      <a:gd name="T0" fmla="*/ 46 w 46"/>
                      <a:gd name="T1" fmla="*/ 0 h 16"/>
                      <a:gd name="T2" fmla="*/ 46 w 46"/>
                      <a:gd name="T3" fmla="*/ 15 h 16"/>
                      <a:gd name="T4" fmla="*/ 33 w 46"/>
                      <a:gd name="T5" fmla="*/ 15 h 16"/>
                      <a:gd name="T6" fmla="*/ 32 w 46"/>
                      <a:gd name="T7" fmla="*/ 10 h 16"/>
                      <a:gd name="T8" fmla="*/ 14 w 46"/>
                      <a:gd name="T9" fmla="*/ 16 h 16"/>
                      <a:gd name="T10" fmla="*/ 2 w 46"/>
                      <a:gd name="T11" fmla="*/ 15 h 16"/>
                      <a:gd name="T12" fmla="*/ 3 w 46"/>
                      <a:gd name="T13" fmla="*/ 11 h 16"/>
                      <a:gd name="T14" fmla="*/ 15 w 46"/>
                      <a:gd name="T15" fmla="*/ 7 h 16"/>
                      <a:gd name="T16" fmla="*/ 28 w 46"/>
                      <a:gd name="T17" fmla="*/ 0 h 16"/>
                      <a:gd name="T18" fmla="*/ 46 w 46"/>
                      <a:gd name="T19" fmla="*/ 0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6" h="16">
                        <a:moveTo>
                          <a:pt x="46" y="0"/>
                        </a:moveTo>
                        <a:cubicBezTo>
                          <a:pt x="46" y="15"/>
                          <a:pt x="46" y="15"/>
                          <a:pt x="46" y="15"/>
                        </a:cubicBezTo>
                        <a:cubicBezTo>
                          <a:pt x="33" y="15"/>
                          <a:pt x="33" y="15"/>
                          <a:pt x="33" y="15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14" y="16"/>
                          <a:pt x="14" y="16"/>
                          <a:pt x="14" y="16"/>
                        </a:cubicBezTo>
                        <a:cubicBezTo>
                          <a:pt x="2" y="15"/>
                          <a:pt x="2" y="15"/>
                          <a:pt x="2" y="15"/>
                        </a:cubicBezTo>
                        <a:cubicBezTo>
                          <a:pt x="2" y="15"/>
                          <a:pt x="0" y="12"/>
                          <a:pt x="3" y="11"/>
                        </a:cubicBezTo>
                        <a:cubicBezTo>
                          <a:pt x="4" y="11"/>
                          <a:pt x="15" y="7"/>
                          <a:pt x="15" y="7"/>
                        </a:cubicBezTo>
                        <a:cubicBezTo>
                          <a:pt x="28" y="0"/>
                          <a:pt x="28" y="0"/>
                          <a:pt x="28" y="0"/>
                        </a:cubicBez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9" name="Freeform 249">
                    <a:extLst>
                      <a:ext uri="{FF2B5EF4-FFF2-40B4-BE49-F238E27FC236}">
                        <a16:creationId xmlns:a16="http://schemas.microsoft.com/office/drawing/2014/main" id="{2C5EC4C1-B044-35DE-535A-665BC47D8A9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31488" y="1119188"/>
                    <a:ext cx="693738" cy="533400"/>
                  </a:xfrm>
                  <a:custGeom>
                    <a:avLst/>
                    <a:gdLst>
                      <a:gd name="T0" fmla="*/ 0 w 374"/>
                      <a:gd name="T1" fmla="*/ 285 h 288"/>
                      <a:gd name="T2" fmla="*/ 1 w 374"/>
                      <a:gd name="T3" fmla="*/ 52 h 288"/>
                      <a:gd name="T4" fmla="*/ 50 w 374"/>
                      <a:gd name="T5" fmla="*/ 0 h 288"/>
                      <a:gd name="T6" fmla="*/ 330 w 374"/>
                      <a:gd name="T7" fmla="*/ 1 h 288"/>
                      <a:gd name="T8" fmla="*/ 207 w 374"/>
                      <a:gd name="T9" fmla="*/ 81 h 288"/>
                      <a:gd name="T10" fmla="*/ 56 w 374"/>
                      <a:gd name="T11" fmla="*/ 59 h 288"/>
                      <a:gd name="T12" fmla="*/ 22 w 374"/>
                      <a:gd name="T13" fmla="*/ 288 h 288"/>
                      <a:gd name="T14" fmla="*/ 0 w 374"/>
                      <a:gd name="T15" fmla="*/ 285 h 2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74" h="288">
                        <a:moveTo>
                          <a:pt x="0" y="285"/>
                        </a:moveTo>
                        <a:cubicBezTo>
                          <a:pt x="1" y="52"/>
                          <a:pt x="1" y="52"/>
                          <a:pt x="1" y="52"/>
                        </a:cubicBezTo>
                        <a:cubicBezTo>
                          <a:pt x="0" y="11"/>
                          <a:pt x="39" y="0"/>
                          <a:pt x="50" y="0"/>
                        </a:cubicBezTo>
                        <a:cubicBezTo>
                          <a:pt x="61" y="0"/>
                          <a:pt x="330" y="1"/>
                          <a:pt x="330" y="1"/>
                        </a:cubicBezTo>
                        <a:cubicBezTo>
                          <a:pt x="330" y="1"/>
                          <a:pt x="374" y="98"/>
                          <a:pt x="207" y="81"/>
                        </a:cubicBezTo>
                        <a:cubicBezTo>
                          <a:pt x="166" y="77"/>
                          <a:pt x="165" y="71"/>
                          <a:pt x="56" y="59"/>
                        </a:cubicBezTo>
                        <a:cubicBezTo>
                          <a:pt x="72" y="103"/>
                          <a:pt x="22" y="288"/>
                          <a:pt x="22" y="288"/>
                        </a:cubicBezTo>
                        <a:lnTo>
                          <a:pt x="0" y="28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0" name="Freeform 250">
                    <a:extLst>
                      <a:ext uri="{FF2B5EF4-FFF2-40B4-BE49-F238E27FC236}">
                        <a16:creationId xmlns:a16="http://schemas.microsoft.com/office/drawing/2014/main" id="{60782450-B5C9-23F3-A362-79AC6744518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48963" y="668338"/>
                    <a:ext cx="65088" cy="76200"/>
                  </a:xfrm>
                  <a:custGeom>
                    <a:avLst/>
                    <a:gdLst>
                      <a:gd name="T0" fmla="*/ 33 w 35"/>
                      <a:gd name="T1" fmla="*/ 0 h 41"/>
                      <a:gd name="T2" fmla="*/ 35 w 35"/>
                      <a:gd name="T3" fmla="*/ 1 h 41"/>
                      <a:gd name="T4" fmla="*/ 21 w 35"/>
                      <a:gd name="T5" fmla="*/ 41 h 41"/>
                      <a:gd name="T6" fmla="*/ 0 w 35"/>
                      <a:gd name="T7" fmla="*/ 31 h 41"/>
                      <a:gd name="T8" fmla="*/ 33 w 35"/>
                      <a:gd name="T9" fmla="*/ 0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5" h="41">
                        <a:moveTo>
                          <a:pt x="33" y="0"/>
                        </a:moveTo>
                        <a:cubicBezTo>
                          <a:pt x="35" y="1"/>
                          <a:pt x="35" y="1"/>
                          <a:pt x="35" y="1"/>
                        </a:cubicBezTo>
                        <a:cubicBezTo>
                          <a:pt x="21" y="41"/>
                          <a:pt x="21" y="41"/>
                          <a:pt x="21" y="41"/>
                        </a:cubicBezTo>
                        <a:cubicBezTo>
                          <a:pt x="21" y="41"/>
                          <a:pt x="11" y="41"/>
                          <a:pt x="0" y="31"/>
                        </a:cubicBezTo>
                        <a:cubicBezTo>
                          <a:pt x="28" y="12"/>
                          <a:pt x="33" y="0"/>
                          <a:pt x="33" y="0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1" name="Freeform 251">
                    <a:extLst>
                      <a:ext uri="{FF2B5EF4-FFF2-40B4-BE49-F238E27FC236}">
                        <a16:creationId xmlns:a16="http://schemas.microsoft.com/office/drawing/2014/main" id="{F063891E-5C00-7988-70BD-CA31ECFBBED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818813" y="673100"/>
                    <a:ext cx="574675" cy="481013"/>
                  </a:xfrm>
                  <a:custGeom>
                    <a:avLst/>
                    <a:gdLst>
                      <a:gd name="T0" fmla="*/ 0 w 310"/>
                      <a:gd name="T1" fmla="*/ 0 h 260"/>
                      <a:gd name="T2" fmla="*/ 134 w 310"/>
                      <a:gd name="T3" fmla="*/ 182 h 260"/>
                      <a:gd name="T4" fmla="*/ 274 w 310"/>
                      <a:gd name="T5" fmla="*/ 260 h 260"/>
                      <a:gd name="T6" fmla="*/ 194 w 310"/>
                      <a:gd name="T7" fmla="*/ 161 h 260"/>
                      <a:gd name="T8" fmla="*/ 0 w 310"/>
                      <a:gd name="T9" fmla="*/ 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10" h="260">
                        <a:moveTo>
                          <a:pt x="0" y="0"/>
                        </a:moveTo>
                        <a:cubicBezTo>
                          <a:pt x="0" y="0"/>
                          <a:pt x="14" y="153"/>
                          <a:pt x="134" y="182"/>
                        </a:cubicBezTo>
                        <a:cubicBezTo>
                          <a:pt x="250" y="210"/>
                          <a:pt x="274" y="260"/>
                          <a:pt x="274" y="260"/>
                        </a:cubicBezTo>
                        <a:cubicBezTo>
                          <a:pt x="274" y="260"/>
                          <a:pt x="310" y="203"/>
                          <a:pt x="194" y="161"/>
                        </a:cubicBezTo>
                        <a:cubicBezTo>
                          <a:pt x="77" y="118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2" name="Freeform 252">
                    <a:extLst>
                      <a:ext uri="{FF2B5EF4-FFF2-40B4-BE49-F238E27FC236}">
                        <a16:creationId xmlns:a16="http://schemas.microsoft.com/office/drawing/2014/main" id="{77B69E37-8D61-93B0-F7A4-CBB5AEBBF23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93413" y="666750"/>
                    <a:ext cx="369888" cy="306388"/>
                  </a:xfrm>
                  <a:custGeom>
                    <a:avLst/>
                    <a:gdLst>
                      <a:gd name="T0" fmla="*/ 199 w 199"/>
                      <a:gd name="T1" fmla="*/ 165 h 165"/>
                      <a:gd name="T2" fmla="*/ 108 w 199"/>
                      <a:gd name="T3" fmla="*/ 43 h 165"/>
                      <a:gd name="T4" fmla="*/ 9 w 199"/>
                      <a:gd name="T5" fmla="*/ 0 h 165"/>
                      <a:gd name="T6" fmla="*/ 75 w 199"/>
                      <a:gd name="T7" fmla="*/ 119 h 165"/>
                      <a:gd name="T8" fmla="*/ 199 w 199"/>
                      <a:gd name="T9" fmla="*/ 165 h 1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99" h="165">
                        <a:moveTo>
                          <a:pt x="199" y="165"/>
                        </a:moveTo>
                        <a:cubicBezTo>
                          <a:pt x="199" y="165"/>
                          <a:pt x="134" y="65"/>
                          <a:pt x="108" y="43"/>
                        </a:cubicBezTo>
                        <a:cubicBezTo>
                          <a:pt x="82" y="21"/>
                          <a:pt x="9" y="0"/>
                          <a:pt x="9" y="0"/>
                        </a:cubicBezTo>
                        <a:cubicBezTo>
                          <a:pt x="9" y="0"/>
                          <a:pt x="0" y="87"/>
                          <a:pt x="75" y="119"/>
                        </a:cubicBezTo>
                        <a:cubicBezTo>
                          <a:pt x="150" y="151"/>
                          <a:pt x="199" y="165"/>
                          <a:pt x="199" y="165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3" name="Freeform 253">
                    <a:extLst>
                      <a:ext uri="{FF2B5EF4-FFF2-40B4-BE49-F238E27FC236}">
                        <a16:creationId xmlns:a16="http://schemas.microsoft.com/office/drawing/2014/main" id="{D499C192-8221-13BE-6314-0B05F245867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91763" y="669925"/>
                    <a:ext cx="630238" cy="344488"/>
                  </a:xfrm>
                  <a:custGeom>
                    <a:avLst/>
                    <a:gdLst>
                      <a:gd name="T0" fmla="*/ 337 w 340"/>
                      <a:gd name="T1" fmla="*/ 78 h 186"/>
                      <a:gd name="T2" fmla="*/ 196 w 340"/>
                      <a:gd name="T3" fmla="*/ 184 h 186"/>
                      <a:gd name="T4" fmla="*/ 2 w 340"/>
                      <a:gd name="T5" fmla="*/ 166 h 186"/>
                      <a:gd name="T6" fmla="*/ 0 w 340"/>
                      <a:gd name="T7" fmla="*/ 151 h 186"/>
                      <a:gd name="T8" fmla="*/ 189 w 340"/>
                      <a:gd name="T9" fmla="*/ 144 h 186"/>
                      <a:gd name="T10" fmla="*/ 266 w 340"/>
                      <a:gd name="T11" fmla="*/ 49 h 186"/>
                      <a:gd name="T12" fmla="*/ 337 w 340"/>
                      <a:gd name="T13" fmla="*/ 78 h 1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0" h="186">
                        <a:moveTo>
                          <a:pt x="337" y="78"/>
                        </a:moveTo>
                        <a:cubicBezTo>
                          <a:pt x="301" y="123"/>
                          <a:pt x="230" y="173"/>
                          <a:pt x="196" y="184"/>
                        </a:cubicBezTo>
                        <a:cubicBezTo>
                          <a:pt x="125" y="186"/>
                          <a:pt x="2" y="166"/>
                          <a:pt x="2" y="166"/>
                        </a:cubicBezTo>
                        <a:cubicBezTo>
                          <a:pt x="2" y="166"/>
                          <a:pt x="0" y="159"/>
                          <a:pt x="0" y="151"/>
                        </a:cubicBezTo>
                        <a:cubicBezTo>
                          <a:pt x="52" y="147"/>
                          <a:pt x="159" y="142"/>
                          <a:pt x="189" y="144"/>
                        </a:cubicBezTo>
                        <a:cubicBezTo>
                          <a:pt x="223" y="116"/>
                          <a:pt x="255" y="98"/>
                          <a:pt x="266" y="49"/>
                        </a:cubicBezTo>
                        <a:cubicBezTo>
                          <a:pt x="278" y="0"/>
                          <a:pt x="340" y="16"/>
                          <a:pt x="337" y="78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4" name="Freeform 255">
                    <a:extLst>
                      <a:ext uri="{FF2B5EF4-FFF2-40B4-BE49-F238E27FC236}">
                        <a16:creationId xmlns:a16="http://schemas.microsoft.com/office/drawing/2014/main" id="{BF6F1758-DFA0-0669-B918-7ADE2AAFCAD8}"/>
                      </a:ext>
                    </a:extLst>
                  </p:cNvPr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10396538" y="666750"/>
                    <a:ext cx="66675" cy="95250"/>
                  </a:xfrm>
                  <a:custGeom>
                    <a:avLst/>
                    <a:gdLst>
                      <a:gd name="T0" fmla="*/ 34 w 36"/>
                      <a:gd name="T1" fmla="*/ 42 h 51"/>
                      <a:gd name="T2" fmla="*/ 30 w 36"/>
                      <a:gd name="T3" fmla="*/ 30 h 51"/>
                      <a:gd name="T4" fmla="*/ 29 w 36"/>
                      <a:gd name="T5" fmla="*/ 20 h 51"/>
                      <a:gd name="T6" fmla="*/ 34 w 36"/>
                      <a:gd name="T7" fmla="*/ 11 h 51"/>
                      <a:gd name="T8" fmla="*/ 30 w 36"/>
                      <a:gd name="T9" fmla="*/ 6 h 51"/>
                      <a:gd name="T10" fmla="*/ 32 w 36"/>
                      <a:gd name="T11" fmla="*/ 1 h 51"/>
                      <a:gd name="T12" fmla="*/ 27 w 36"/>
                      <a:gd name="T13" fmla="*/ 3 h 51"/>
                      <a:gd name="T14" fmla="*/ 19 w 36"/>
                      <a:gd name="T15" fmla="*/ 16 h 51"/>
                      <a:gd name="T16" fmla="*/ 16 w 36"/>
                      <a:gd name="T17" fmla="*/ 31 h 51"/>
                      <a:gd name="T18" fmla="*/ 8 w 36"/>
                      <a:gd name="T19" fmla="*/ 30 h 51"/>
                      <a:gd name="T20" fmla="*/ 0 w 36"/>
                      <a:gd name="T21" fmla="*/ 31 h 51"/>
                      <a:gd name="T22" fmla="*/ 21 w 36"/>
                      <a:gd name="T23" fmla="*/ 46 h 51"/>
                      <a:gd name="T24" fmla="*/ 28 w 36"/>
                      <a:gd name="T25" fmla="*/ 51 h 51"/>
                      <a:gd name="T26" fmla="*/ 36 w 36"/>
                      <a:gd name="T27" fmla="*/ 44 h 51"/>
                      <a:gd name="T28" fmla="*/ 34 w 36"/>
                      <a:gd name="T29" fmla="*/ 42 h 51"/>
                      <a:gd name="T30" fmla="*/ 29 w 36"/>
                      <a:gd name="T31" fmla="*/ 9 h 51"/>
                      <a:gd name="T32" fmla="*/ 31 w 36"/>
                      <a:gd name="T33" fmla="*/ 12 h 51"/>
                      <a:gd name="T34" fmla="*/ 29 w 36"/>
                      <a:gd name="T35" fmla="*/ 14 h 51"/>
                      <a:gd name="T36" fmla="*/ 29 w 36"/>
                      <a:gd name="T37" fmla="*/ 9 h 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36" h="51">
                        <a:moveTo>
                          <a:pt x="34" y="42"/>
                        </a:moveTo>
                        <a:cubicBezTo>
                          <a:pt x="34" y="42"/>
                          <a:pt x="31" y="36"/>
                          <a:pt x="30" y="30"/>
                        </a:cubicBezTo>
                        <a:cubicBezTo>
                          <a:pt x="29" y="25"/>
                          <a:pt x="29" y="20"/>
                          <a:pt x="29" y="20"/>
                        </a:cubicBezTo>
                        <a:cubicBezTo>
                          <a:pt x="29" y="20"/>
                          <a:pt x="36" y="13"/>
                          <a:pt x="34" y="11"/>
                        </a:cubicBezTo>
                        <a:cubicBezTo>
                          <a:pt x="33" y="9"/>
                          <a:pt x="30" y="6"/>
                          <a:pt x="30" y="6"/>
                        </a:cubicBezTo>
                        <a:cubicBezTo>
                          <a:pt x="30" y="6"/>
                          <a:pt x="33" y="1"/>
                          <a:pt x="32" y="1"/>
                        </a:cubicBezTo>
                        <a:cubicBezTo>
                          <a:pt x="32" y="1"/>
                          <a:pt x="29" y="0"/>
                          <a:pt x="27" y="3"/>
                        </a:cubicBezTo>
                        <a:cubicBezTo>
                          <a:pt x="26" y="4"/>
                          <a:pt x="21" y="12"/>
                          <a:pt x="19" y="16"/>
                        </a:cubicBezTo>
                        <a:cubicBezTo>
                          <a:pt x="17" y="20"/>
                          <a:pt x="16" y="31"/>
                          <a:pt x="16" y="31"/>
                        </a:cubicBezTo>
                        <a:cubicBezTo>
                          <a:pt x="16" y="31"/>
                          <a:pt x="11" y="32"/>
                          <a:pt x="8" y="30"/>
                        </a:cubicBezTo>
                        <a:cubicBezTo>
                          <a:pt x="5" y="28"/>
                          <a:pt x="0" y="31"/>
                          <a:pt x="0" y="31"/>
                        </a:cubicBezTo>
                        <a:cubicBezTo>
                          <a:pt x="0" y="31"/>
                          <a:pt x="8" y="35"/>
                          <a:pt x="21" y="46"/>
                        </a:cubicBezTo>
                        <a:cubicBezTo>
                          <a:pt x="23" y="48"/>
                          <a:pt x="28" y="51"/>
                          <a:pt x="28" y="51"/>
                        </a:cubicBezTo>
                        <a:cubicBezTo>
                          <a:pt x="36" y="44"/>
                          <a:pt x="36" y="44"/>
                          <a:pt x="36" y="44"/>
                        </a:cubicBezTo>
                        <a:lnTo>
                          <a:pt x="34" y="42"/>
                        </a:lnTo>
                        <a:close/>
                        <a:moveTo>
                          <a:pt x="29" y="9"/>
                        </a:moveTo>
                        <a:cubicBezTo>
                          <a:pt x="31" y="12"/>
                          <a:pt x="31" y="12"/>
                          <a:pt x="31" y="12"/>
                        </a:cubicBezTo>
                        <a:cubicBezTo>
                          <a:pt x="29" y="14"/>
                          <a:pt x="29" y="14"/>
                          <a:pt x="29" y="14"/>
                        </a:cubicBezTo>
                        <a:lnTo>
                          <a:pt x="29" y="9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0" name="Group 4">
                <a:extLst>
                  <a:ext uri="{FF2B5EF4-FFF2-40B4-BE49-F238E27FC236}">
                    <a16:creationId xmlns:a16="http://schemas.microsoft.com/office/drawing/2014/main" id="{B098C26C-9991-B0C7-69F7-1F6BAB1D893C}"/>
                  </a:ext>
                </a:extLst>
              </p:cNvPr>
              <p:cNvGrpSpPr/>
              <p:nvPr/>
            </p:nvGrpSpPr>
            <p:grpSpPr>
              <a:xfrm>
                <a:off x="2494061" y="3997897"/>
                <a:ext cx="1127759" cy="1089959"/>
                <a:chOff x="2494061" y="3997897"/>
                <a:chExt cx="1127759" cy="1089959"/>
              </a:xfrm>
            </p:grpSpPr>
            <p:grpSp>
              <p:nvGrpSpPr>
                <p:cNvPr id="53" name="Group 1068">
                  <a:extLst>
                    <a:ext uri="{FF2B5EF4-FFF2-40B4-BE49-F238E27FC236}">
                      <a16:creationId xmlns:a16="http://schemas.microsoft.com/office/drawing/2014/main" id="{B41DF7DF-AB02-A432-8144-519F357E6708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2494061" y="3997897"/>
                  <a:ext cx="1127759" cy="815248"/>
                  <a:chOff x="10001250" y="2782888"/>
                  <a:chExt cx="1449388" cy="1047750"/>
                </a:xfrm>
              </p:grpSpPr>
              <p:sp>
                <p:nvSpPr>
                  <p:cNvPr id="55" name="Freeform 217">
                    <a:extLst>
                      <a:ext uri="{FF2B5EF4-FFF2-40B4-BE49-F238E27FC236}">
                        <a16:creationId xmlns:a16="http://schemas.microsoft.com/office/drawing/2014/main" id="{E81AE792-C173-5C9B-0438-D725F25E43E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5425" y="3303588"/>
                    <a:ext cx="728663" cy="525463"/>
                  </a:xfrm>
                  <a:custGeom>
                    <a:avLst/>
                    <a:gdLst>
                      <a:gd name="T0" fmla="*/ 3 w 393"/>
                      <a:gd name="T1" fmla="*/ 279 h 283"/>
                      <a:gd name="T2" fmla="*/ 12 w 393"/>
                      <a:gd name="T3" fmla="*/ 275 h 283"/>
                      <a:gd name="T4" fmla="*/ 25 w 393"/>
                      <a:gd name="T5" fmla="*/ 258 h 283"/>
                      <a:gd name="T6" fmla="*/ 22 w 393"/>
                      <a:gd name="T7" fmla="*/ 42 h 283"/>
                      <a:gd name="T8" fmla="*/ 22 w 393"/>
                      <a:gd name="T9" fmla="*/ 42 h 283"/>
                      <a:gd name="T10" fmla="*/ 61 w 393"/>
                      <a:gd name="T11" fmla="*/ 0 h 283"/>
                      <a:gd name="T12" fmla="*/ 319 w 393"/>
                      <a:gd name="T13" fmla="*/ 3 h 283"/>
                      <a:gd name="T14" fmla="*/ 236 w 393"/>
                      <a:gd name="T15" fmla="*/ 79 h 283"/>
                      <a:gd name="T16" fmla="*/ 65 w 393"/>
                      <a:gd name="T17" fmla="*/ 46 h 283"/>
                      <a:gd name="T18" fmla="*/ 37 w 393"/>
                      <a:gd name="T19" fmla="*/ 259 h 283"/>
                      <a:gd name="T20" fmla="*/ 37 w 393"/>
                      <a:gd name="T21" fmla="*/ 267 h 283"/>
                      <a:gd name="T22" fmla="*/ 34 w 393"/>
                      <a:gd name="T23" fmla="*/ 283 h 283"/>
                      <a:gd name="T24" fmla="*/ 29 w 393"/>
                      <a:gd name="T25" fmla="*/ 283 h 283"/>
                      <a:gd name="T26" fmla="*/ 28 w 393"/>
                      <a:gd name="T27" fmla="*/ 274 h 283"/>
                      <a:gd name="T28" fmla="*/ 15 w 393"/>
                      <a:gd name="T29" fmla="*/ 283 h 283"/>
                      <a:gd name="T30" fmla="*/ 2 w 393"/>
                      <a:gd name="T31" fmla="*/ 283 h 283"/>
                      <a:gd name="T32" fmla="*/ 3 w 393"/>
                      <a:gd name="T33" fmla="*/ 279 h 2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93" h="283">
                        <a:moveTo>
                          <a:pt x="3" y="279"/>
                        </a:moveTo>
                        <a:cubicBezTo>
                          <a:pt x="4" y="279"/>
                          <a:pt x="12" y="275"/>
                          <a:pt x="12" y="275"/>
                        </a:cubicBezTo>
                        <a:cubicBezTo>
                          <a:pt x="25" y="258"/>
                          <a:pt x="25" y="258"/>
                          <a:pt x="25" y="258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2" y="42"/>
                          <a:pt x="22" y="42"/>
                          <a:pt x="22" y="42"/>
                        </a:cubicBezTo>
                        <a:cubicBezTo>
                          <a:pt x="20" y="5"/>
                          <a:pt x="61" y="0"/>
                          <a:pt x="61" y="0"/>
                        </a:cubicBezTo>
                        <a:cubicBezTo>
                          <a:pt x="319" y="3"/>
                          <a:pt x="319" y="3"/>
                          <a:pt x="319" y="3"/>
                        </a:cubicBezTo>
                        <a:cubicBezTo>
                          <a:pt x="319" y="3"/>
                          <a:pt x="393" y="97"/>
                          <a:pt x="236" y="79"/>
                        </a:cubicBezTo>
                        <a:cubicBezTo>
                          <a:pt x="197" y="74"/>
                          <a:pt x="167" y="59"/>
                          <a:pt x="65" y="46"/>
                        </a:cubicBezTo>
                        <a:cubicBezTo>
                          <a:pt x="79" y="87"/>
                          <a:pt x="37" y="259"/>
                          <a:pt x="37" y="259"/>
                        </a:cubicBezTo>
                        <a:cubicBezTo>
                          <a:pt x="37" y="267"/>
                          <a:pt x="37" y="267"/>
                          <a:pt x="37" y="267"/>
                        </a:cubicBezTo>
                        <a:cubicBezTo>
                          <a:pt x="34" y="283"/>
                          <a:pt x="34" y="283"/>
                          <a:pt x="34" y="283"/>
                        </a:cubicBezTo>
                        <a:cubicBezTo>
                          <a:pt x="29" y="283"/>
                          <a:pt x="29" y="283"/>
                          <a:pt x="29" y="283"/>
                        </a:cubicBezTo>
                        <a:cubicBezTo>
                          <a:pt x="28" y="274"/>
                          <a:pt x="28" y="274"/>
                          <a:pt x="28" y="274"/>
                        </a:cubicBezTo>
                        <a:cubicBezTo>
                          <a:pt x="15" y="283"/>
                          <a:pt x="15" y="283"/>
                          <a:pt x="15" y="283"/>
                        </a:cubicBezTo>
                        <a:cubicBezTo>
                          <a:pt x="2" y="283"/>
                          <a:pt x="2" y="283"/>
                          <a:pt x="2" y="283"/>
                        </a:cubicBezTo>
                        <a:cubicBezTo>
                          <a:pt x="2" y="283"/>
                          <a:pt x="0" y="280"/>
                          <a:pt x="3" y="27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" name="Freeform 218">
                    <a:extLst>
                      <a:ext uri="{FF2B5EF4-FFF2-40B4-BE49-F238E27FC236}">
                        <a16:creationId xmlns:a16="http://schemas.microsoft.com/office/drawing/2014/main" id="{393E0BBC-A5A6-DCAE-0810-8BF4D8551D6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3838" y="3784600"/>
                    <a:ext cx="71438" cy="46038"/>
                  </a:xfrm>
                  <a:custGeom>
                    <a:avLst/>
                    <a:gdLst>
                      <a:gd name="T0" fmla="*/ 13 w 38"/>
                      <a:gd name="T1" fmla="*/ 16 h 25"/>
                      <a:gd name="T2" fmla="*/ 3 w 38"/>
                      <a:gd name="T3" fmla="*/ 20 h 25"/>
                      <a:gd name="T4" fmla="*/ 2 w 38"/>
                      <a:gd name="T5" fmla="*/ 24 h 25"/>
                      <a:gd name="T6" fmla="*/ 18 w 38"/>
                      <a:gd name="T7" fmla="*/ 24 h 25"/>
                      <a:gd name="T8" fmla="*/ 29 w 38"/>
                      <a:gd name="T9" fmla="*/ 15 h 25"/>
                      <a:gd name="T10" fmla="*/ 30 w 38"/>
                      <a:gd name="T11" fmla="*/ 25 h 25"/>
                      <a:gd name="T12" fmla="*/ 35 w 38"/>
                      <a:gd name="T13" fmla="*/ 25 h 25"/>
                      <a:gd name="T14" fmla="*/ 38 w 38"/>
                      <a:gd name="T15" fmla="*/ 8 h 25"/>
                      <a:gd name="T16" fmla="*/ 38 w 38"/>
                      <a:gd name="T17" fmla="*/ 0 h 25"/>
                      <a:gd name="T18" fmla="*/ 28 w 38"/>
                      <a:gd name="T19" fmla="*/ 8 h 25"/>
                      <a:gd name="T20" fmla="*/ 13 w 38"/>
                      <a:gd name="T21" fmla="*/ 16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8" h="25">
                        <a:moveTo>
                          <a:pt x="13" y="16"/>
                        </a:moveTo>
                        <a:cubicBezTo>
                          <a:pt x="11" y="17"/>
                          <a:pt x="4" y="20"/>
                          <a:pt x="3" y="20"/>
                        </a:cubicBezTo>
                        <a:cubicBezTo>
                          <a:pt x="0" y="21"/>
                          <a:pt x="2" y="24"/>
                          <a:pt x="2" y="24"/>
                        </a:cubicBezTo>
                        <a:cubicBezTo>
                          <a:pt x="2" y="24"/>
                          <a:pt x="15" y="24"/>
                          <a:pt x="18" y="24"/>
                        </a:cubicBezTo>
                        <a:cubicBezTo>
                          <a:pt x="21" y="24"/>
                          <a:pt x="29" y="15"/>
                          <a:pt x="29" y="15"/>
                        </a:cubicBezTo>
                        <a:cubicBezTo>
                          <a:pt x="30" y="25"/>
                          <a:pt x="30" y="25"/>
                          <a:pt x="30" y="25"/>
                        </a:cubicBezTo>
                        <a:cubicBezTo>
                          <a:pt x="35" y="25"/>
                          <a:pt x="35" y="25"/>
                          <a:pt x="35" y="25"/>
                        </a:cubicBezTo>
                        <a:cubicBezTo>
                          <a:pt x="35" y="25"/>
                          <a:pt x="36" y="15"/>
                          <a:pt x="38" y="8"/>
                        </a:cubicBezTo>
                        <a:cubicBezTo>
                          <a:pt x="38" y="4"/>
                          <a:pt x="38" y="0"/>
                          <a:pt x="38" y="0"/>
                        </a:cubicBezTo>
                        <a:cubicBezTo>
                          <a:pt x="38" y="0"/>
                          <a:pt x="35" y="0"/>
                          <a:pt x="28" y="8"/>
                        </a:cubicBezTo>
                        <a:cubicBezTo>
                          <a:pt x="22" y="17"/>
                          <a:pt x="16" y="16"/>
                          <a:pt x="13" y="16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" name="Freeform 219">
                    <a:extLst>
                      <a:ext uri="{FF2B5EF4-FFF2-40B4-BE49-F238E27FC236}">
                        <a16:creationId xmlns:a16="http://schemas.microsoft.com/office/drawing/2014/main" id="{E691D59A-EA76-3D3C-EF16-AF8B840E260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758488" y="3311525"/>
                    <a:ext cx="692150" cy="390525"/>
                  </a:xfrm>
                  <a:custGeom>
                    <a:avLst/>
                    <a:gdLst>
                      <a:gd name="T0" fmla="*/ 371 w 373"/>
                      <a:gd name="T1" fmla="*/ 182 h 211"/>
                      <a:gd name="T2" fmla="*/ 360 w 373"/>
                      <a:gd name="T3" fmla="*/ 170 h 211"/>
                      <a:gd name="T4" fmla="*/ 370 w 373"/>
                      <a:gd name="T5" fmla="*/ 168 h 211"/>
                      <a:gd name="T6" fmla="*/ 369 w 373"/>
                      <a:gd name="T7" fmla="*/ 164 h 211"/>
                      <a:gd name="T8" fmla="*/ 353 w 373"/>
                      <a:gd name="T9" fmla="*/ 163 h 211"/>
                      <a:gd name="T10" fmla="*/ 345 w 373"/>
                      <a:gd name="T11" fmla="*/ 164 h 211"/>
                      <a:gd name="T12" fmla="*/ 142 w 373"/>
                      <a:gd name="T13" fmla="*/ 172 h 211"/>
                      <a:gd name="T14" fmla="*/ 115 w 373"/>
                      <a:gd name="T15" fmla="*/ 25 h 211"/>
                      <a:gd name="T16" fmla="*/ 0 w 373"/>
                      <a:gd name="T17" fmla="*/ 15 h 211"/>
                      <a:gd name="T18" fmla="*/ 107 w 373"/>
                      <a:gd name="T19" fmla="*/ 191 h 211"/>
                      <a:gd name="T20" fmla="*/ 142 w 373"/>
                      <a:gd name="T21" fmla="*/ 211 h 211"/>
                      <a:gd name="T22" fmla="*/ 211 w 373"/>
                      <a:gd name="T23" fmla="*/ 198 h 211"/>
                      <a:gd name="T24" fmla="*/ 346 w 373"/>
                      <a:gd name="T25" fmla="*/ 176 h 211"/>
                      <a:gd name="T26" fmla="*/ 363 w 373"/>
                      <a:gd name="T27" fmla="*/ 186 h 211"/>
                      <a:gd name="T28" fmla="*/ 369 w 373"/>
                      <a:gd name="T29" fmla="*/ 195 h 211"/>
                      <a:gd name="T30" fmla="*/ 373 w 373"/>
                      <a:gd name="T31" fmla="*/ 196 h 211"/>
                      <a:gd name="T32" fmla="*/ 371 w 373"/>
                      <a:gd name="T33" fmla="*/ 182 h 2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73" h="211">
                        <a:moveTo>
                          <a:pt x="371" y="182"/>
                        </a:moveTo>
                        <a:cubicBezTo>
                          <a:pt x="360" y="170"/>
                          <a:pt x="360" y="170"/>
                          <a:pt x="360" y="170"/>
                        </a:cubicBezTo>
                        <a:cubicBezTo>
                          <a:pt x="370" y="168"/>
                          <a:pt x="370" y="168"/>
                          <a:pt x="370" y="168"/>
                        </a:cubicBezTo>
                        <a:cubicBezTo>
                          <a:pt x="369" y="164"/>
                          <a:pt x="369" y="164"/>
                          <a:pt x="369" y="164"/>
                        </a:cubicBezTo>
                        <a:cubicBezTo>
                          <a:pt x="353" y="163"/>
                          <a:pt x="353" y="163"/>
                          <a:pt x="353" y="163"/>
                        </a:cubicBezTo>
                        <a:cubicBezTo>
                          <a:pt x="353" y="163"/>
                          <a:pt x="348" y="164"/>
                          <a:pt x="345" y="164"/>
                        </a:cubicBezTo>
                        <a:cubicBezTo>
                          <a:pt x="274" y="167"/>
                          <a:pt x="157" y="159"/>
                          <a:pt x="142" y="172"/>
                        </a:cubicBezTo>
                        <a:cubicBezTo>
                          <a:pt x="140" y="136"/>
                          <a:pt x="136" y="58"/>
                          <a:pt x="115" y="25"/>
                        </a:cubicBezTo>
                        <a:cubicBezTo>
                          <a:pt x="100" y="0"/>
                          <a:pt x="0" y="15"/>
                          <a:pt x="0" y="15"/>
                        </a:cubicBezTo>
                        <a:cubicBezTo>
                          <a:pt x="0" y="15"/>
                          <a:pt x="102" y="185"/>
                          <a:pt x="107" y="191"/>
                        </a:cubicBezTo>
                        <a:cubicBezTo>
                          <a:pt x="121" y="210"/>
                          <a:pt x="142" y="211"/>
                          <a:pt x="142" y="211"/>
                        </a:cubicBezTo>
                        <a:cubicBezTo>
                          <a:pt x="211" y="198"/>
                          <a:pt x="211" y="198"/>
                          <a:pt x="211" y="198"/>
                        </a:cubicBezTo>
                        <a:cubicBezTo>
                          <a:pt x="346" y="176"/>
                          <a:pt x="346" y="176"/>
                          <a:pt x="346" y="176"/>
                        </a:cubicBezTo>
                        <a:cubicBezTo>
                          <a:pt x="363" y="186"/>
                          <a:pt x="363" y="186"/>
                          <a:pt x="363" y="186"/>
                        </a:cubicBezTo>
                        <a:cubicBezTo>
                          <a:pt x="363" y="186"/>
                          <a:pt x="369" y="194"/>
                          <a:pt x="369" y="195"/>
                        </a:cubicBezTo>
                        <a:cubicBezTo>
                          <a:pt x="370" y="198"/>
                          <a:pt x="373" y="196"/>
                          <a:pt x="373" y="196"/>
                        </a:cubicBezTo>
                        <a:lnTo>
                          <a:pt x="371" y="182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" name="Freeform 221">
                    <a:extLst>
                      <a:ext uri="{FF2B5EF4-FFF2-40B4-BE49-F238E27FC236}">
                        <a16:creationId xmlns:a16="http://schemas.microsoft.com/office/drawing/2014/main" id="{9A2E197E-94E4-0D67-7A35-0F7E12FDFB2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61600" y="2940050"/>
                    <a:ext cx="304800" cy="269875"/>
                  </a:xfrm>
                  <a:custGeom>
                    <a:avLst/>
                    <a:gdLst>
                      <a:gd name="T0" fmla="*/ 0 w 164"/>
                      <a:gd name="T1" fmla="*/ 113 h 146"/>
                      <a:gd name="T2" fmla="*/ 37 w 164"/>
                      <a:gd name="T3" fmla="*/ 114 h 146"/>
                      <a:gd name="T4" fmla="*/ 66 w 164"/>
                      <a:gd name="T5" fmla="*/ 77 h 146"/>
                      <a:gd name="T6" fmla="*/ 97 w 164"/>
                      <a:gd name="T7" fmla="*/ 41 h 146"/>
                      <a:gd name="T8" fmla="*/ 164 w 164"/>
                      <a:gd name="T9" fmla="*/ 11 h 146"/>
                      <a:gd name="T10" fmla="*/ 133 w 164"/>
                      <a:gd name="T11" fmla="*/ 72 h 146"/>
                      <a:gd name="T12" fmla="*/ 67 w 164"/>
                      <a:gd name="T13" fmla="*/ 130 h 146"/>
                      <a:gd name="T14" fmla="*/ 23 w 164"/>
                      <a:gd name="T15" fmla="*/ 141 h 146"/>
                      <a:gd name="T16" fmla="*/ 0 w 164"/>
                      <a:gd name="T17" fmla="*/ 113 h 1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64" h="146">
                        <a:moveTo>
                          <a:pt x="0" y="113"/>
                        </a:moveTo>
                        <a:cubicBezTo>
                          <a:pt x="37" y="114"/>
                          <a:pt x="37" y="114"/>
                          <a:pt x="37" y="114"/>
                        </a:cubicBezTo>
                        <a:cubicBezTo>
                          <a:pt x="37" y="114"/>
                          <a:pt x="47" y="99"/>
                          <a:pt x="66" y="77"/>
                        </a:cubicBezTo>
                        <a:cubicBezTo>
                          <a:pt x="127" y="79"/>
                          <a:pt x="85" y="55"/>
                          <a:pt x="97" y="41"/>
                        </a:cubicBezTo>
                        <a:cubicBezTo>
                          <a:pt x="135" y="0"/>
                          <a:pt x="164" y="11"/>
                          <a:pt x="164" y="11"/>
                        </a:cubicBezTo>
                        <a:cubicBezTo>
                          <a:pt x="133" y="72"/>
                          <a:pt x="133" y="72"/>
                          <a:pt x="133" y="72"/>
                        </a:cubicBezTo>
                        <a:cubicBezTo>
                          <a:pt x="133" y="72"/>
                          <a:pt x="76" y="122"/>
                          <a:pt x="67" y="130"/>
                        </a:cubicBezTo>
                        <a:cubicBezTo>
                          <a:pt x="58" y="137"/>
                          <a:pt x="46" y="146"/>
                          <a:pt x="23" y="141"/>
                        </a:cubicBezTo>
                        <a:cubicBezTo>
                          <a:pt x="19" y="126"/>
                          <a:pt x="0" y="113"/>
                          <a:pt x="0" y="11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" name="Freeform 222">
                    <a:extLst>
                      <a:ext uri="{FF2B5EF4-FFF2-40B4-BE49-F238E27FC236}">
                        <a16:creationId xmlns:a16="http://schemas.microsoft.com/office/drawing/2014/main" id="{808E600E-CB62-32AE-1B5F-7AFA05C9483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4638" y="2954338"/>
                    <a:ext cx="317500" cy="319088"/>
                  </a:xfrm>
                  <a:custGeom>
                    <a:avLst/>
                    <a:gdLst>
                      <a:gd name="T0" fmla="*/ 171 w 171"/>
                      <a:gd name="T1" fmla="*/ 172 h 172"/>
                      <a:gd name="T2" fmla="*/ 29 w 171"/>
                      <a:gd name="T3" fmla="*/ 97 h 172"/>
                      <a:gd name="T4" fmla="*/ 33 w 171"/>
                      <a:gd name="T5" fmla="*/ 0 h 172"/>
                      <a:gd name="T6" fmla="*/ 171 w 171"/>
                      <a:gd name="T7" fmla="*/ 172 h 1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71" h="172">
                        <a:moveTo>
                          <a:pt x="171" y="172"/>
                        </a:moveTo>
                        <a:cubicBezTo>
                          <a:pt x="171" y="172"/>
                          <a:pt x="57" y="148"/>
                          <a:pt x="29" y="97"/>
                        </a:cubicBezTo>
                        <a:cubicBezTo>
                          <a:pt x="0" y="43"/>
                          <a:pt x="33" y="0"/>
                          <a:pt x="33" y="0"/>
                        </a:cubicBezTo>
                        <a:lnTo>
                          <a:pt x="171" y="172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" name="Freeform 223">
                    <a:extLst>
                      <a:ext uri="{FF2B5EF4-FFF2-40B4-BE49-F238E27FC236}">
                        <a16:creationId xmlns:a16="http://schemas.microsoft.com/office/drawing/2014/main" id="{6C44766F-1361-C02B-7655-4C1DAB467AE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67975" y="2906713"/>
                    <a:ext cx="520700" cy="411163"/>
                  </a:xfrm>
                  <a:custGeom>
                    <a:avLst/>
                    <a:gdLst>
                      <a:gd name="T0" fmla="*/ 153 w 281"/>
                      <a:gd name="T1" fmla="*/ 222 h 222"/>
                      <a:gd name="T2" fmla="*/ 62 w 281"/>
                      <a:gd name="T3" fmla="*/ 147 h 222"/>
                      <a:gd name="T4" fmla="*/ 0 w 281"/>
                      <a:gd name="T5" fmla="*/ 23 h 222"/>
                      <a:gd name="T6" fmla="*/ 31 w 281"/>
                      <a:gd name="T7" fmla="*/ 8 h 222"/>
                      <a:gd name="T8" fmla="*/ 158 w 281"/>
                      <a:gd name="T9" fmla="*/ 64 h 222"/>
                      <a:gd name="T10" fmla="*/ 281 w 281"/>
                      <a:gd name="T11" fmla="*/ 219 h 222"/>
                      <a:gd name="T12" fmla="*/ 153 w 281"/>
                      <a:gd name="T13" fmla="*/ 222 h 2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1" h="222">
                        <a:moveTo>
                          <a:pt x="153" y="222"/>
                        </a:moveTo>
                        <a:cubicBezTo>
                          <a:pt x="153" y="222"/>
                          <a:pt x="136" y="170"/>
                          <a:pt x="62" y="147"/>
                        </a:cubicBezTo>
                        <a:cubicBezTo>
                          <a:pt x="16" y="134"/>
                          <a:pt x="0" y="23"/>
                          <a:pt x="0" y="23"/>
                        </a:cubicBezTo>
                        <a:cubicBezTo>
                          <a:pt x="0" y="23"/>
                          <a:pt x="17" y="10"/>
                          <a:pt x="31" y="8"/>
                        </a:cubicBezTo>
                        <a:cubicBezTo>
                          <a:pt x="64" y="0"/>
                          <a:pt x="115" y="18"/>
                          <a:pt x="158" y="64"/>
                        </a:cubicBezTo>
                        <a:cubicBezTo>
                          <a:pt x="219" y="128"/>
                          <a:pt x="281" y="219"/>
                          <a:pt x="281" y="219"/>
                        </a:cubicBezTo>
                        <a:lnTo>
                          <a:pt x="153" y="222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" name="Freeform 224">
                    <a:extLst>
                      <a:ext uri="{FF2B5EF4-FFF2-40B4-BE49-F238E27FC236}">
                        <a16:creationId xmlns:a16="http://schemas.microsoft.com/office/drawing/2014/main" id="{3E6428E4-E59D-B80C-70DC-B40940B287E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9413" y="3076575"/>
                    <a:ext cx="247650" cy="242888"/>
                  </a:xfrm>
                  <a:custGeom>
                    <a:avLst/>
                    <a:gdLst>
                      <a:gd name="T0" fmla="*/ 121 w 133"/>
                      <a:gd name="T1" fmla="*/ 129 h 131"/>
                      <a:gd name="T2" fmla="*/ 64 w 133"/>
                      <a:gd name="T3" fmla="*/ 62 h 131"/>
                      <a:gd name="T4" fmla="*/ 0 w 133"/>
                      <a:gd name="T5" fmla="*/ 0 h 131"/>
                      <a:gd name="T6" fmla="*/ 64 w 133"/>
                      <a:gd name="T7" fmla="*/ 57 h 131"/>
                      <a:gd name="T8" fmla="*/ 133 w 133"/>
                      <a:gd name="T9" fmla="*/ 131 h 131"/>
                      <a:gd name="T10" fmla="*/ 121 w 133"/>
                      <a:gd name="T11" fmla="*/ 129 h 1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33" h="131">
                        <a:moveTo>
                          <a:pt x="121" y="129"/>
                        </a:moveTo>
                        <a:cubicBezTo>
                          <a:pt x="121" y="129"/>
                          <a:pt x="99" y="76"/>
                          <a:pt x="64" y="62"/>
                        </a:cubicBezTo>
                        <a:cubicBezTo>
                          <a:pt x="27" y="47"/>
                          <a:pt x="0" y="0"/>
                          <a:pt x="0" y="0"/>
                        </a:cubicBezTo>
                        <a:cubicBezTo>
                          <a:pt x="0" y="0"/>
                          <a:pt x="27" y="33"/>
                          <a:pt x="64" y="57"/>
                        </a:cubicBezTo>
                        <a:cubicBezTo>
                          <a:pt x="101" y="81"/>
                          <a:pt x="133" y="131"/>
                          <a:pt x="133" y="131"/>
                        </a:cubicBezTo>
                        <a:lnTo>
                          <a:pt x="121" y="129"/>
                        </a:ln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Freeform 225">
                    <a:extLst>
                      <a:ext uri="{FF2B5EF4-FFF2-40B4-BE49-F238E27FC236}">
                        <a16:creationId xmlns:a16="http://schemas.microsoft.com/office/drawing/2014/main" id="{EC8B5A16-D08E-C6A9-04A3-35CE69F713B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533063" y="2906713"/>
                    <a:ext cx="430213" cy="357188"/>
                  </a:xfrm>
                  <a:custGeom>
                    <a:avLst/>
                    <a:gdLst>
                      <a:gd name="T0" fmla="*/ 232 w 232"/>
                      <a:gd name="T1" fmla="*/ 182 h 193"/>
                      <a:gd name="T2" fmla="*/ 59 w 232"/>
                      <a:gd name="T3" fmla="*/ 13 h 193"/>
                      <a:gd name="T4" fmla="*/ 3 w 232"/>
                      <a:gd name="T5" fmla="*/ 6 h 193"/>
                      <a:gd name="T6" fmla="*/ 129 w 232"/>
                      <a:gd name="T7" fmla="*/ 156 h 193"/>
                      <a:gd name="T8" fmla="*/ 232 w 232"/>
                      <a:gd name="T9" fmla="*/ 182 h 1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2" h="193">
                        <a:moveTo>
                          <a:pt x="232" y="182"/>
                        </a:moveTo>
                        <a:cubicBezTo>
                          <a:pt x="232" y="182"/>
                          <a:pt x="112" y="25"/>
                          <a:pt x="59" y="13"/>
                        </a:cubicBezTo>
                        <a:cubicBezTo>
                          <a:pt x="7" y="0"/>
                          <a:pt x="3" y="6"/>
                          <a:pt x="3" y="6"/>
                        </a:cubicBezTo>
                        <a:cubicBezTo>
                          <a:pt x="3" y="6"/>
                          <a:pt x="0" y="89"/>
                          <a:pt x="129" y="156"/>
                        </a:cubicBezTo>
                        <a:cubicBezTo>
                          <a:pt x="203" y="193"/>
                          <a:pt x="232" y="182"/>
                          <a:pt x="232" y="182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" name="Freeform 226">
                    <a:extLst>
                      <a:ext uri="{FF2B5EF4-FFF2-40B4-BE49-F238E27FC236}">
                        <a16:creationId xmlns:a16="http://schemas.microsoft.com/office/drawing/2014/main" id="{D76E7217-D45A-A30A-FDEE-18898BA7FA4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2413" y="2862263"/>
                    <a:ext cx="125413" cy="106363"/>
                  </a:xfrm>
                  <a:custGeom>
                    <a:avLst/>
                    <a:gdLst>
                      <a:gd name="T0" fmla="*/ 68 w 68"/>
                      <a:gd name="T1" fmla="*/ 30 h 58"/>
                      <a:gd name="T2" fmla="*/ 58 w 68"/>
                      <a:gd name="T3" fmla="*/ 14 h 58"/>
                      <a:gd name="T4" fmla="*/ 39 w 68"/>
                      <a:gd name="T5" fmla="*/ 0 h 58"/>
                      <a:gd name="T6" fmla="*/ 31 w 68"/>
                      <a:gd name="T7" fmla="*/ 24 h 58"/>
                      <a:gd name="T8" fmla="*/ 18 w 68"/>
                      <a:gd name="T9" fmla="*/ 37 h 58"/>
                      <a:gd name="T10" fmla="*/ 0 w 68"/>
                      <a:gd name="T11" fmla="*/ 38 h 58"/>
                      <a:gd name="T12" fmla="*/ 36 w 68"/>
                      <a:gd name="T13" fmla="*/ 55 h 58"/>
                      <a:gd name="T14" fmla="*/ 68 w 68"/>
                      <a:gd name="T15" fmla="*/ 30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8" h="58">
                        <a:moveTo>
                          <a:pt x="68" y="30"/>
                        </a:moveTo>
                        <a:cubicBezTo>
                          <a:pt x="58" y="14"/>
                          <a:pt x="58" y="14"/>
                          <a:pt x="58" y="14"/>
                        </a:cubicBezTo>
                        <a:cubicBezTo>
                          <a:pt x="39" y="0"/>
                          <a:pt x="39" y="0"/>
                          <a:pt x="39" y="0"/>
                        </a:cubicBezTo>
                        <a:cubicBezTo>
                          <a:pt x="39" y="0"/>
                          <a:pt x="33" y="15"/>
                          <a:pt x="31" y="24"/>
                        </a:cubicBezTo>
                        <a:cubicBezTo>
                          <a:pt x="30" y="32"/>
                          <a:pt x="21" y="37"/>
                          <a:pt x="18" y="37"/>
                        </a:cubicBezTo>
                        <a:cubicBezTo>
                          <a:pt x="10" y="39"/>
                          <a:pt x="0" y="38"/>
                          <a:pt x="0" y="38"/>
                        </a:cubicBezTo>
                        <a:cubicBezTo>
                          <a:pt x="0" y="38"/>
                          <a:pt x="32" y="50"/>
                          <a:pt x="36" y="55"/>
                        </a:cubicBezTo>
                        <a:cubicBezTo>
                          <a:pt x="41" y="58"/>
                          <a:pt x="68" y="30"/>
                          <a:pt x="68" y="30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4" name="Freeform 227">
                    <a:extLst>
                      <a:ext uri="{FF2B5EF4-FFF2-40B4-BE49-F238E27FC236}">
                        <a16:creationId xmlns:a16="http://schemas.microsoft.com/office/drawing/2014/main" id="{E75A17CD-4D55-6132-7003-41318D3B4AA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3363" y="2800350"/>
                    <a:ext cx="100013" cy="131763"/>
                  </a:xfrm>
                  <a:custGeom>
                    <a:avLst/>
                    <a:gdLst>
                      <a:gd name="T0" fmla="*/ 13 w 54"/>
                      <a:gd name="T1" fmla="*/ 71 h 71"/>
                      <a:gd name="T2" fmla="*/ 31 w 54"/>
                      <a:gd name="T3" fmla="*/ 70 h 71"/>
                      <a:gd name="T4" fmla="*/ 41 w 54"/>
                      <a:gd name="T5" fmla="*/ 61 h 71"/>
                      <a:gd name="T6" fmla="*/ 45 w 54"/>
                      <a:gd name="T7" fmla="*/ 46 h 71"/>
                      <a:gd name="T8" fmla="*/ 51 w 54"/>
                      <a:gd name="T9" fmla="*/ 41 h 71"/>
                      <a:gd name="T10" fmla="*/ 47 w 54"/>
                      <a:gd name="T11" fmla="*/ 32 h 71"/>
                      <a:gd name="T12" fmla="*/ 44 w 54"/>
                      <a:gd name="T13" fmla="*/ 3 h 71"/>
                      <a:gd name="T14" fmla="*/ 30 w 54"/>
                      <a:gd name="T15" fmla="*/ 0 h 71"/>
                      <a:gd name="T16" fmla="*/ 18 w 54"/>
                      <a:gd name="T17" fmla="*/ 7 h 71"/>
                      <a:gd name="T18" fmla="*/ 0 w 54"/>
                      <a:gd name="T19" fmla="*/ 40 h 71"/>
                      <a:gd name="T20" fmla="*/ 3 w 54"/>
                      <a:gd name="T21" fmla="*/ 42 h 71"/>
                      <a:gd name="T22" fmla="*/ 7 w 54"/>
                      <a:gd name="T23" fmla="*/ 43 h 71"/>
                      <a:gd name="T24" fmla="*/ 8 w 54"/>
                      <a:gd name="T25" fmla="*/ 70 h 71"/>
                      <a:gd name="T26" fmla="*/ 13 w 54"/>
                      <a:gd name="T27" fmla="*/ 71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54" h="71">
                        <a:moveTo>
                          <a:pt x="13" y="71"/>
                        </a:moveTo>
                        <a:cubicBezTo>
                          <a:pt x="17" y="71"/>
                          <a:pt x="25" y="71"/>
                          <a:pt x="31" y="70"/>
                        </a:cubicBezTo>
                        <a:cubicBezTo>
                          <a:pt x="40" y="69"/>
                          <a:pt x="41" y="61"/>
                          <a:pt x="41" y="61"/>
                        </a:cubicBezTo>
                        <a:cubicBezTo>
                          <a:pt x="45" y="46"/>
                          <a:pt x="45" y="46"/>
                          <a:pt x="45" y="46"/>
                        </a:cubicBezTo>
                        <a:cubicBezTo>
                          <a:pt x="45" y="46"/>
                          <a:pt x="48" y="44"/>
                          <a:pt x="51" y="41"/>
                        </a:cubicBezTo>
                        <a:cubicBezTo>
                          <a:pt x="52" y="40"/>
                          <a:pt x="54" y="34"/>
                          <a:pt x="47" y="32"/>
                        </a:cubicBezTo>
                        <a:cubicBezTo>
                          <a:pt x="37" y="28"/>
                          <a:pt x="44" y="3"/>
                          <a:pt x="44" y="3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18" y="7"/>
                          <a:pt x="18" y="7"/>
                          <a:pt x="18" y="7"/>
                        </a:cubicBezTo>
                        <a:cubicBezTo>
                          <a:pt x="0" y="40"/>
                          <a:pt x="0" y="40"/>
                          <a:pt x="0" y="40"/>
                        </a:cubicBezTo>
                        <a:cubicBezTo>
                          <a:pt x="0" y="40"/>
                          <a:pt x="1" y="42"/>
                          <a:pt x="3" y="42"/>
                        </a:cubicBezTo>
                        <a:cubicBezTo>
                          <a:pt x="6" y="42"/>
                          <a:pt x="7" y="43"/>
                          <a:pt x="7" y="43"/>
                        </a:cubicBezTo>
                        <a:cubicBezTo>
                          <a:pt x="7" y="43"/>
                          <a:pt x="8" y="69"/>
                          <a:pt x="8" y="70"/>
                        </a:cubicBezTo>
                        <a:cubicBezTo>
                          <a:pt x="9" y="71"/>
                          <a:pt x="10" y="71"/>
                          <a:pt x="13" y="71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" name="Freeform 228">
                    <a:extLst>
                      <a:ext uri="{FF2B5EF4-FFF2-40B4-BE49-F238E27FC236}">
                        <a16:creationId xmlns:a16="http://schemas.microsoft.com/office/drawing/2014/main" id="{8FEFADB0-59DB-9925-790D-50EFD73B4B8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5588" y="2849563"/>
                    <a:ext cx="20638" cy="7938"/>
                  </a:xfrm>
                  <a:custGeom>
                    <a:avLst/>
                    <a:gdLst>
                      <a:gd name="T0" fmla="*/ 1 w 11"/>
                      <a:gd name="T1" fmla="*/ 3 h 5"/>
                      <a:gd name="T2" fmla="*/ 3 w 11"/>
                      <a:gd name="T3" fmla="*/ 5 h 5"/>
                      <a:gd name="T4" fmla="*/ 10 w 11"/>
                      <a:gd name="T5" fmla="*/ 5 h 5"/>
                      <a:gd name="T6" fmla="*/ 2 w 11"/>
                      <a:gd name="T7" fmla="*/ 1 h 5"/>
                      <a:gd name="T8" fmla="*/ 1 w 11"/>
                      <a:gd name="T9" fmla="*/ 3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" h="5">
                        <a:moveTo>
                          <a:pt x="1" y="3"/>
                        </a:moveTo>
                        <a:cubicBezTo>
                          <a:pt x="1" y="5"/>
                          <a:pt x="1" y="5"/>
                          <a:pt x="3" y="5"/>
                        </a:cubicBezTo>
                        <a:cubicBezTo>
                          <a:pt x="5" y="5"/>
                          <a:pt x="8" y="5"/>
                          <a:pt x="10" y="5"/>
                        </a:cubicBezTo>
                        <a:cubicBezTo>
                          <a:pt x="11" y="5"/>
                          <a:pt x="7" y="3"/>
                          <a:pt x="2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" name="Freeform 229">
                    <a:extLst>
                      <a:ext uri="{FF2B5EF4-FFF2-40B4-BE49-F238E27FC236}">
                        <a16:creationId xmlns:a16="http://schemas.microsoft.com/office/drawing/2014/main" id="{E109A325-17EF-2C62-4E67-2C2B2B7FF9B2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2263" y="2951163"/>
                    <a:ext cx="44450" cy="104775"/>
                  </a:xfrm>
                  <a:custGeom>
                    <a:avLst/>
                    <a:gdLst>
                      <a:gd name="T0" fmla="*/ 24 w 24"/>
                      <a:gd name="T1" fmla="*/ 57 h 57"/>
                      <a:gd name="T2" fmla="*/ 22 w 24"/>
                      <a:gd name="T3" fmla="*/ 0 h 57"/>
                      <a:gd name="T4" fmla="*/ 0 w 24"/>
                      <a:gd name="T5" fmla="*/ 8 h 57"/>
                      <a:gd name="T6" fmla="*/ 24 w 24"/>
                      <a:gd name="T7" fmla="*/ 57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4" h="57">
                        <a:moveTo>
                          <a:pt x="24" y="57"/>
                        </a:moveTo>
                        <a:cubicBezTo>
                          <a:pt x="24" y="57"/>
                          <a:pt x="8" y="28"/>
                          <a:pt x="22" y="0"/>
                        </a:cubicBezTo>
                        <a:cubicBezTo>
                          <a:pt x="17" y="5"/>
                          <a:pt x="6" y="6"/>
                          <a:pt x="0" y="8"/>
                        </a:cubicBezTo>
                        <a:cubicBezTo>
                          <a:pt x="0" y="32"/>
                          <a:pt x="24" y="57"/>
                          <a:pt x="24" y="57"/>
                        </a:cubicBezTo>
                        <a:close/>
                      </a:path>
                    </a:pathLst>
                  </a:custGeom>
                  <a:solidFill>
                    <a:srgbClr val="9FCDD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Freeform 230">
                    <a:extLst>
                      <a:ext uri="{FF2B5EF4-FFF2-40B4-BE49-F238E27FC236}">
                        <a16:creationId xmlns:a16="http://schemas.microsoft.com/office/drawing/2014/main" id="{F368CD2D-62AE-3A6E-9C15-1D6521CEDAE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72688" y="2957513"/>
                    <a:ext cx="188913" cy="74613"/>
                  </a:xfrm>
                  <a:custGeom>
                    <a:avLst/>
                    <a:gdLst>
                      <a:gd name="T0" fmla="*/ 94 w 119"/>
                      <a:gd name="T1" fmla="*/ 47 h 47"/>
                      <a:gd name="T2" fmla="*/ 0 w 119"/>
                      <a:gd name="T3" fmla="*/ 12 h 47"/>
                      <a:gd name="T4" fmla="*/ 2 w 119"/>
                      <a:gd name="T5" fmla="*/ 0 h 47"/>
                      <a:gd name="T6" fmla="*/ 119 w 119"/>
                      <a:gd name="T7" fmla="*/ 23 h 47"/>
                      <a:gd name="T8" fmla="*/ 94 w 119"/>
                      <a:gd name="T9" fmla="*/ 47 h 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9" h="47">
                        <a:moveTo>
                          <a:pt x="94" y="47"/>
                        </a:moveTo>
                        <a:lnTo>
                          <a:pt x="0" y="12"/>
                        </a:lnTo>
                        <a:lnTo>
                          <a:pt x="2" y="0"/>
                        </a:lnTo>
                        <a:lnTo>
                          <a:pt x="119" y="23"/>
                        </a:lnTo>
                        <a:lnTo>
                          <a:pt x="94" y="47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" name="Freeform 231">
                    <a:extLst>
                      <a:ext uri="{FF2B5EF4-FFF2-40B4-BE49-F238E27FC236}">
                        <a16:creationId xmlns:a16="http://schemas.microsoft.com/office/drawing/2014/main" id="{29B3DDFF-6BCE-76D5-AB91-58D8AD5BF9A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15563" y="2954338"/>
                    <a:ext cx="434975" cy="128588"/>
                  </a:xfrm>
                  <a:custGeom>
                    <a:avLst/>
                    <a:gdLst>
                      <a:gd name="T0" fmla="*/ 2 w 235"/>
                      <a:gd name="T1" fmla="*/ 16 h 69"/>
                      <a:gd name="T2" fmla="*/ 82 w 235"/>
                      <a:gd name="T3" fmla="*/ 33 h 69"/>
                      <a:gd name="T4" fmla="*/ 201 w 235"/>
                      <a:gd name="T5" fmla="*/ 0 h 69"/>
                      <a:gd name="T6" fmla="*/ 235 w 235"/>
                      <a:gd name="T7" fmla="*/ 35 h 69"/>
                      <a:gd name="T8" fmla="*/ 120 w 235"/>
                      <a:gd name="T9" fmla="*/ 65 h 69"/>
                      <a:gd name="T10" fmla="*/ 59 w 235"/>
                      <a:gd name="T11" fmla="*/ 61 h 69"/>
                      <a:gd name="T12" fmla="*/ 0 w 235"/>
                      <a:gd name="T13" fmla="*/ 42 h 69"/>
                      <a:gd name="T14" fmla="*/ 2 w 235"/>
                      <a:gd name="T15" fmla="*/ 16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35" h="69">
                        <a:moveTo>
                          <a:pt x="2" y="16"/>
                        </a:moveTo>
                        <a:cubicBezTo>
                          <a:pt x="82" y="33"/>
                          <a:pt x="82" y="33"/>
                          <a:pt x="82" y="33"/>
                        </a:cubicBezTo>
                        <a:cubicBezTo>
                          <a:pt x="201" y="0"/>
                          <a:pt x="201" y="0"/>
                          <a:pt x="201" y="0"/>
                        </a:cubicBezTo>
                        <a:cubicBezTo>
                          <a:pt x="235" y="35"/>
                          <a:pt x="235" y="35"/>
                          <a:pt x="235" y="35"/>
                        </a:cubicBezTo>
                        <a:cubicBezTo>
                          <a:pt x="235" y="35"/>
                          <a:pt x="132" y="62"/>
                          <a:pt x="120" y="65"/>
                        </a:cubicBezTo>
                        <a:cubicBezTo>
                          <a:pt x="108" y="67"/>
                          <a:pt x="84" y="69"/>
                          <a:pt x="59" y="61"/>
                        </a:cubicBezTo>
                        <a:cubicBezTo>
                          <a:pt x="42" y="56"/>
                          <a:pt x="24" y="50"/>
                          <a:pt x="0" y="42"/>
                        </a:cubicBezTo>
                        <a:lnTo>
                          <a:pt x="2" y="16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" name="Freeform 232">
                    <a:extLst>
                      <a:ext uri="{FF2B5EF4-FFF2-40B4-BE49-F238E27FC236}">
                        <a16:creationId xmlns:a16="http://schemas.microsoft.com/office/drawing/2014/main" id="{8063306D-3ED4-0E88-BD7B-39052C6CA8F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3525" y="2782888"/>
                    <a:ext cx="134938" cy="225425"/>
                  </a:xfrm>
                  <a:custGeom>
                    <a:avLst/>
                    <a:gdLst>
                      <a:gd name="T0" fmla="*/ 52 w 73"/>
                      <a:gd name="T1" fmla="*/ 19 h 122"/>
                      <a:gd name="T2" fmla="*/ 0 w 73"/>
                      <a:gd name="T3" fmla="*/ 9 h 122"/>
                      <a:gd name="T4" fmla="*/ 2 w 73"/>
                      <a:gd name="T5" fmla="*/ 17 h 122"/>
                      <a:gd name="T6" fmla="*/ 19 w 73"/>
                      <a:gd name="T7" fmla="*/ 56 h 122"/>
                      <a:gd name="T8" fmla="*/ 6 w 73"/>
                      <a:gd name="T9" fmla="*/ 107 h 122"/>
                      <a:gd name="T10" fmla="*/ 70 w 73"/>
                      <a:gd name="T11" fmla="*/ 76 h 122"/>
                      <a:gd name="T12" fmla="*/ 52 w 73"/>
                      <a:gd name="T13" fmla="*/ 19 h 1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3" h="122">
                        <a:moveTo>
                          <a:pt x="52" y="19"/>
                        </a:moveTo>
                        <a:cubicBezTo>
                          <a:pt x="17" y="1"/>
                          <a:pt x="4" y="0"/>
                          <a:pt x="0" y="9"/>
                        </a:cubicBezTo>
                        <a:cubicBezTo>
                          <a:pt x="0" y="11"/>
                          <a:pt x="0" y="15"/>
                          <a:pt x="2" y="17"/>
                        </a:cubicBezTo>
                        <a:cubicBezTo>
                          <a:pt x="12" y="17"/>
                          <a:pt x="19" y="36"/>
                          <a:pt x="19" y="56"/>
                        </a:cubicBezTo>
                        <a:cubicBezTo>
                          <a:pt x="17" y="75"/>
                          <a:pt x="16" y="102"/>
                          <a:pt x="6" y="107"/>
                        </a:cubicBezTo>
                        <a:cubicBezTo>
                          <a:pt x="34" y="117"/>
                          <a:pt x="73" y="122"/>
                          <a:pt x="70" y="76"/>
                        </a:cubicBezTo>
                        <a:cubicBezTo>
                          <a:pt x="70" y="62"/>
                          <a:pt x="55" y="24"/>
                          <a:pt x="52" y="19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0" name="Freeform 233">
                    <a:extLst>
                      <a:ext uri="{FF2B5EF4-FFF2-40B4-BE49-F238E27FC236}">
                        <a16:creationId xmlns:a16="http://schemas.microsoft.com/office/drawing/2014/main" id="{E2A749FC-27DE-0670-72C3-9C3729AF5B5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88613" y="3302000"/>
                    <a:ext cx="563563" cy="241300"/>
                  </a:xfrm>
                  <a:custGeom>
                    <a:avLst/>
                    <a:gdLst>
                      <a:gd name="T0" fmla="*/ 267 w 304"/>
                      <a:gd name="T1" fmla="*/ 0 h 130"/>
                      <a:gd name="T2" fmla="*/ 304 w 304"/>
                      <a:gd name="T3" fmla="*/ 118 h 130"/>
                      <a:gd name="T4" fmla="*/ 26 w 304"/>
                      <a:gd name="T5" fmla="*/ 54 h 130"/>
                      <a:gd name="T6" fmla="*/ 1 w 304"/>
                      <a:gd name="T7" fmla="*/ 1 h 130"/>
                      <a:gd name="T8" fmla="*/ 267 w 304"/>
                      <a:gd name="T9" fmla="*/ 0 h 1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04" h="130">
                        <a:moveTo>
                          <a:pt x="267" y="0"/>
                        </a:moveTo>
                        <a:cubicBezTo>
                          <a:pt x="295" y="26"/>
                          <a:pt x="269" y="75"/>
                          <a:pt x="304" y="118"/>
                        </a:cubicBezTo>
                        <a:cubicBezTo>
                          <a:pt x="264" y="130"/>
                          <a:pt x="87" y="102"/>
                          <a:pt x="26" y="54"/>
                        </a:cubicBezTo>
                        <a:cubicBezTo>
                          <a:pt x="0" y="33"/>
                          <a:pt x="1" y="1"/>
                          <a:pt x="1" y="1"/>
                        </a:cubicBezTo>
                        <a:cubicBezTo>
                          <a:pt x="1" y="1"/>
                          <a:pt x="229" y="1"/>
                          <a:pt x="267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" name="Freeform 234">
                    <a:extLst>
                      <a:ext uri="{FF2B5EF4-FFF2-40B4-BE49-F238E27FC236}">
                        <a16:creationId xmlns:a16="http://schemas.microsoft.com/office/drawing/2014/main" id="{A3F3FBB6-AAB8-F558-95CD-7C0F97614FF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001250" y="2922588"/>
                    <a:ext cx="79375" cy="60325"/>
                  </a:xfrm>
                  <a:custGeom>
                    <a:avLst/>
                    <a:gdLst>
                      <a:gd name="T0" fmla="*/ 43 w 43"/>
                      <a:gd name="T1" fmla="*/ 20 h 32"/>
                      <a:gd name="T2" fmla="*/ 34 w 43"/>
                      <a:gd name="T3" fmla="*/ 16 h 32"/>
                      <a:gd name="T4" fmla="*/ 26 w 43"/>
                      <a:gd name="T5" fmla="*/ 10 h 32"/>
                      <a:gd name="T6" fmla="*/ 23 w 43"/>
                      <a:gd name="T7" fmla="*/ 7 h 32"/>
                      <a:gd name="T8" fmla="*/ 6 w 43"/>
                      <a:gd name="T9" fmla="*/ 0 h 32"/>
                      <a:gd name="T10" fmla="*/ 7 w 43"/>
                      <a:gd name="T11" fmla="*/ 4 h 32"/>
                      <a:gd name="T12" fmla="*/ 15 w 43"/>
                      <a:gd name="T13" fmla="*/ 9 h 32"/>
                      <a:gd name="T14" fmla="*/ 0 w 43"/>
                      <a:gd name="T15" fmla="*/ 13 h 32"/>
                      <a:gd name="T16" fmla="*/ 2 w 43"/>
                      <a:gd name="T17" fmla="*/ 16 h 32"/>
                      <a:gd name="T18" fmla="*/ 12 w 43"/>
                      <a:gd name="T19" fmla="*/ 15 h 32"/>
                      <a:gd name="T20" fmla="*/ 27 w 43"/>
                      <a:gd name="T21" fmla="*/ 27 h 32"/>
                      <a:gd name="T22" fmla="*/ 24 w 43"/>
                      <a:gd name="T23" fmla="*/ 28 h 32"/>
                      <a:gd name="T24" fmla="*/ 27 w 43"/>
                      <a:gd name="T25" fmla="*/ 32 h 32"/>
                      <a:gd name="T26" fmla="*/ 42 w 43"/>
                      <a:gd name="T27" fmla="*/ 30 h 32"/>
                      <a:gd name="T28" fmla="*/ 43 w 43"/>
                      <a:gd name="T29" fmla="*/ 20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3" h="32">
                        <a:moveTo>
                          <a:pt x="43" y="20"/>
                        </a:moveTo>
                        <a:cubicBezTo>
                          <a:pt x="43" y="20"/>
                          <a:pt x="38" y="18"/>
                          <a:pt x="34" y="16"/>
                        </a:cubicBezTo>
                        <a:cubicBezTo>
                          <a:pt x="30" y="13"/>
                          <a:pt x="26" y="10"/>
                          <a:pt x="26" y="10"/>
                        </a:cubicBezTo>
                        <a:cubicBezTo>
                          <a:pt x="26" y="10"/>
                          <a:pt x="24" y="8"/>
                          <a:pt x="23" y="7"/>
                        </a:cubicBezTo>
                        <a:cubicBezTo>
                          <a:pt x="22" y="7"/>
                          <a:pt x="13" y="3"/>
                          <a:pt x="6" y="0"/>
                        </a:cubicBezTo>
                        <a:cubicBezTo>
                          <a:pt x="5" y="0"/>
                          <a:pt x="6" y="3"/>
                          <a:pt x="7" y="4"/>
                        </a:cubicBezTo>
                        <a:cubicBezTo>
                          <a:pt x="8" y="5"/>
                          <a:pt x="15" y="9"/>
                          <a:pt x="15" y="9"/>
                        </a:cubicBezTo>
                        <a:cubicBezTo>
                          <a:pt x="15" y="9"/>
                          <a:pt x="3" y="12"/>
                          <a:pt x="0" y="13"/>
                        </a:cubicBezTo>
                        <a:cubicBezTo>
                          <a:pt x="0" y="13"/>
                          <a:pt x="1" y="15"/>
                          <a:pt x="2" y="16"/>
                        </a:cubicBezTo>
                        <a:cubicBezTo>
                          <a:pt x="4" y="16"/>
                          <a:pt x="12" y="15"/>
                          <a:pt x="12" y="15"/>
                        </a:cubicBezTo>
                        <a:cubicBezTo>
                          <a:pt x="27" y="27"/>
                          <a:pt x="27" y="27"/>
                          <a:pt x="27" y="27"/>
                        </a:cubicBezTo>
                        <a:cubicBezTo>
                          <a:pt x="24" y="28"/>
                          <a:pt x="24" y="28"/>
                          <a:pt x="24" y="28"/>
                        </a:cubicBezTo>
                        <a:cubicBezTo>
                          <a:pt x="27" y="32"/>
                          <a:pt x="27" y="32"/>
                          <a:pt x="27" y="32"/>
                        </a:cubicBezTo>
                        <a:cubicBezTo>
                          <a:pt x="27" y="32"/>
                          <a:pt x="33" y="32"/>
                          <a:pt x="42" y="30"/>
                        </a:cubicBezTo>
                        <a:lnTo>
                          <a:pt x="43" y="2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54" name="Freeform 180">
                  <a:extLst>
                    <a:ext uri="{FF2B5EF4-FFF2-40B4-BE49-F238E27FC236}">
                      <a16:creationId xmlns:a16="http://schemas.microsoft.com/office/drawing/2014/main" id="{57FAEE95-20AF-0BA0-E8B3-033034D04FE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532353" y="4827346"/>
                  <a:ext cx="357122" cy="260510"/>
                </a:xfrm>
                <a:custGeom>
                  <a:avLst/>
                  <a:gdLst>
                    <a:gd name="T0" fmla="*/ 308 w 354"/>
                    <a:gd name="T1" fmla="*/ 0 h 259"/>
                    <a:gd name="T2" fmla="*/ 300 w 354"/>
                    <a:gd name="T3" fmla="*/ 0 h 259"/>
                    <a:gd name="T4" fmla="*/ 300 w 354"/>
                    <a:gd name="T5" fmla="*/ 14 h 259"/>
                    <a:gd name="T6" fmla="*/ 283 w 354"/>
                    <a:gd name="T7" fmla="*/ 0 h 259"/>
                    <a:gd name="T8" fmla="*/ 283 w 354"/>
                    <a:gd name="T9" fmla="*/ 0 h 259"/>
                    <a:gd name="T10" fmla="*/ 261 w 354"/>
                    <a:gd name="T11" fmla="*/ 0 h 259"/>
                    <a:gd name="T12" fmla="*/ 262 w 354"/>
                    <a:gd name="T13" fmla="*/ 6 h 259"/>
                    <a:gd name="T14" fmla="*/ 277 w 354"/>
                    <a:gd name="T15" fmla="*/ 12 h 259"/>
                    <a:gd name="T16" fmla="*/ 295 w 354"/>
                    <a:gd name="T17" fmla="*/ 36 h 259"/>
                    <a:gd name="T18" fmla="*/ 292 w 354"/>
                    <a:gd name="T19" fmla="*/ 237 h 259"/>
                    <a:gd name="T20" fmla="*/ 182 w 354"/>
                    <a:gd name="T21" fmla="*/ 111 h 259"/>
                    <a:gd name="T22" fmla="*/ 133 w 354"/>
                    <a:gd name="T23" fmla="*/ 84 h 259"/>
                    <a:gd name="T24" fmla="*/ 84 w 354"/>
                    <a:gd name="T25" fmla="*/ 117 h 259"/>
                    <a:gd name="T26" fmla="*/ 0 w 354"/>
                    <a:gd name="T27" fmla="*/ 259 h 259"/>
                    <a:gd name="T28" fmla="*/ 140 w 354"/>
                    <a:gd name="T29" fmla="*/ 259 h 259"/>
                    <a:gd name="T30" fmla="*/ 147 w 354"/>
                    <a:gd name="T31" fmla="*/ 188 h 259"/>
                    <a:gd name="T32" fmla="*/ 230 w 354"/>
                    <a:gd name="T33" fmla="*/ 259 h 259"/>
                    <a:gd name="T34" fmla="*/ 354 w 354"/>
                    <a:gd name="T35" fmla="*/ 259 h 259"/>
                    <a:gd name="T36" fmla="*/ 312 w 354"/>
                    <a:gd name="T37" fmla="*/ 35 h 259"/>
                    <a:gd name="T38" fmla="*/ 312 w 354"/>
                    <a:gd name="T39" fmla="*/ 24 h 259"/>
                    <a:gd name="T40" fmla="*/ 308 w 354"/>
                    <a:gd name="T41" fmla="*/ 0 h 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4" h="259">
                      <a:moveTo>
                        <a:pt x="308" y="0"/>
                      </a:moveTo>
                      <a:cubicBezTo>
                        <a:pt x="300" y="0"/>
                        <a:pt x="300" y="0"/>
                        <a:pt x="300" y="0"/>
                      </a:cubicBezTo>
                      <a:cubicBezTo>
                        <a:pt x="300" y="14"/>
                        <a:pt x="300" y="14"/>
                        <a:pt x="300" y="14"/>
                      </a:cubicBezTo>
                      <a:cubicBezTo>
                        <a:pt x="300" y="14"/>
                        <a:pt x="288" y="0"/>
                        <a:pt x="283" y="0"/>
                      </a:cubicBezTo>
                      <a:cubicBezTo>
                        <a:pt x="283" y="0"/>
                        <a:pt x="283" y="0"/>
                        <a:pt x="283" y="0"/>
                      </a:cubicBezTo>
                      <a:cubicBezTo>
                        <a:pt x="279" y="0"/>
                        <a:pt x="261" y="0"/>
                        <a:pt x="261" y="0"/>
                      </a:cubicBezTo>
                      <a:cubicBezTo>
                        <a:pt x="261" y="0"/>
                        <a:pt x="258" y="5"/>
                        <a:pt x="262" y="6"/>
                      </a:cubicBezTo>
                      <a:cubicBezTo>
                        <a:pt x="263" y="6"/>
                        <a:pt x="273" y="10"/>
                        <a:pt x="277" y="12"/>
                      </a:cubicBezTo>
                      <a:cubicBezTo>
                        <a:pt x="295" y="36"/>
                        <a:pt x="295" y="36"/>
                        <a:pt x="295" y="36"/>
                      </a:cubicBezTo>
                      <a:cubicBezTo>
                        <a:pt x="292" y="237"/>
                        <a:pt x="292" y="237"/>
                        <a:pt x="292" y="237"/>
                      </a:cubicBezTo>
                      <a:cubicBezTo>
                        <a:pt x="241" y="180"/>
                        <a:pt x="189" y="121"/>
                        <a:pt x="182" y="111"/>
                      </a:cubicBezTo>
                      <a:cubicBezTo>
                        <a:pt x="174" y="99"/>
                        <a:pt x="155" y="84"/>
                        <a:pt x="133" y="84"/>
                      </a:cubicBezTo>
                      <a:cubicBezTo>
                        <a:pt x="117" y="84"/>
                        <a:pt x="99" y="93"/>
                        <a:pt x="84" y="117"/>
                      </a:cubicBezTo>
                      <a:cubicBezTo>
                        <a:pt x="61" y="155"/>
                        <a:pt x="26" y="213"/>
                        <a:pt x="0" y="259"/>
                      </a:cubicBezTo>
                      <a:cubicBezTo>
                        <a:pt x="140" y="259"/>
                        <a:pt x="140" y="259"/>
                        <a:pt x="140" y="259"/>
                      </a:cubicBezTo>
                      <a:cubicBezTo>
                        <a:pt x="144" y="231"/>
                        <a:pt x="146" y="205"/>
                        <a:pt x="147" y="188"/>
                      </a:cubicBezTo>
                      <a:cubicBezTo>
                        <a:pt x="230" y="259"/>
                        <a:pt x="230" y="259"/>
                        <a:pt x="230" y="259"/>
                      </a:cubicBezTo>
                      <a:cubicBezTo>
                        <a:pt x="354" y="259"/>
                        <a:pt x="354" y="259"/>
                        <a:pt x="354" y="259"/>
                      </a:cubicBezTo>
                      <a:cubicBezTo>
                        <a:pt x="345" y="166"/>
                        <a:pt x="312" y="35"/>
                        <a:pt x="312" y="35"/>
                      </a:cubicBezTo>
                      <a:cubicBezTo>
                        <a:pt x="312" y="35"/>
                        <a:pt x="313" y="29"/>
                        <a:pt x="312" y="24"/>
                      </a:cubicBezTo>
                      <a:cubicBezTo>
                        <a:pt x="310" y="13"/>
                        <a:pt x="308" y="0"/>
                        <a:pt x="308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11" name="Group 5">
                <a:extLst>
                  <a:ext uri="{FF2B5EF4-FFF2-40B4-BE49-F238E27FC236}">
                    <a16:creationId xmlns:a16="http://schemas.microsoft.com/office/drawing/2014/main" id="{CC6A71FC-0B53-5DC1-965D-0ED4D4E37BBA}"/>
                  </a:ext>
                </a:extLst>
              </p:cNvPr>
              <p:cNvGrpSpPr/>
              <p:nvPr/>
            </p:nvGrpSpPr>
            <p:grpSpPr>
              <a:xfrm>
                <a:off x="3081113" y="3935198"/>
                <a:ext cx="1695948" cy="1162398"/>
                <a:chOff x="3081113" y="3935198"/>
                <a:chExt cx="1695948" cy="1162398"/>
              </a:xfrm>
            </p:grpSpPr>
            <p:grpSp>
              <p:nvGrpSpPr>
                <p:cNvPr id="12" name="Group 1051">
                  <a:extLst>
                    <a:ext uri="{FF2B5EF4-FFF2-40B4-BE49-F238E27FC236}">
                      <a16:creationId xmlns:a16="http://schemas.microsoft.com/office/drawing/2014/main" id="{75CDAA34-E50A-DCA1-C08C-58958AA668C9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096850" y="3935198"/>
                  <a:ext cx="947456" cy="851698"/>
                  <a:chOff x="6978651" y="4723607"/>
                  <a:chExt cx="1931987" cy="1736725"/>
                </a:xfrm>
              </p:grpSpPr>
              <p:sp>
                <p:nvSpPr>
                  <p:cNvPr id="38" name="Freeform 280">
                    <a:extLst>
                      <a:ext uri="{FF2B5EF4-FFF2-40B4-BE49-F238E27FC236}">
                        <a16:creationId xmlns:a16="http://schemas.microsoft.com/office/drawing/2014/main" id="{4406C038-742B-6013-4ABC-D7FF9F78F3C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075488" y="5322095"/>
                    <a:ext cx="139700" cy="82550"/>
                  </a:xfrm>
                  <a:custGeom>
                    <a:avLst/>
                    <a:gdLst>
                      <a:gd name="T0" fmla="*/ 71 w 71"/>
                      <a:gd name="T1" fmla="*/ 40 h 42"/>
                      <a:gd name="T2" fmla="*/ 60 w 71"/>
                      <a:gd name="T3" fmla="*/ 42 h 42"/>
                      <a:gd name="T4" fmla="*/ 47 w 71"/>
                      <a:gd name="T5" fmla="*/ 39 h 42"/>
                      <a:gd name="T6" fmla="*/ 42 w 71"/>
                      <a:gd name="T7" fmla="*/ 33 h 42"/>
                      <a:gd name="T8" fmla="*/ 45 w 71"/>
                      <a:gd name="T9" fmla="*/ 31 h 42"/>
                      <a:gd name="T10" fmla="*/ 19 w 71"/>
                      <a:gd name="T11" fmla="*/ 13 h 42"/>
                      <a:gd name="T12" fmla="*/ 4 w 71"/>
                      <a:gd name="T13" fmla="*/ 14 h 42"/>
                      <a:gd name="T14" fmla="*/ 1 w 71"/>
                      <a:gd name="T15" fmla="*/ 11 h 42"/>
                      <a:gd name="T16" fmla="*/ 21 w 71"/>
                      <a:gd name="T17" fmla="*/ 5 h 42"/>
                      <a:gd name="T18" fmla="*/ 35 w 71"/>
                      <a:gd name="T19" fmla="*/ 2 h 42"/>
                      <a:gd name="T20" fmla="*/ 40 w 71"/>
                      <a:gd name="T21" fmla="*/ 6 h 42"/>
                      <a:gd name="T22" fmla="*/ 68 w 71"/>
                      <a:gd name="T23" fmla="*/ 21 h 42"/>
                      <a:gd name="T24" fmla="*/ 71 w 71"/>
                      <a:gd name="T25" fmla="*/ 40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71" h="42">
                        <a:moveTo>
                          <a:pt x="71" y="40"/>
                        </a:moveTo>
                        <a:cubicBezTo>
                          <a:pt x="71" y="40"/>
                          <a:pt x="63" y="42"/>
                          <a:pt x="60" y="42"/>
                        </a:cubicBezTo>
                        <a:cubicBezTo>
                          <a:pt x="49" y="42"/>
                          <a:pt x="47" y="39"/>
                          <a:pt x="47" y="39"/>
                        </a:cubicBezTo>
                        <a:cubicBezTo>
                          <a:pt x="42" y="33"/>
                          <a:pt x="42" y="33"/>
                          <a:pt x="42" y="33"/>
                        </a:cubicBezTo>
                        <a:cubicBezTo>
                          <a:pt x="45" y="31"/>
                          <a:pt x="45" y="31"/>
                          <a:pt x="45" y="31"/>
                        </a:cubicBezTo>
                        <a:cubicBezTo>
                          <a:pt x="19" y="13"/>
                          <a:pt x="19" y="13"/>
                          <a:pt x="19" y="13"/>
                        </a:cubicBezTo>
                        <a:cubicBezTo>
                          <a:pt x="19" y="13"/>
                          <a:pt x="6" y="15"/>
                          <a:pt x="4" y="14"/>
                        </a:cubicBezTo>
                        <a:cubicBezTo>
                          <a:pt x="2" y="14"/>
                          <a:pt x="0" y="11"/>
                          <a:pt x="1" y="11"/>
                        </a:cubicBezTo>
                        <a:cubicBezTo>
                          <a:pt x="5" y="9"/>
                          <a:pt x="21" y="5"/>
                          <a:pt x="21" y="5"/>
                        </a:cubicBezTo>
                        <a:cubicBezTo>
                          <a:pt x="21" y="5"/>
                          <a:pt x="32" y="0"/>
                          <a:pt x="35" y="2"/>
                        </a:cubicBezTo>
                        <a:cubicBezTo>
                          <a:pt x="38" y="3"/>
                          <a:pt x="40" y="6"/>
                          <a:pt x="40" y="6"/>
                        </a:cubicBezTo>
                        <a:cubicBezTo>
                          <a:pt x="68" y="21"/>
                          <a:pt x="68" y="21"/>
                          <a:pt x="68" y="21"/>
                        </a:cubicBezTo>
                        <a:lnTo>
                          <a:pt x="71" y="4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" name="Freeform 281">
                    <a:extLst>
                      <a:ext uri="{FF2B5EF4-FFF2-40B4-BE49-F238E27FC236}">
                        <a16:creationId xmlns:a16="http://schemas.microsoft.com/office/drawing/2014/main" id="{3E8B484C-A8FC-EC85-DF59-045CC2F4094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978651" y="4955382"/>
                    <a:ext cx="785813" cy="319088"/>
                  </a:xfrm>
                  <a:custGeom>
                    <a:avLst/>
                    <a:gdLst>
                      <a:gd name="T0" fmla="*/ 400 w 400"/>
                      <a:gd name="T1" fmla="*/ 96 h 163"/>
                      <a:gd name="T2" fmla="*/ 199 w 400"/>
                      <a:gd name="T3" fmla="*/ 146 h 163"/>
                      <a:gd name="T4" fmla="*/ 21 w 400"/>
                      <a:gd name="T5" fmla="*/ 163 h 163"/>
                      <a:gd name="T6" fmla="*/ 0 w 400"/>
                      <a:gd name="T7" fmla="*/ 142 h 163"/>
                      <a:gd name="T8" fmla="*/ 188 w 400"/>
                      <a:gd name="T9" fmla="*/ 100 h 163"/>
                      <a:gd name="T10" fmla="*/ 342 w 400"/>
                      <a:gd name="T11" fmla="*/ 0 h 163"/>
                      <a:gd name="T12" fmla="*/ 400 w 400"/>
                      <a:gd name="T13" fmla="*/ 96 h 1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00" h="163">
                        <a:moveTo>
                          <a:pt x="400" y="96"/>
                        </a:moveTo>
                        <a:cubicBezTo>
                          <a:pt x="400" y="96"/>
                          <a:pt x="268" y="137"/>
                          <a:pt x="199" y="146"/>
                        </a:cubicBezTo>
                        <a:cubicBezTo>
                          <a:pt x="130" y="154"/>
                          <a:pt x="21" y="163"/>
                          <a:pt x="21" y="163"/>
                        </a:cubicBezTo>
                        <a:cubicBezTo>
                          <a:pt x="21" y="163"/>
                          <a:pt x="0" y="151"/>
                          <a:pt x="0" y="142"/>
                        </a:cubicBezTo>
                        <a:cubicBezTo>
                          <a:pt x="59" y="127"/>
                          <a:pt x="141" y="104"/>
                          <a:pt x="188" y="100"/>
                        </a:cubicBezTo>
                        <a:cubicBezTo>
                          <a:pt x="246" y="73"/>
                          <a:pt x="342" y="0"/>
                          <a:pt x="342" y="0"/>
                        </a:cubicBezTo>
                        <a:lnTo>
                          <a:pt x="400" y="96"/>
                        </a:ln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" name="Freeform 282">
                    <a:extLst>
                      <a:ext uri="{FF2B5EF4-FFF2-40B4-BE49-F238E27FC236}">
                        <a16:creationId xmlns:a16="http://schemas.microsoft.com/office/drawing/2014/main" id="{A9B0E9F0-05E1-4B64-54D3-CAEC7B72507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8135938" y="5620545"/>
                    <a:ext cx="774700" cy="719138"/>
                  </a:xfrm>
                  <a:custGeom>
                    <a:avLst/>
                    <a:gdLst>
                      <a:gd name="T0" fmla="*/ 17 w 394"/>
                      <a:gd name="T1" fmla="*/ 40 h 367"/>
                      <a:gd name="T2" fmla="*/ 146 w 394"/>
                      <a:gd name="T3" fmla="*/ 44 h 367"/>
                      <a:gd name="T4" fmla="*/ 173 w 394"/>
                      <a:gd name="T5" fmla="*/ 241 h 367"/>
                      <a:gd name="T6" fmla="*/ 349 w 394"/>
                      <a:gd name="T7" fmla="*/ 73 h 367"/>
                      <a:gd name="T8" fmla="*/ 391 w 394"/>
                      <a:gd name="T9" fmla="*/ 85 h 367"/>
                      <a:gd name="T10" fmla="*/ 206 w 394"/>
                      <a:gd name="T11" fmla="*/ 317 h 367"/>
                      <a:gd name="T12" fmla="*/ 106 w 394"/>
                      <a:gd name="T13" fmla="*/ 306 h 367"/>
                      <a:gd name="T14" fmla="*/ 0 w 394"/>
                      <a:gd name="T15" fmla="*/ 104 h 367"/>
                      <a:gd name="T16" fmla="*/ 17 w 394"/>
                      <a:gd name="T17" fmla="*/ 40 h 3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394" h="367">
                        <a:moveTo>
                          <a:pt x="17" y="40"/>
                        </a:moveTo>
                        <a:cubicBezTo>
                          <a:pt x="17" y="40"/>
                          <a:pt x="130" y="0"/>
                          <a:pt x="146" y="44"/>
                        </a:cubicBezTo>
                        <a:cubicBezTo>
                          <a:pt x="163" y="91"/>
                          <a:pt x="172" y="182"/>
                          <a:pt x="173" y="241"/>
                        </a:cubicBezTo>
                        <a:cubicBezTo>
                          <a:pt x="349" y="73"/>
                          <a:pt x="349" y="73"/>
                          <a:pt x="349" y="73"/>
                        </a:cubicBezTo>
                        <a:cubicBezTo>
                          <a:pt x="349" y="73"/>
                          <a:pt x="394" y="80"/>
                          <a:pt x="391" y="85"/>
                        </a:cubicBezTo>
                        <a:cubicBezTo>
                          <a:pt x="342" y="150"/>
                          <a:pt x="218" y="300"/>
                          <a:pt x="206" y="317"/>
                        </a:cubicBezTo>
                        <a:cubicBezTo>
                          <a:pt x="191" y="337"/>
                          <a:pt x="140" y="367"/>
                          <a:pt x="106" y="306"/>
                        </a:cubicBezTo>
                        <a:cubicBezTo>
                          <a:pt x="72" y="246"/>
                          <a:pt x="20" y="143"/>
                          <a:pt x="0" y="104"/>
                        </a:cubicBezTo>
                        <a:cubicBezTo>
                          <a:pt x="151" y="97"/>
                          <a:pt x="17" y="40"/>
                          <a:pt x="17" y="4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" name="Freeform 283">
                    <a:extLst>
                      <a:ext uri="{FF2B5EF4-FFF2-40B4-BE49-F238E27FC236}">
                        <a16:creationId xmlns:a16="http://schemas.microsoft.com/office/drawing/2014/main" id="{EA26A093-7DF7-6359-ADA0-69033EAF17B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6813" y="4979195"/>
                    <a:ext cx="476250" cy="577850"/>
                  </a:xfrm>
                  <a:custGeom>
                    <a:avLst/>
                    <a:gdLst>
                      <a:gd name="T0" fmla="*/ 242 w 242"/>
                      <a:gd name="T1" fmla="*/ 295 h 295"/>
                      <a:gd name="T2" fmla="*/ 171 w 242"/>
                      <a:gd name="T3" fmla="*/ 242 h 295"/>
                      <a:gd name="T4" fmla="*/ 64 w 242"/>
                      <a:gd name="T5" fmla="*/ 159 h 295"/>
                      <a:gd name="T6" fmla="*/ 35 w 242"/>
                      <a:gd name="T7" fmla="*/ 0 h 295"/>
                      <a:gd name="T8" fmla="*/ 242 w 242"/>
                      <a:gd name="T9" fmla="*/ 295 h 2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2" h="295">
                        <a:moveTo>
                          <a:pt x="242" y="295"/>
                        </a:moveTo>
                        <a:cubicBezTo>
                          <a:pt x="242" y="295"/>
                          <a:pt x="196" y="254"/>
                          <a:pt x="171" y="242"/>
                        </a:cubicBezTo>
                        <a:cubicBezTo>
                          <a:pt x="130" y="221"/>
                          <a:pt x="93" y="197"/>
                          <a:pt x="64" y="159"/>
                        </a:cubicBezTo>
                        <a:cubicBezTo>
                          <a:pt x="0" y="74"/>
                          <a:pt x="35" y="0"/>
                          <a:pt x="35" y="0"/>
                        </a:cubicBezTo>
                        <a:cubicBezTo>
                          <a:pt x="242" y="295"/>
                          <a:pt x="242" y="295"/>
                          <a:pt x="242" y="295"/>
                        </a:cubicBezTo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2" name="Freeform 284">
                    <a:extLst>
                      <a:ext uri="{FF2B5EF4-FFF2-40B4-BE49-F238E27FC236}">
                        <a16:creationId xmlns:a16="http://schemas.microsoft.com/office/drawing/2014/main" id="{80167B23-9948-1F7E-0E7E-A1A63D16CBE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66026" y="4920457"/>
                    <a:ext cx="841375" cy="669925"/>
                  </a:xfrm>
                  <a:custGeom>
                    <a:avLst/>
                    <a:gdLst>
                      <a:gd name="T0" fmla="*/ 231 w 428"/>
                      <a:gd name="T1" fmla="*/ 342 h 342"/>
                      <a:gd name="T2" fmla="*/ 52 w 428"/>
                      <a:gd name="T3" fmla="*/ 161 h 342"/>
                      <a:gd name="T4" fmla="*/ 7 w 428"/>
                      <a:gd name="T5" fmla="*/ 36 h 342"/>
                      <a:gd name="T6" fmla="*/ 46 w 428"/>
                      <a:gd name="T7" fmla="*/ 0 h 342"/>
                      <a:gd name="T8" fmla="*/ 238 w 428"/>
                      <a:gd name="T9" fmla="*/ 76 h 342"/>
                      <a:gd name="T10" fmla="*/ 428 w 428"/>
                      <a:gd name="T11" fmla="*/ 295 h 342"/>
                      <a:gd name="T12" fmla="*/ 231 w 428"/>
                      <a:gd name="T13" fmla="*/ 342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28" h="342">
                        <a:moveTo>
                          <a:pt x="231" y="342"/>
                        </a:moveTo>
                        <a:cubicBezTo>
                          <a:pt x="231" y="342"/>
                          <a:pt x="137" y="240"/>
                          <a:pt x="52" y="161"/>
                        </a:cubicBezTo>
                        <a:cubicBezTo>
                          <a:pt x="0" y="114"/>
                          <a:pt x="7" y="36"/>
                          <a:pt x="7" y="36"/>
                        </a:cubicBezTo>
                        <a:cubicBezTo>
                          <a:pt x="7" y="36"/>
                          <a:pt x="26" y="6"/>
                          <a:pt x="46" y="0"/>
                        </a:cubicBezTo>
                        <a:cubicBezTo>
                          <a:pt x="83" y="5"/>
                          <a:pt x="171" y="13"/>
                          <a:pt x="238" y="76"/>
                        </a:cubicBezTo>
                        <a:cubicBezTo>
                          <a:pt x="333" y="166"/>
                          <a:pt x="428" y="295"/>
                          <a:pt x="428" y="295"/>
                        </a:cubicBezTo>
                        <a:cubicBezTo>
                          <a:pt x="231" y="342"/>
                          <a:pt x="231" y="342"/>
                          <a:pt x="231" y="342"/>
                        </a:cubicBezTo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3" name="Freeform 285">
                    <a:extLst>
                      <a:ext uri="{FF2B5EF4-FFF2-40B4-BE49-F238E27FC236}">
                        <a16:creationId xmlns:a16="http://schemas.microsoft.com/office/drawing/2014/main" id="{5A1CC9E0-52C6-5966-DFC1-8251A4B71C2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704138" y="5168107"/>
                    <a:ext cx="355600" cy="409575"/>
                  </a:xfrm>
                  <a:custGeom>
                    <a:avLst/>
                    <a:gdLst>
                      <a:gd name="T0" fmla="*/ 0 w 181"/>
                      <a:gd name="T1" fmla="*/ 0 h 208"/>
                      <a:gd name="T2" fmla="*/ 88 w 181"/>
                      <a:gd name="T3" fmla="*/ 99 h 208"/>
                      <a:gd name="T4" fmla="*/ 164 w 181"/>
                      <a:gd name="T5" fmla="*/ 205 h 208"/>
                      <a:gd name="T6" fmla="*/ 181 w 181"/>
                      <a:gd name="T7" fmla="*/ 208 h 208"/>
                      <a:gd name="T8" fmla="*/ 88 w 181"/>
                      <a:gd name="T9" fmla="*/ 91 h 208"/>
                      <a:gd name="T10" fmla="*/ 0 w 181"/>
                      <a:gd name="T11" fmla="*/ 0 h 2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81" h="208">
                        <a:moveTo>
                          <a:pt x="0" y="0"/>
                        </a:moveTo>
                        <a:cubicBezTo>
                          <a:pt x="0" y="0"/>
                          <a:pt x="35" y="72"/>
                          <a:pt x="88" y="99"/>
                        </a:cubicBezTo>
                        <a:cubicBezTo>
                          <a:pt x="137" y="123"/>
                          <a:pt x="164" y="205"/>
                          <a:pt x="164" y="205"/>
                        </a:cubicBezTo>
                        <a:cubicBezTo>
                          <a:pt x="181" y="208"/>
                          <a:pt x="181" y="208"/>
                          <a:pt x="181" y="208"/>
                        </a:cubicBezTo>
                        <a:cubicBezTo>
                          <a:pt x="181" y="208"/>
                          <a:pt x="140" y="131"/>
                          <a:pt x="88" y="91"/>
                        </a:cubicBezTo>
                        <a:cubicBezTo>
                          <a:pt x="36" y="52"/>
                          <a:pt x="0" y="0"/>
                          <a:pt x="0" y="0"/>
                        </a:cubicBezTo>
                      </a:path>
                    </a:pathLst>
                  </a:custGeom>
                  <a:solidFill>
                    <a:srgbClr val="A0C9DC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4" name="Freeform 286">
                    <a:extLst>
                      <a:ext uri="{FF2B5EF4-FFF2-40B4-BE49-F238E27FC236}">
                        <a16:creationId xmlns:a16="http://schemas.microsoft.com/office/drawing/2014/main" id="{BC864CF6-1421-48A0-9155-9A222F7F858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602538" y="4922045"/>
                    <a:ext cx="82550" cy="117475"/>
                  </a:xfrm>
                  <a:custGeom>
                    <a:avLst/>
                    <a:gdLst>
                      <a:gd name="T0" fmla="*/ 36 w 42"/>
                      <a:gd name="T1" fmla="*/ 0 h 60"/>
                      <a:gd name="T2" fmla="*/ 42 w 42"/>
                      <a:gd name="T3" fmla="*/ 4 h 60"/>
                      <a:gd name="T4" fmla="*/ 36 w 42"/>
                      <a:gd name="T5" fmla="*/ 52 h 60"/>
                      <a:gd name="T6" fmla="*/ 0 w 42"/>
                      <a:gd name="T7" fmla="*/ 47 h 60"/>
                      <a:gd name="T8" fmla="*/ 36 w 42"/>
                      <a:gd name="T9" fmla="*/ 0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2" h="60">
                        <a:moveTo>
                          <a:pt x="36" y="0"/>
                        </a:moveTo>
                        <a:cubicBezTo>
                          <a:pt x="42" y="4"/>
                          <a:pt x="42" y="4"/>
                          <a:pt x="42" y="4"/>
                        </a:cubicBezTo>
                        <a:cubicBezTo>
                          <a:pt x="36" y="52"/>
                          <a:pt x="36" y="52"/>
                          <a:pt x="36" y="52"/>
                        </a:cubicBezTo>
                        <a:cubicBezTo>
                          <a:pt x="36" y="52"/>
                          <a:pt x="23" y="60"/>
                          <a:pt x="0" y="47"/>
                        </a:cubicBezTo>
                        <a:cubicBezTo>
                          <a:pt x="21" y="35"/>
                          <a:pt x="36" y="0"/>
                          <a:pt x="36" y="0"/>
                        </a:cubicBezTo>
                        <a:close/>
                      </a:path>
                    </a:pathLst>
                  </a:custGeom>
                  <a:solidFill>
                    <a:srgbClr val="1D99B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5" name="Freeform 287">
                    <a:extLst>
                      <a:ext uri="{FF2B5EF4-FFF2-40B4-BE49-F238E27FC236}">
                        <a16:creationId xmlns:a16="http://schemas.microsoft.com/office/drawing/2014/main" id="{BAB20215-836D-A63E-A2D4-BEDC99FA6CA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89838" y="5015707"/>
                    <a:ext cx="503238" cy="488950"/>
                  </a:xfrm>
                  <a:custGeom>
                    <a:avLst/>
                    <a:gdLst>
                      <a:gd name="T0" fmla="*/ 6 w 256"/>
                      <a:gd name="T1" fmla="*/ 0 h 249"/>
                      <a:gd name="T2" fmla="*/ 0 w 256"/>
                      <a:gd name="T3" fmla="*/ 10 h 249"/>
                      <a:gd name="T4" fmla="*/ 10 w 256"/>
                      <a:gd name="T5" fmla="*/ 24 h 249"/>
                      <a:gd name="T6" fmla="*/ 37 w 256"/>
                      <a:gd name="T7" fmla="*/ 123 h 249"/>
                      <a:gd name="T8" fmla="*/ 222 w 256"/>
                      <a:gd name="T9" fmla="*/ 249 h 249"/>
                      <a:gd name="T10" fmla="*/ 256 w 256"/>
                      <a:gd name="T11" fmla="*/ 231 h 249"/>
                      <a:gd name="T12" fmla="*/ 235 w 256"/>
                      <a:gd name="T13" fmla="*/ 193 h 249"/>
                      <a:gd name="T14" fmla="*/ 56 w 256"/>
                      <a:gd name="T15" fmla="*/ 106 h 249"/>
                      <a:gd name="T16" fmla="*/ 18 w 256"/>
                      <a:gd name="T17" fmla="*/ 21 h 249"/>
                      <a:gd name="T18" fmla="*/ 27 w 256"/>
                      <a:gd name="T19" fmla="*/ 6 h 249"/>
                      <a:gd name="T20" fmla="*/ 6 w 256"/>
                      <a:gd name="T21" fmla="*/ 0 h 2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56" h="249">
                        <a:moveTo>
                          <a:pt x="6" y="0"/>
                        </a:moveTo>
                        <a:cubicBezTo>
                          <a:pt x="6" y="0"/>
                          <a:pt x="2" y="4"/>
                          <a:pt x="0" y="10"/>
                        </a:cubicBezTo>
                        <a:cubicBezTo>
                          <a:pt x="3" y="16"/>
                          <a:pt x="10" y="24"/>
                          <a:pt x="10" y="24"/>
                        </a:cubicBezTo>
                        <a:cubicBezTo>
                          <a:pt x="10" y="24"/>
                          <a:pt x="6" y="73"/>
                          <a:pt x="37" y="123"/>
                        </a:cubicBezTo>
                        <a:cubicBezTo>
                          <a:pt x="84" y="200"/>
                          <a:pt x="222" y="249"/>
                          <a:pt x="222" y="249"/>
                        </a:cubicBezTo>
                        <a:cubicBezTo>
                          <a:pt x="256" y="231"/>
                          <a:pt x="256" y="231"/>
                          <a:pt x="256" y="231"/>
                        </a:cubicBezTo>
                        <a:cubicBezTo>
                          <a:pt x="235" y="193"/>
                          <a:pt x="235" y="193"/>
                          <a:pt x="235" y="193"/>
                        </a:cubicBezTo>
                        <a:cubicBezTo>
                          <a:pt x="235" y="193"/>
                          <a:pt x="111" y="175"/>
                          <a:pt x="56" y="106"/>
                        </a:cubicBezTo>
                        <a:cubicBezTo>
                          <a:pt x="18" y="58"/>
                          <a:pt x="18" y="21"/>
                          <a:pt x="18" y="21"/>
                        </a:cubicBezTo>
                        <a:cubicBezTo>
                          <a:pt x="18" y="21"/>
                          <a:pt x="24" y="13"/>
                          <a:pt x="27" y="6"/>
                        </a:cubicBezTo>
                        <a:cubicBezTo>
                          <a:pt x="15" y="5"/>
                          <a:pt x="6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74428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6" name="Freeform 288">
                    <a:extLst>
                      <a:ext uri="{FF2B5EF4-FFF2-40B4-BE49-F238E27FC236}">
                        <a16:creationId xmlns:a16="http://schemas.microsoft.com/office/drawing/2014/main" id="{D2EF149D-8FF0-F275-19F3-6A2B74BC63E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67601" y="4853782"/>
                    <a:ext cx="206375" cy="160338"/>
                  </a:xfrm>
                  <a:custGeom>
                    <a:avLst/>
                    <a:gdLst>
                      <a:gd name="T0" fmla="*/ 105 w 105"/>
                      <a:gd name="T1" fmla="*/ 35 h 82"/>
                      <a:gd name="T2" fmla="*/ 93 w 105"/>
                      <a:gd name="T3" fmla="*/ 22 h 82"/>
                      <a:gd name="T4" fmla="*/ 67 w 105"/>
                      <a:gd name="T5" fmla="*/ 0 h 82"/>
                      <a:gd name="T6" fmla="*/ 54 w 105"/>
                      <a:gd name="T7" fmla="*/ 34 h 82"/>
                      <a:gd name="T8" fmla="*/ 34 w 105"/>
                      <a:gd name="T9" fmla="*/ 55 h 82"/>
                      <a:gd name="T10" fmla="*/ 0 w 105"/>
                      <a:gd name="T11" fmla="*/ 56 h 82"/>
                      <a:gd name="T12" fmla="*/ 69 w 105"/>
                      <a:gd name="T13" fmla="*/ 82 h 82"/>
                      <a:gd name="T14" fmla="*/ 105 w 105"/>
                      <a:gd name="T15" fmla="*/ 35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5" h="82">
                        <a:moveTo>
                          <a:pt x="105" y="35"/>
                        </a:moveTo>
                        <a:cubicBezTo>
                          <a:pt x="99" y="32"/>
                          <a:pt x="93" y="22"/>
                          <a:pt x="93" y="22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67" y="0"/>
                          <a:pt x="57" y="21"/>
                          <a:pt x="54" y="34"/>
                        </a:cubicBezTo>
                        <a:cubicBezTo>
                          <a:pt x="52" y="46"/>
                          <a:pt x="39" y="54"/>
                          <a:pt x="34" y="55"/>
                        </a:cubicBezTo>
                        <a:cubicBezTo>
                          <a:pt x="22" y="56"/>
                          <a:pt x="0" y="56"/>
                          <a:pt x="0" y="56"/>
                        </a:cubicBezTo>
                        <a:cubicBezTo>
                          <a:pt x="0" y="56"/>
                          <a:pt x="50" y="69"/>
                          <a:pt x="69" y="82"/>
                        </a:cubicBezTo>
                        <a:cubicBezTo>
                          <a:pt x="91" y="67"/>
                          <a:pt x="101" y="42"/>
                          <a:pt x="105" y="35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7" name="Freeform 289">
                    <a:extLst>
                      <a:ext uri="{FF2B5EF4-FFF2-40B4-BE49-F238E27FC236}">
                        <a16:creationId xmlns:a16="http://schemas.microsoft.com/office/drawing/2014/main" id="{1847EBE4-58A7-8B28-999F-20623658C3D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50138" y="4755357"/>
                    <a:ext cx="163513" cy="207963"/>
                  </a:xfrm>
                  <a:custGeom>
                    <a:avLst/>
                    <a:gdLst>
                      <a:gd name="T0" fmla="*/ 9 w 83"/>
                      <a:gd name="T1" fmla="*/ 106 h 106"/>
                      <a:gd name="T2" fmla="*/ 47 w 83"/>
                      <a:gd name="T3" fmla="*/ 105 h 106"/>
                      <a:gd name="T4" fmla="*/ 62 w 83"/>
                      <a:gd name="T5" fmla="*/ 91 h 106"/>
                      <a:gd name="T6" fmla="*/ 69 w 83"/>
                      <a:gd name="T7" fmla="*/ 69 h 106"/>
                      <a:gd name="T8" fmla="*/ 78 w 83"/>
                      <a:gd name="T9" fmla="*/ 62 h 106"/>
                      <a:gd name="T10" fmla="*/ 73 w 83"/>
                      <a:gd name="T11" fmla="*/ 48 h 106"/>
                      <a:gd name="T12" fmla="*/ 70 w 83"/>
                      <a:gd name="T13" fmla="*/ 6 h 106"/>
                      <a:gd name="T14" fmla="*/ 50 w 83"/>
                      <a:gd name="T15" fmla="*/ 0 h 106"/>
                      <a:gd name="T16" fmla="*/ 32 w 83"/>
                      <a:gd name="T17" fmla="*/ 10 h 106"/>
                      <a:gd name="T18" fmla="*/ 0 w 83"/>
                      <a:gd name="T19" fmla="*/ 60 h 106"/>
                      <a:gd name="T20" fmla="*/ 4 w 83"/>
                      <a:gd name="T21" fmla="*/ 63 h 106"/>
                      <a:gd name="T22" fmla="*/ 12 w 83"/>
                      <a:gd name="T23" fmla="*/ 65 h 106"/>
                      <a:gd name="T24" fmla="*/ 8 w 83"/>
                      <a:gd name="T25" fmla="*/ 105 h 106"/>
                      <a:gd name="T26" fmla="*/ 9 w 83"/>
                      <a:gd name="T27" fmla="*/ 106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83" h="106">
                        <a:moveTo>
                          <a:pt x="9" y="106"/>
                        </a:moveTo>
                        <a:cubicBezTo>
                          <a:pt x="19" y="106"/>
                          <a:pt x="38" y="106"/>
                          <a:pt x="47" y="105"/>
                        </a:cubicBezTo>
                        <a:cubicBezTo>
                          <a:pt x="60" y="104"/>
                          <a:pt x="62" y="91"/>
                          <a:pt x="62" y="91"/>
                        </a:cubicBezTo>
                        <a:cubicBezTo>
                          <a:pt x="69" y="69"/>
                          <a:pt x="69" y="69"/>
                          <a:pt x="69" y="69"/>
                        </a:cubicBezTo>
                        <a:cubicBezTo>
                          <a:pt x="69" y="69"/>
                          <a:pt x="74" y="67"/>
                          <a:pt x="78" y="62"/>
                        </a:cubicBezTo>
                        <a:cubicBezTo>
                          <a:pt x="80" y="60"/>
                          <a:pt x="83" y="52"/>
                          <a:pt x="73" y="48"/>
                        </a:cubicBezTo>
                        <a:cubicBezTo>
                          <a:pt x="58" y="42"/>
                          <a:pt x="70" y="6"/>
                          <a:pt x="70" y="6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32" y="10"/>
                          <a:pt x="32" y="10"/>
                          <a:pt x="32" y="10"/>
                        </a:cubicBez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0" y="60"/>
                          <a:pt x="0" y="63"/>
                          <a:pt x="4" y="63"/>
                        </a:cubicBezTo>
                        <a:cubicBezTo>
                          <a:pt x="7" y="63"/>
                          <a:pt x="12" y="65"/>
                          <a:pt x="12" y="65"/>
                        </a:cubicBezTo>
                        <a:cubicBezTo>
                          <a:pt x="12" y="65"/>
                          <a:pt x="8" y="102"/>
                          <a:pt x="8" y="105"/>
                        </a:cubicBezTo>
                        <a:cubicBezTo>
                          <a:pt x="8" y="106"/>
                          <a:pt x="9" y="106"/>
                          <a:pt x="9" y="106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8" name="Freeform 290">
                    <a:extLst>
                      <a:ext uri="{FF2B5EF4-FFF2-40B4-BE49-F238E27FC236}">
                        <a16:creationId xmlns:a16="http://schemas.microsoft.com/office/drawing/2014/main" id="{77CFF80E-A9AC-24F7-16B0-33CA3FD8D01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91413" y="4823620"/>
                    <a:ext cx="33338" cy="17463"/>
                  </a:xfrm>
                  <a:custGeom>
                    <a:avLst/>
                    <a:gdLst>
                      <a:gd name="T0" fmla="*/ 1 w 17"/>
                      <a:gd name="T1" fmla="*/ 6 h 9"/>
                      <a:gd name="T2" fmla="*/ 4 w 17"/>
                      <a:gd name="T3" fmla="*/ 9 h 9"/>
                      <a:gd name="T4" fmla="*/ 15 w 17"/>
                      <a:gd name="T5" fmla="*/ 8 h 9"/>
                      <a:gd name="T6" fmla="*/ 2 w 17"/>
                      <a:gd name="T7" fmla="*/ 2 h 9"/>
                      <a:gd name="T8" fmla="*/ 1 w 17"/>
                      <a:gd name="T9" fmla="*/ 6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7" h="9">
                        <a:moveTo>
                          <a:pt x="1" y="6"/>
                        </a:moveTo>
                        <a:cubicBezTo>
                          <a:pt x="1" y="9"/>
                          <a:pt x="1" y="9"/>
                          <a:pt x="4" y="9"/>
                        </a:cubicBezTo>
                        <a:cubicBezTo>
                          <a:pt x="7" y="9"/>
                          <a:pt x="17" y="9"/>
                          <a:pt x="15" y="8"/>
                        </a:cubicBezTo>
                        <a:cubicBezTo>
                          <a:pt x="14" y="8"/>
                          <a:pt x="10" y="6"/>
                          <a:pt x="2" y="2"/>
                        </a:cubicBezTo>
                        <a:cubicBezTo>
                          <a:pt x="0" y="0"/>
                          <a:pt x="1" y="3"/>
                          <a:pt x="1" y="6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" name="Freeform 291">
                    <a:extLst>
                      <a:ext uri="{FF2B5EF4-FFF2-40B4-BE49-F238E27FC236}">
                        <a16:creationId xmlns:a16="http://schemas.microsoft.com/office/drawing/2014/main" id="{4C85C7BB-AE63-B883-187D-0086D7F0F3C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07288" y="4723607"/>
                    <a:ext cx="157163" cy="173038"/>
                  </a:xfrm>
                  <a:custGeom>
                    <a:avLst/>
                    <a:gdLst>
                      <a:gd name="T0" fmla="*/ 76 w 80"/>
                      <a:gd name="T1" fmla="*/ 31 h 88"/>
                      <a:gd name="T2" fmla="*/ 1 w 80"/>
                      <a:gd name="T3" fmla="*/ 14 h 88"/>
                      <a:gd name="T4" fmla="*/ 3 w 80"/>
                      <a:gd name="T5" fmla="*/ 26 h 88"/>
                      <a:gd name="T6" fmla="*/ 31 w 80"/>
                      <a:gd name="T7" fmla="*/ 35 h 88"/>
                      <a:gd name="T8" fmla="*/ 27 w 80"/>
                      <a:gd name="T9" fmla="*/ 78 h 88"/>
                      <a:gd name="T10" fmla="*/ 47 w 80"/>
                      <a:gd name="T11" fmla="*/ 66 h 88"/>
                      <a:gd name="T12" fmla="*/ 74 w 80"/>
                      <a:gd name="T13" fmla="*/ 88 h 88"/>
                      <a:gd name="T14" fmla="*/ 76 w 80"/>
                      <a:gd name="T15" fmla="*/ 31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0" h="88">
                        <a:moveTo>
                          <a:pt x="76" y="31"/>
                        </a:moveTo>
                        <a:cubicBezTo>
                          <a:pt x="26" y="2"/>
                          <a:pt x="6" y="0"/>
                          <a:pt x="1" y="14"/>
                        </a:cubicBezTo>
                        <a:cubicBezTo>
                          <a:pt x="0" y="17"/>
                          <a:pt x="0" y="22"/>
                          <a:pt x="3" y="26"/>
                        </a:cubicBezTo>
                        <a:cubicBezTo>
                          <a:pt x="19" y="24"/>
                          <a:pt x="35" y="24"/>
                          <a:pt x="31" y="35"/>
                        </a:cubicBezTo>
                        <a:cubicBezTo>
                          <a:pt x="30" y="39"/>
                          <a:pt x="13" y="76"/>
                          <a:pt x="27" y="78"/>
                        </a:cubicBezTo>
                        <a:cubicBezTo>
                          <a:pt x="30" y="73"/>
                          <a:pt x="37" y="60"/>
                          <a:pt x="47" y="66"/>
                        </a:cubicBezTo>
                        <a:cubicBezTo>
                          <a:pt x="53" y="69"/>
                          <a:pt x="47" y="83"/>
                          <a:pt x="74" y="88"/>
                        </a:cubicBezTo>
                        <a:cubicBezTo>
                          <a:pt x="76" y="66"/>
                          <a:pt x="80" y="39"/>
                          <a:pt x="76" y="31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" name="Freeform 292">
                    <a:extLst>
                      <a:ext uri="{FF2B5EF4-FFF2-40B4-BE49-F238E27FC236}">
                        <a16:creationId xmlns:a16="http://schemas.microsoft.com/office/drawing/2014/main" id="{DCC24D35-9F59-3BC6-C025-E64A6637589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215188" y="4896645"/>
                    <a:ext cx="711200" cy="517525"/>
                  </a:xfrm>
                  <a:custGeom>
                    <a:avLst/>
                    <a:gdLst>
                      <a:gd name="T0" fmla="*/ 339 w 362"/>
                      <a:gd name="T1" fmla="*/ 123 h 264"/>
                      <a:gd name="T2" fmla="*/ 256 w 362"/>
                      <a:gd name="T3" fmla="*/ 236 h 264"/>
                      <a:gd name="T4" fmla="*/ 191 w 362"/>
                      <a:gd name="T5" fmla="*/ 262 h 264"/>
                      <a:gd name="T6" fmla="*/ 3 w 362"/>
                      <a:gd name="T7" fmla="*/ 259 h 264"/>
                      <a:gd name="T8" fmla="*/ 0 w 362"/>
                      <a:gd name="T9" fmla="*/ 236 h 264"/>
                      <a:gd name="T10" fmla="*/ 200 w 362"/>
                      <a:gd name="T11" fmla="*/ 220 h 264"/>
                      <a:gd name="T12" fmla="*/ 268 w 362"/>
                      <a:gd name="T13" fmla="*/ 58 h 264"/>
                      <a:gd name="T14" fmla="*/ 339 w 362"/>
                      <a:gd name="T15" fmla="*/ 123 h 2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62" h="264">
                        <a:moveTo>
                          <a:pt x="339" y="123"/>
                        </a:moveTo>
                        <a:cubicBezTo>
                          <a:pt x="316" y="156"/>
                          <a:pt x="262" y="228"/>
                          <a:pt x="256" y="236"/>
                        </a:cubicBezTo>
                        <a:cubicBezTo>
                          <a:pt x="249" y="243"/>
                          <a:pt x="241" y="262"/>
                          <a:pt x="191" y="262"/>
                        </a:cubicBezTo>
                        <a:cubicBezTo>
                          <a:pt x="126" y="264"/>
                          <a:pt x="3" y="259"/>
                          <a:pt x="3" y="259"/>
                        </a:cubicBezTo>
                        <a:cubicBezTo>
                          <a:pt x="3" y="259"/>
                          <a:pt x="1" y="247"/>
                          <a:pt x="0" y="236"/>
                        </a:cubicBezTo>
                        <a:cubicBezTo>
                          <a:pt x="71" y="229"/>
                          <a:pt x="200" y="220"/>
                          <a:pt x="200" y="220"/>
                        </a:cubicBezTo>
                        <a:cubicBezTo>
                          <a:pt x="200" y="220"/>
                          <a:pt x="250" y="92"/>
                          <a:pt x="268" y="58"/>
                        </a:cubicBezTo>
                        <a:cubicBezTo>
                          <a:pt x="315" y="0"/>
                          <a:pt x="362" y="89"/>
                          <a:pt x="339" y="123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" name="Freeform 293">
                    <a:extLst>
                      <a:ext uri="{FF2B5EF4-FFF2-40B4-BE49-F238E27FC236}">
                        <a16:creationId xmlns:a16="http://schemas.microsoft.com/office/drawing/2014/main" id="{8C9B4BB7-2702-6CE6-2553-7ECDCE2D622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426326" y="6409532"/>
                    <a:ext cx="142875" cy="50800"/>
                  </a:xfrm>
                  <a:custGeom>
                    <a:avLst/>
                    <a:gdLst>
                      <a:gd name="T0" fmla="*/ 72 w 72"/>
                      <a:gd name="T1" fmla="*/ 4 h 26"/>
                      <a:gd name="T2" fmla="*/ 72 w 72"/>
                      <a:gd name="T3" fmla="*/ 26 h 26"/>
                      <a:gd name="T4" fmla="*/ 53 w 72"/>
                      <a:gd name="T5" fmla="*/ 26 h 26"/>
                      <a:gd name="T6" fmla="*/ 53 w 72"/>
                      <a:gd name="T7" fmla="*/ 18 h 26"/>
                      <a:gd name="T8" fmla="*/ 27 w 72"/>
                      <a:gd name="T9" fmla="*/ 26 h 26"/>
                      <a:gd name="T10" fmla="*/ 3 w 72"/>
                      <a:gd name="T11" fmla="*/ 25 h 26"/>
                      <a:gd name="T12" fmla="*/ 4 w 72"/>
                      <a:gd name="T13" fmla="*/ 20 h 26"/>
                      <a:gd name="T14" fmla="*/ 29 w 72"/>
                      <a:gd name="T15" fmla="*/ 13 h 26"/>
                      <a:gd name="T16" fmla="*/ 48 w 72"/>
                      <a:gd name="T17" fmla="*/ 0 h 26"/>
                      <a:gd name="T18" fmla="*/ 72 w 72"/>
                      <a:gd name="T19" fmla="*/ 4 h 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2" h="26">
                        <a:moveTo>
                          <a:pt x="72" y="4"/>
                        </a:moveTo>
                        <a:cubicBezTo>
                          <a:pt x="72" y="26"/>
                          <a:pt x="72" y="26"/>
                          <a:pt x="72" y="26"/>
                        </a:cubicBez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18"/>
                          <a:pt x="53" y="18"/>
                          <a:pt x="53" y="18"/>
                        </a:cubicBezTo>
                        <a:cubicBezTo>
                          <a:pt x="27" y="26"/>
                          <a:pt x="27" y="26"/>
                          <a:pt x="27" y="26"/>
                        </a:cubicBezTo>
                        <a:cubicBezTo>
                          <a:pt x="3" y="25"/>
                          <a:pt x="3" y="25"/>
                          <a:pt x="3" y="25"/>
                        </a:cubicBezTo>
                        <a:cubicBezTo>
                          <a:pt x="3" y="25"/>
                          <a:pt x="0" y="21"/>
                          <a:pt x="4" y="20"/>
                        </a:cubicBezTo>
                        <a:cubicBezTo>
                          <a:pt x="5" y="20"/>
                          <a:pt x="29" y="13"/>
                          <a:pt x="29" y="13"/>
                        </a:cubicBezTo>
                        <a:cubicBezTo>
                          <a:pt x="48" y="0"/>
                          <a:pt x="48" y="0"/>
                          <a:pt x="48" y="0"/>
                        </a:cubicBezTo>
                        <a:lnTo>
                          <a:pt x="72" y="4"/>
                        </a:lnTo>
                        <a:close/>
                      </a:path>
                    </a:pathLst>
                  </a:custGeom>
                  <a:solidFill>
                    <a:srgbClr val="17235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Freeform 294">
                    <a:extLst>
                      <a:ext uri="{FF2B5EF4-FFF2-40B4-BE49-F238E27FC236}">
                        <a16:creationId xmlns:a16="http://schemas.microsoft.com/office/drawing/2014/main" id="{3962B1A0-547B-FD93-07B1-3315CAD0240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512051" y="5498307"/>
                    <a:ext cx="1069975" cy="912813"/>
                  </a:xfrm>
                  <a:custGeom>
                    <a:avLst/>
                    <a:gdLst>
                      <a:gd name="T0" fmla="*/ 4 w 545"/>
                      <a:gd name="T1" fmla="*/ 465 h 465"/>
                      <a:gd name="T2" fmla="*/ 0 w 545"/>
                      <a:gd name="T3" fmla="*/ 147 h 465"/>
                      <a:gd name="T4" fmla="*/ 0 w 545"/>
                      <a:gd name="T5" fmla="*/ 147 h 465"/>
                      <a:gd name="T6" fmla="*/ 51 w 545"/>
                      <a:gd name="T7" fmla="*/ 77 h 465"/>
                      <a:gd name="T8" fmla="*/ 456 w 545"/>
                      <a:gd name="T9" fmla="*/ 0 h 465"/>
                      <a:gd name="T10" fmla="*/ 313 w 545"/>
                      <a:gd name="T11" fmla="*/ 160 h 465"/>
                      <a:gd name="T12" fmla="*/ 83 w 545"/>
                      <a:gd name="T13" fmla="*/ 160 h 465"/>
                      <a:gd name="T14" fmla="*/ 38 w 545"/>
                      <a:gd name="T15" fmla="*/ 463 h 465"/>
                      <a:gd name="T16" fmla="*/ 4 w 545"/>
                      <a:gd name="T17" fmla="*/ 465 h 4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545" h="465">
                        <a:moveTo>
                          <a:pt x="4" y="465"/>
                        </a:move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0" y="147"/>
                          <a:pt x="0" y="147"/>
                          <a:pt x="0" y="147"/>
                        </a:cubicBezTo>
                        <a:cubicBezTo>
                          <a:pt x="3" y="93"/>
                          <a:pt x="38" y="80"/>
                          <a:pt x="51" y="77"/>
                        </a:cubicBezTo>
                        <a:cubicBezTo>
                          <a:pt x="64" y="74"/>
                          <a:pt x="456" y="0"/>
                          <a:pt x="456" y="0"/>
                        </a:cubicBezTo>
                        <a:cubicBezTo>
                          <a:pt x="456" y="0"/>
                          <a:pt x="545" y="149"/>
                          <a:pt x="313" y="160"/>
                        </a:cubicBezTo>
                        <a:cubicBezTo>
                          <a:pt x="255" y="163"/>
                          <a:pt x="234" y="154"/>
                          <a:pt x="83" y="160"/>
                        </a:cubicBezTo>
                        <a:cubicBezTo>
                          <a:pt x="113" y="217"/>
                          <a:pt x="38" y="463"/>
                          <a:pt x="38" y="463"/>
                        </a:cubicBezTo>
                        <a:lnTo>
                          <a:pt x="4" y="465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3" name="Group 1028">
                  <a:extLst>
                    <a:ext uri="{FF2B5EF4-FFF2-40B4-BE49-F238E27FC236}">
                      <a16:creationId xmlns:a16="http://schemas.microsoft.com/office/drawing/2014/main" id="{3D8497D7-5F3C-8692-CB1A-69B4FB2FCE55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3683568" y="4089209"/>
                  <a:ext cx="936299" cy="705312"/>
                  <a:chOff x="9990467" y="4838701"/>
                  <a:chExt cx="1203326" cy="906463"/>
                </a:xfrm>
              </p:grpSpPr>
              <p:sp>
                <p:nvSpPr>
                  <p:cNvPr id="17" name="Freeform 277">
                    <a:extLst>
                      <a:ext uri="{FF2B5EF4-FFF2-40B4-BE49-F238E27FC236}">
                        <a16:creationId xmlns:a16="http://schemas.microsoft.com/office/drawing/2014/main" id="{BDC69A1C-26FF-2FC0-1514-0E615A2F74E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9990467" y="4922838"/>
                    <a:ext cx="176213" cy="80963"/>
                  </a:xfrm>
                  <a:custGeom>
                    <a:avLst/>
                    <a:gdLst>
                      <a:gd name="T0" fmla="*/ 37 w 89"/>
                      <a:gd name="T1" fmla="*/ 27 h 42"/>
                      <a:gd name="T2" fmla="*/ 13 w 89"/>
                      <a:gd name="T3" fmla="*/ 29 h 42"/>
                      <a:gd name="T4" fmla="*/ 17 w 89"/>
                      <a:gd name="T5" fmla="*/ 24 h 42"/>
                      <a:gd name="T6" fmla="*/ 24 w 89"/>
                      <a:gd name="T7" fmla="*/ 21 h 42"/>
                      <a:gd name="T8" fmla="*/ 10 w 89"/>
                      <a:gd name="T9" fmla="*/ 8 h 42"/>
                      <a:gd name="T10" fmla="*/ 6 w 89"/>
                      <a:gd name="T11" fmla="*/ 8 h 42"/>
                      <a:gd name="T12" fmla="*/ 3 w 89"/>
                      <a:gd name="T13" fmla="*/ 5 h 42"/>
                      <a:gd name="T14" fmla="*/ 10 w 89"/>
                      <a:gd name="T15" fmla="*/ 4 h 42"/>
                      <a:gd name="T16" fmla="*/ 2 w 89"/>
                      <a:gd name="T17" fmla="*/ 3 h 42"/>
                      <a:gd name="T18" fmla="*/ 1 w 89"/>
                      <a:gd name="T19" fmla="*/ 0 h 42"/>
                      <a:gd name="T20" fmla="*/ 18 w 89"/>
                      <a:gd name="T21" fmla="*/ 1 h 42"/>
                      <a:gd name="T22" fmla="*/ 37 w 89"/>
                      <a:gd name="T23" fmla="*/ 16 h 42"/>
                      <a:gd name="T24" fmla="*/ 88 w 89"/>
                      <a:gd name="T25" fmla="*/ 24 h 42"/>
                      <a:gd name="T26" fmla="*/ 84 w 89"/>
                      <a:gd name="T27" fmla="*/ 42 h 42"/>
                      <a:gd name="T28" fmla="*/ 37 w 89"/>
                      <a:gd name="T29" fmla="*/ 27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89" h="42">
                        <a:moveTo>
                          <a:pt x="37" y="27"/>
                        </a:moveTo>
                        <a:cubicBezTo>
                          <a:pt x="28" y="27"/>
                          <a:pt x="13" y="29"/>
                          <a:pt x="13" y="29"/>
                        </a:cubicBezTo>
                        <a:cubicBezTo>
                          <a:pt x="13" y="29"/>
                          <a:pt x="14" y="24"/>
                          <a:pt x="17" y="24"/>
                        </a:cubicBezTo>
                        <a:cubicBezTo>
                          <a:pt x="23" y="23"/>
                          <a:pt x="24" y="21"/>
                          <a:pt x="24" y="21"/>
                        </a:cubicBezTo>
                        <a:cubicBezTo>
                          <a:pt x="10" y="8"/>
                          <a:pt x="10" y="8"/>
                          <a:pt x="10" y="8"/>
                        </a:cubicBezTo>
                        <a:cubicBezTo>
                          <a:pt x="6" y="8"/>
                          <a:pt x="6" y="8"/>
                          <a:pt x="6" y="8"/>
                        </a:cubicBezTo>
                        <a:cubicBezTo>
                          <a:pt x="3" y="5"/>
                          <a:pt x="3" y="5"/>
                          <a:pt x="3" y="5"/>
                        </a:cubicBezTo>
                        <a:cubicBezTo>
                          <a:pt x="10" y="4"/>
                          <a:pt x="10" y="4"/>
                          <a:pt x="10" y="4"/>
                        </a:cubicBezTo>
                        <a:cubicBezTo>
                          <a:pt x="10" y="4"/>
                          <a:pt x="3" y="4"/>
                          <a:pt x="2" y="3"/>
                        </a:cubicBezTo>
                        <a:cubicBezTo>
                          <a:pt x="1" y="2"/>
                          <a:pt x="0" y="0"/>
                          <a:pt x="1" y="0"/>
                        </a:cubicBezTo>
                        <a:cubicBezTo>
                          <a:pt x="9" y="0"/>
                          <a:pt x="17" y="0"/>
                          <a:pt x="18" y="1"/>
                        </a:cubicBezTo>
                        <a:cubicBezTo>
                          <a:pt x="20" y="2"/>
                          <a:pt x="37" y="16"/>
                          <a:pt x="37" y="16"/>
                        </a:cubicBezTo>
                        <a:cubicBezTo>
                          <a:pt x="88" y="24"/>
                          <a:pt x="88" y="24"/>
                          <a:pt x="88" y="24"/>
                        </a:cubicBezTo>
                        <a:cubicBezTo>
                          <a:pt x="88" y="24"/>
                          <a:pt x="89" y="34"/>
                          <a:pt x="84" y="42"/>
                        </a:cubicBezTo>
                        <a:cubicBezTo>
                          <a:pt x="84" y="42"/>
                          <a:pt x="37" y="27"/>
                          <a:pt x="37" y="27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" name="Freeform 220">
                    <a:extLst>
                      <a:ext uri="{FF2B5EF4-FFF2-40B4-BE49-F238E27FC236}">
                        <a16:creationId xmlns:a16="http://schemas.microsoft.com/office/drawing/2014/main" id="{2EC6FD2E-6962-CF03-B205-AB434ECB799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00042" y="4918076"/>
                    <a:ext cx="52388" cy="66675"/>
                  </a:xfrm>
                  <a:custGeom>
                    <a:avLst/>
                    <a:gdLst>
                      <a:gd name="T0" fmla="*/ 18 w 28"/>
                      <a:gd name="T1" fmla="*/ 23 h 36"/>
                      <a:gd name="T2" fmla="*/ 24 w 28"/>
                      <a:gd name="T3" fmla="*/ 33 h 36"/>
                      <a:gd name="T4" fmla="*/ 28 w 28"/>
                      <a:gd name="T5" fmla="*/ 33 h 36"/>
                      <a:gd name="T6" fmla="*/ 26 w 28"/>
                      <a:gd name="T7" fmla="*/ 17 h 36"/>
                      <a:gd name="T8" fmla="*/ 15 w 28"/>
                      <a:gd name="T9" fmla="*/ 7 h 36"/>
                      <a:gd name="T10" fmla="*/ 25 w 28"/>
                      <a:gd name="T11" fmla="*/ 6 h 36"/>
                      <a:gd name="T12" fmla="*/ 24 w 28"/>
                      <a:gd name="T13" fmla="*/ 1 h 36"/>
                      <a:gd name="T14" fmla="*/ 7 w 28"/>
                      <a:gd name="T15" fmla="*/ 0 h 36"/>
                      <a:gd name="T16" fmla="*/ 0 w 28"/>
                      <a:gd name="T17" fmla="*/ 1 h 36"/>
                      <a:gd name="T18" fmla="*/ 9 w 28"/>
                      <a:gd name="T19" fmla="*/ 9 h 36"/>
                      <a:gd name="T20" fmla="*/ 18 w 28"/>
                      <a:gd name="T21" fmla="*/ 23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8" h="36">
                        <a:moveTo>
                          <a:pt x="18" y="23"/>
                        </a:moveTo>
                        <a:cubicBezTo>
                          <a:pt x="20" y="26"/>
                          <a:pt x="24" y="32"/>
                          <a:pt x="24" y="33"/>
                        </a:cubicBezTo>
                        <a:cubicBezTo>
                          <a:pt x="25" y="36"/>
                          <a:pt x="28" y="33"/>
                          <a:pt x="28" y="33"/>
                        </a:cubicBezTo>
                        <a:cubicBezTo>
                          <a:pt x="28" y="33"/>
                          <a:pt x="27" y="20"/>
                          <a:pt x="26" y="17"/>
                        </a:cubicBezTo>
                        <a:cubicBezTo>
                          <a:pt x="26" y="15"/>
                          <a:pt x="15" y="7"/>
                          <a:pt x="15" y="7"/>
                        </a:cubicBezTo>
                        <a:cubicBezTo>
                          <a:pt x="25" y="6"/>
                          <a:pt x="25" y="6"/>
                          <a:pt x="25" y="6"/>
                        </a:cubicBezTo>
                        <a:cubicBezTo>
                          <a:pt x="24" y="1"/>
                          <a:pt x="24" y="1"/>
                          <a:pt x="24" y="1"/>
                        </a:cubicBezTo>
                        <a:cubicBezTo>
                          <a:pt x="24" y="1"/>
                          <a:pt x="15" y="1"/>
                          <a:pt x="7" y="0"/>
                        </a:cubicBezTo>
                        <a:cubicBezTo>
                          <a:pt x="3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9" y="9"/>
                        </a:cubicBezTo>
                        <a:cubicBezTo>
                          <a:pt x="18" y="15"/>
                          <a:pt x="18" y="21"/>
                          <a:pt x="18" y="23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" name="Freeform 260">
                    <a:extLst>
                      <a:ext uri="{FF2B5EF4-FFF2-40B4-BE49-F238E27FC236}">
                        <a16:creationId xmlns:a16="http://schemas.microsoft.com/office/drawing/2014/main" id="{821BBFE2-5A5C-099D-FEBF-3185BCDE495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658805" y="5259389"/>
                    <a:ext cx="534988" cy="322263"/>
                  </a:xfrm>
                  <a:custGeom>
                    <a:avLst/>
                    <a:gdLst>
                      <a:gd name="T0" fmla="*/ 270 w 272"/>
                      <a:gd name="T1" fmla="*/ 136 h 164"/>
                      <a:gd name="T2" fmla="*/ 262 w 272"/>
                      <a:gd name="T3" fmla="*/ 138 h 164"/>
                      <a:gd name="T4" fmla="*/ 271 w 272"/>
                      <a:gd name="T5" fmla="*/ 147 h 164"/>
                      <a:gd name="T6" fmla="*/ 272 w 272"/>
                      <a:gd name="T7" fmla="*/ 157 h 164"/>
                      <a:gd name="T8" fmla="*/ 269 w 272"/>
                      <a:gd name="T9" fmla="*/ 157 h 164"/>
                      <a:gd name="T10" fmla="*/ 265 w 272"/>
                      <a:gd name="T11" fmla="*/ 150 h 164"/>
                      <a:gd name="T12" fmla="*/ 251 w 272"/>
                      <a:gd name="T13" fmla="*/ 141 h 164"/>
                      <a:gd name="T14" fmla="*/ 146 w 272"/>
                      <a:gd name="T15" fmla="*/ 156 h 164"/>
                      <a:gd name="T16" fmla="*/ 92 w 272"/>
                      <a:gd name="T17" fmla="*/ 164 h 164"/>
                      <a:gd name="T18" fmla="*/ 65 w 272"/>
                      <a:gd name="T19" fmla="*/ 148 h 164"/>
                      <a:gd name="T20" fmla="*/ 0 w 272"/>
                      <a:gd name="T21" fmla="*/ 9 h 164"/>
                      <a:gd name="T22" fmla="*/ 76 w 272"/>
                      <a:gd name="T23" fmla="*/ 19 h 164"/>
                      <a:gd name="T24" fmla="*/ 93 w 272"/>
                      <a:gd name="T25" fmla="*/ 134 h 164"/>
                      <a:gd name="T26" fmla="*/ 251 w 272"/>
                      <a:gd name="T27" fmla="*/ 132 h 164"/>
                      <a:gd name="T28" fmla="*/ 257 w 272"/>
                      <a:gd name="T29" fmla="*/ 132 h 164"/>
                      <a:gd name="T30" fmla="*/ 270 w 272"/>
                      <a:gd name="T31" fmla="*/ 133 h 164"/>
                      <a:gd name="T32" fmla="*/ 270 w 272"/>
                      <a:gd name="T33" fmla="*/ 136 h 1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272" h="164">
                        <a:moveTo>
                          <a:pt x="270" y="136"/>
                        </a:moveTo>
                        <a:cubicBezTo>
                          <a:pt x="262" y="138"/>
                          <a:pt x="262" y="138"/>
                          <a:pt x="262" y="138"/>
                        </a:cubicBezTo>
                        <a:cubicBezTo>
                          <a:pt x="271" y="147"/>
                          <a:pt x="271" y="147"/>
                          <a:pt x="271" y="147"/>
                        </a:cubicBezTo>
                        <a:cubicBezTo>
                          <a:pt x="272" y="157"/>
                          <a:pt x="272" y="157"/>
                          <a:pt x="272" y="157"/>
                        </a:cubicBezTo>
                        <a:cubicBezTo>
                          <a:pt x="272" y="157"/>
                          <a:pt x="270" y="159"/>
                          <a:pt x="269" y="157"/>
                        </a:cubicBezTo>
                        <a:cubicBezTo>
                          <a:pt x="269" y="156"/>
                          <a:pt x="265" y="150"/>
                          <a:pt x="265" y="150"/>
                        </a:cubicBezTo>
                        <a:cubicBezTo>
                          <a:pt x="251" y="141"/>
                          <a:pt x="251" y="141"/>
                          <a:pt x="251" y="141"/>
                        </a:cubicBezTo>
                        <a:cubicBezTo>
                          <a:pt x="146" y="156"/>
                          <a:pt x="146" y="156"/>
                          <a:pt x="146" y="156"/>
                        </a:cubicBezTo>
                        <a:cubicBezTo>
                          <a:pt x="92" y="164"/>
                          <a:pt x="92" y="164"/>
                          <a:pt x="92" y="164"/>
                        </a:cubicBezTo>
                        <a:cubicBezTo>
                          <a:pt x="92" y="164"/>
                          <a:pt x="76" y="163"/>
                          <a:pt x="65" y="148"/>
                        </a:cubicBezTo>
                        <a:cubicBezTo>
                          <a:pt x="62" y="143"/>
                          <a:pt x="0" y="9"/>
                          <a:pt x="0" y="9"/>
                        </a:cubicBezTo>
                        <a:cubicBezTo>
                          <a:pt x="0" y="9"/>
                          <a:pt x="64" y="0"/>
                          <a:pt x="76" y="19"/>
                        </a:cubicBezTo>
                        <a:cubicBezTo>
                          <a:pt x="91" y="45"/>
                          <a:pt x="92" y="106"/>
                          <a:pt x="93" y="134"/>
                        </a:cubicBezTo>
                        <a:cubicBezTo>
                          <a:pt x="105" y="124"/>
                          <a:pt x="196" y="133"/>
                          <a:pt x="251" y="132"/>
                        </a:cubicBezTo>
                        <a:cubicBezTo>
                          <a:pt x="253" y="132"/>
                          <a:pt x="257" y="132"/>
                          <a:pt x="257" y="132"/>
                        </a:cubicBezTo>
                        <a:cubicBezTo>
                          <a:pt x="270" y="133"/>
                          <a:pt x="270" y="133"/>
                          <a:pt x="270" y="133"/>
                        </a:cubicBezTo>
                        <a:lnTo>
                          <a:pt x="270" y="136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" name="Freeform 261">
                    <a:extLst>
                      <a:ext uri="{FF2B5EF4-FFF2-40B4-BE49-F238E27FC236}">
                        <a16:creationId xmlns:a16="http://schemas.microsoft.com/office/drawing/2014/main" id="{AFE8F3FA-3CFA-2D6D-2480-A8C9D851A99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1152517" y="5516564"/>
                    <a:ext cx="41275" cy="57150"/>
                  </a:xfrm>
                  <a:custGeom>
                    <a:avLst/>
                    <a:gdLst>
                      <a:gd name="T0" fmla="*/ 14 w 21"/>
                      <a:gd name="T1" fmla="*/ 19 h 29"/>
                      <a:gd name="T2" fmla="*/ 18 w 21"/>
                      <a:gd name="T3" fmla="*/ 26 h 29"/>
                      <a:gd name="T4" fmla="*/ 21 w 21"/>
                      <a:gd name="T5" fmla="*/ 27 h 29"/>
                      <a:gd name="T6" fmla="*/ 20 w 21"/>
                      <a:gd name="T7" fmla="*/ 15 h 29"/>
                      <a:gd name="T8" fmla="*/ 11 w 21"/>
                      <a:gd name="T9" fmla="*/ 7 h 29"/>
                      <a:gd name="T10" fmla="*/ 19 w 21"/>
                      <a:gd name="T11" fmla="*/ 5 h 29"/>
                      <a:gd name="T12" fmla="*/ 19 w 21"/>
                      <a:gd name="T13" fmla="*/ 1 h 29"/>
                      <a:gd name="T14" fmla="*/ 6 w 21"/>
                      <a:gd name="T15" fmla="*/ 1 h 29"/>
                      <a:gd name="T16" fmla="*/ 0 w 21"/>
                      <a:gd name="T17" fmla="*/ 1 h 29"/>
                      <a:gd name="T18" fmla="*/ 6 w 21"/>
                      <a:gd name="T19" fmla="*/ 8 h 29"/>
                      <a:gd name="T20" fmla="*/ 14 w 21"/>
                      <a:gd name="T21" fmla="*/ 19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1" h="29">
                        <a:moveTo>
                          <a:pt x="14" y="19"/>
                        </a:moveTo>
                        <a:cubicBezTo>
                          <a:pt x="15" y="21"/>
                          <a:pt x="18" y="26"/>
                          <a:pt x="18" y="26"/>
                        </a:cubicBezTo>
                        <a:cubicBezTo>
                          <a:pt x="19" y="29"/>
                          <a:pt x="21" y="27"/>
                          <a:pt x="21" y="27"/>
                        </a:cubicBezTo>
                        <a:cubicBezTo>
                          <a:pt x="21" y="27"/>
                          <a:pt x="20" y="17"/>
                          <a:pt x="20" y="15"/>
                        </a:cubicBezTo>
                        <a:cubicBezTo>
                          <a:pt x="20" y="12"/>
                          <a:pt x="11" y="7"/>
                          <a:pt x="11" y="7"/>
                        </a:cubicBezTo>
                        <a:cubicBezTo>
                          <a:pt x="19" y="5"/>
                          <a:pt x="19" y="5"/>
                          <a:pt x="19" y="5"/>
                        </a:cubicBezTo>
                        <a:cubicBezTo>
                          <a:pt x="19" y="1"/>
                          <a:pt x="19" y="1"/>
                          <a:pt x="19" y="1"/>
                        </a:cubicBezTo>
                        <a:cubicBezTo>
                          <a:pt x="19" y="1"/>
                          <a:pt x="11" y="1"/>
                          <a:pt x="6" y="1"/>
                        </a:cubicBezTo>
                        <a:cubicBezTo>
                          <a:pt x="2" y="0"/>
                          <a:pt x="0" y="1"/>
                          <a:pt x="0" y="1"/>
                        </a:cubicBezTo>
                        <a:cubicBezTo>
                          <a:pt x="0" y="1"/>
                          <a:pt x="0" y="4"/>
                          <a:pt x="6" y="8"/>
                        </a:cubicBezTo>
                        <a:cubicBezTo>
                          <a:pt x="14" y="12"/>
                          <a:pt x="13" y="17"/>
                          <a:pt x="14" y="1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" name="Freeform 262">
                    <a:extLst>
                      <a:ext uri="{FF2B5EF4-FFF2-40B4-BE49-F238E27FC236}">
                        <a16:creationId xmlns:a16="http://schemas.microsoft.com/office/drawing/2014/main" id="{6BD1BAB1-DCFD-43A0-3442-6504B938919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39692" y="4965701"/>
                    <a:ext cx="346075" cy="90488"/>
                  </a:xfrm>
                  <a:custGeom>
                    <a:avLst/>
                    <a:gdLst>
                      <a:gd name="T0" fmla="*/ 3 w 176"/>
                      <a:gd name="T1" fmla="*/ 0 h 46"/>
                      <a:gd name="T2" fmla="*/ 47 w 176"/>
                      <a:gd name="T3" fmla="*/ 6 h 46"/>
                      <a:gd name="T4" fmla="*/ 133 w 176"/>
                      <a:gd name="T5" fmla="*/ 5 h 46"/>
                      <a:gd name="T6" fmla="*/ 167 w 176"/>
                      <a:gd name="T7" fmla="*/ 22 h 46"/>
                      <a:gd name="T8" fmla="*/ 145 w 176"/>
                      <a:gd name="T9" fmla="*/ 46 h 46"/>
                      <a:gd name="T10" fmla="*/ 0 w 176"/>
                      <a:gd name="T11" fmla="*/ 19 h 46"/>
                      <a:gd name="T12" fmla="*/ 3 w 176"/>
                      <a:gd name="T13" fmla="*/ 0 h 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76" h="46">
                        <a:moveTo>
                          <a:pt x="3" y="0"/>
                        </a:moveTo>
                        <a:cubicBezTo>
                          <a:pt x="10" y="1"/>
                          <a:pt x="29" y="5"/>
                          <a:pt x="47" y="6"/>
                        </a:cubicBezTo>
                        <a:cubicBezTo>
                          <a:pt x="79" y="8"/>
                          <a:pt x="93" y="6"/>
                          <a:pt x="133" y="5"/>
                        </a:cubicBezTo>
                        <a:cubicBezTo>
                          <a:pt x="176" y="3"/>
                          <a:pt x="167" y="22"/>
                          <a:pt x="167" y="22"/>
                        </a:cubicBezTo>
                        <a:cubicBezTo>
                          <a:pt x="167" y="22"/>
                          <a:pt x="152" y="40"/>
                          <a:pt x="145" y="46"/>
                        </a:cubicBezTo>
                        <a:cubicBezTo>
                          <a:pt x="68" y="36"/>
                          <a:pt x="21" y="25"/>
                          <a:pt x="0" y="19"/>
                        </a:cubicBezTo>
                        <a:cubicBezTo>
                          <a:pt x="0" y="19"/>
                          <a:pt x="1" y="4"/>
                          <a:pt x="3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" name="Freeform 263">
                    <a:extLst>
                      <a:ext uri="{FF2B5EF4-FFF2-40B4-BE49-F238E27FC236}">
                        <a16:creationId xmlns:a16="http://schemas.microsoft.com/office/drawing/2014/main" id="{7A96C64F-B4B1-E652-4A29-F9F585603D2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74642" y="4941889"/>
                    <a:ext cx="420688" cy="288925"/>
                  </a:xfrm>
                  <a:custGeom>
                    <a:avLst/>
                    <a:gdLst>
                      <a:gd name="T0" fmla="*/ 126 w 214"/>
                      <a:gd name="T1" fmla="*/ 147 h 147"/>
                      <a:gd name="T2" fmla="*/ 63 w 214"/>
                      <a:gd name="T3" fmla="*/ 110 h 147"/>
                      <a:gd name="T4" fmla="*/ 7 w 214"/>
                      <a:gd name="T5" fmla="*/ 22 h 147"/>
                      <a:gd name="T6" fmla="*/ 28 w 214"/>
                      <a:gd name="T7" fmla="*/ 8 h 147"/>
                      <a:gd name="T8" fmla="*/ 130 w 214"/>
                      <a:gd name="T9" fmla="*/ 44 h 147"/>
                      <a:gd name="T10" fmla="*/ 214 w 214"/>
                      <a:gd name="T11" fmla="*/ 136 h 147"/>
                      <a:gd name="T12" fmla="*/ 126 w 214"/>
                      <a:gd name="T13" fmla="*/ 147 h 1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14" h="147">
                        <a:moveTo>
                          <a:pt x="126" y="147"/>
                        </a:moveTo>
                        <a:cubicBezTo>
                          <a:pt x="123" y="141"/>
                          <a:pt x="112" y="111"/>
                          <a:pt x="63" y="110"/>
                        </a:cubicBezTo>
                        <a:cubicBezTo>
                          <a:pt x="0" y="108"/>
                          <a:pt x="7" y="22"/>
                          <a:pt x="7" y="22"/>
                        </a:cubicBezTo>
                        <a:cubicBezTo>
                          <a:pt x="7" y="22"/>
                          <a:pt x="18" y="11"/>
                          <a:pt x="28" y="8"/>
                        </a:cubicBezTo>
                        <a:cubicBezTo>
                          <a:pt x="53" y="0"/>
                          <a:pt x="94" y="11"/>
                          <a:pt x="130" y="44"/>
                        </a:cubicBezTo>
                        <a:cubicBezTo>
                          <a:pt x="181" y="90"/>
                          <a:pt x="214" y="136"/>
                          <a:pt x="214" y="136"/>
                        </a:cubicBezTo>
                        <a:cubicBezTo>
                          <a:pt x="214" y="136"/>
                          <a:pt x="175" y="134"/>
                          <a:pt x="126" y="147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" name="Freeform 264">
                    <a:extLst>
                      <a:ext uri="{FF2B5EF4-FFF2-40B4-BE49-F238E27FC236}">
                        <a16:creationId xmlns:a16="http://schemas.microsoft.com/office/drawing/2014/main" id="{00C599F3-DF50-F593-32BD-9B35E4B00C1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5580" y="5221289"/>
                    <a:ext cx="611188" cy="523875"/>
                  </a:xfrm>
                  <a:custGeom>
                    <a:avLst/>
                    <a:gdLst>
                      <a:gd name="T0" fmla="*/ 2 w 311"/>
                      <a:gd name="T1" fmla="*/ 259 h 267"/>
                      <a:gd name="T2" fmla="*/ 10 w 311"/>
                      <a:gd name="T3" fmla="*/ 257 h 267"/>
                      <a:gd name="T4" fmla="*/ 22 w 311"/>
                      <a:gd name="T5" fmla="*/ 247 h 267"/>
                      <a:gd name="T6" fmla="*/ 44 w 311"/>
                      <a:gd name="T7" fmla="*/ 81 h 267"/>
                      <a:gd name="T8" fmla="*/ 44 w 311"/>
                      <a:gd name="T9" fmla="*/ 81 h 267"/>
                      <a:gd name="T10" fmla="*/ 66 w 311"/>
                      <a:gd name="T11" fmla="*/ 42 h 267"/>
                      <a:gd name="T12" fmla="*/ 276 w 311"/>
                      <a:gd name="T13" fmla="*/ 0 h 267"/>
                      <a:gd name="T14" fmla="*/ 213 w 311"/>
                      <a:gd name="T15" fmla="*/ 71 h 267"/>
                      <a:gd name="T16" fmla="*/ 82 w 311"/>
                      <a:gd name="T17" fmla="*/ 79 h 267"/>
                      <a:gd name="T18" fmla="*/ 31 w 311"/>
                      <a:gd name="T19" fmla="*/ 249 h 267"/>
                      <a:gd name="T20" fmla="*/ 29 w 311"/>
                      <a:gd name="T21" fmla="*/ 255 h 267"/>
                      <a:gd name="T22" fmla="*/ 25 w 311"/>
                      <a:gd name="T23" fmla="*/ 267 h 267"/>
                      <a:gd name="T24" fmla="*/ 22 w 311"/>
                      <a:gd name="T25" fmla="*/ 266 h 267"/>
                      <a:gd name="T26" fmla="*/ 22 w 311"/>
                      <a:gd name="T27" fmla="*/ 259 h 267"/>
                      <a:gd name="T28" fmla="*/ 11 w 311"/>
                      <a:gd name="T29" fmla="*/ 264 h 267"/>
                      <a:gd name="T30" fmla="*/ 1 w 311"/>
                      <a:gd name="T31" fmla="*/ 262 h 267"/>
                      <a:gd name="T32" fmla="*/ 2 w 311"/>
                      <a:gd name="T33" fmla="*/ 259 h 2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11" h="267">
                        <a:moveTo>
                          <a:pt x="2" y="259"/>
                        </a:moveTo>
                        <a:cubicBezTo>
                          <a:pt x="3" y="259"/>
                          <a:pt x="10" y="257"/>
                          <a:pt x="10" y="257"/>
                        </a:cubicBezTo>
                        <a:cubicBezTo>
                          <a:pt x="22" y="247"/>
                          <a:pt x="22" y="247"/>
                          <a:pt x="22" y="247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4" y="81"/>
                          <a:pt x="44" y="81"/>
                          <a:pt x="44" y="81"/>
                        </a:cubicBezTo>
                        <a:cubicBezTo>
                          <a:pt x="42" y="52"/>
                          <a:pt x="66" y="42"/>
                          <a:pt x="66" y="42"/>
                        </a:cubicBezTo>
                        <a:cubicBezTo>
                          <a:pt x="276" y="0"/>
                          <a:pt x="276" y="0"/>
                          <a:pt x="276" y="0"/>
                        </a:cubicBezTo>
                        <a:cubicBezTo>
                          <a:pt x="276" y="0"/>
                          <a:pt x="311" y="59"/>
                          <a:pt x="213" y="71"/>
                        </a:cubicBezTo>
                        <a:cubicBezTo>
                          <a:pt x="182" y="74"/>
                          <a:pt x="161" y="70"/>
                          <a:pt x="82" y="79"/>
                        </a:cubicBezTo>
                        <a:cubicBezTo>
                          <a:pt x="99" y="107"/>
                          <a:pt x="31" y="249"/>
                          <a:pt x="31" y="249"/>
                        </a:cubicBezTo>
                        <a:cubicBezTo>
                          <a:pt x="29" y="255"/>
                          <a:pt x="29" y="255"/>
                          <a:pt x="29" y="255"/>
                        </a:cubicBezTo>
                        <a:cubicBezTo>
                          <a:pt x="25" y="267"/>
                          <a:pt x="25" y="267"/>
                          <a:pt x="25" y="267"/>
                        </a:cubicBezTo>
                        <a:cubicBezTo>
                          <a:pt x="22" y="266"/>
                          <a:pt x="22" y="266"/>
                          <a:pt x="22" y="266"/>
                        </a:cubicBezTo>
                        <a:cubicBezTo>
                          <a:pt x="22" y="259"/>
                          <a:pt x="22" y="259"/>
                          <a:pt x="22" y="259"/>
                        </a:cubicBezTo>
                        <a:cubicBezTo>
                          <a:pt x="11" y="264"/>
                          <a:pt x="11" y="264"/>
                          <a:pt x="11" y="264"/>
                        </a:cubicBezTo>
                        <a:cubicBezTo>
                          <a:pt x="1" y="262"/>
                          <a:pt x="1" y="262"/>
                          <a:pt x="1" y="262"/>
                        </a:cubicBezTo>
                        <a:cubicBezTo>
                          <a:pt x="1" y="262"/>
                          <a:pt x="0" y="259"/>
                          <a:pt x="2" y="25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" name="Freeform 265">
                    <a:extLst>
                      <a:ext uri="{FF2B5EF4-FFF2-40B4-BE49-F238E27FC236}">
                        <a16:creationId xmlns:a16="http://schemas.microsoft.com/office/drawing/2014/main" id="{61D2A0D9-FAFC-672D-EE29-FD064E83F31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84167" y="5197476"/>
                    <a:ext cx="487363" cy="219075"/>
                  </a:xfrm>
                  <a:custGeom>
                    <a:avLst/>
                    <a:gdLst>
                      <a:gd name="T0" fmla="*/ 206 w 248"/>
                      <a:gd name="T1" fmla="*/ 0 h 112"/>
                      <a:gd name="T2" fmla="*/ 248 w 248"/>
                      <a:gd name="T3" fmla="*/ 97 h 112"/>
                      <a:gd name="T4" fmla="*/ 26 w 248"/>
                      <a:gd name="T5" fmla="*/ 83 h 112"/>
                      <a:gd name="T6" fmla="*/ 0 w 248"/>
                      <a:gd name="T7" fmla="*/ 52 h 112"/>
                      <a:gd name="T8" fmla="*/ 206 w 248"/>
                      <a:gd name="T9" fmla="*/ 0 h 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48" h="112">
                        <a:moveTo>
                          <a:pt x="206" y="0"/>
                        </a:moveTo>
                        <a:cubicBezTo>
                          <a:pt x="240" y="22"/>
                          <a:pt x="215" y="69"/>
                          <a:pt x="248" y="97"/>
                        </a:cubicBezTo>
                        <a:cubicBezTo>
                          <a:pt x="219" y="112"/>
                          <a:pt x="79" y="112"/>
                          <a:pt x="26" y="83"/>
                        </a:cubicBezTo>
                        <a:cubicBezTo>
                          <a:pt x="4" y="71"/>
                          <a:pt x="0" y="52"/>
                          <a:pt x="0" y="52"/>
                        </a:cubicBezTo>
                        <a:cubicBezTo>
                          <a:pt x="0" y="52"/>
                          <a:pt x="177" y="6"/>
                          <a:pt x="206" y="0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" name="Freeform 266">
                    <a:extLst>
                      <a:ext uri="{FF2B5EF4-FFF2-40B4-BE49-F238E27FC236}">
                        <a16:creationId xmlns:a16="http://schemas.microsoft.com/office/drawing/2014/main" id="{83B46EF6-6F65-95F2-B1B3-A1CF3110744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92105" y="4964114"/>
                    <a:ext cx="63500" cy="134938"/>
                  </a:xfrm>
                  <a:custGeom>
                    <a:avLst/>
                    <a:gdLst>
                      <a:gd name="T0" fmla="*/ 32 w 32"/>
                      <a:gd name="T1" fmla="*/ 69 h 69"/>
                      <a:gd name="T2" fmla="*/ 20 w 32"/>
                      <a:gd name="T3" fmla="*/ 0 h 69"/>
                      <a:gd name="T4" fmla="*/ 4 w 32"/>
                      <a:gd name="T5" fmla="*/ 14 h 69"/>
                      <a:gd name="T6" fmla="*/ 32 w 32"/>
                      <a:gd name="T7" fmla="*/ 69 h 6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2" h="69">
                        <a:moveTo>
                          <a:pt x="32" y="69"/>
                        </a:moveTo>
                        <a:cubicBezTo>
                          <a:pt x="32" y="69"/>
                          <a:pt x="7" y="24"/>
                          <a:pt x="20" y="0"/>
                        </a:cubicBezTo>
                        <a:cubicBezTo>
                          <a:pt x="17" y="5"/>
                          <a:pt x="12" y="15"/>
                          <a:pt x="4" y="14"/>
                        </a:cubicBezTo>
                        <a:cubicBezTo>
                          <a:pt x="0" y="41"/>
                          <a:pt x="32" y="69"/>
                          <a:pt x="32" y="69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" name="Freeform 267">
                    <a:extLst>
                      <a:ext uri="{FF2B5EF4-FFF2-40B4-BE49-F238E27FC236}">
                        <a16:creationId xmlns:a16="http://schemas.microsoft.com/office/drawing/2014/main" id="{230EF6A3-8110-82A2-B591-CD0442427A2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69880" y="4946651"/>
                    <a:ext cx="88900" cy="160338"/>
                  </a:xfrm>
                  <a:custGeom>
                    <a:avLst/>
                    <a:gdLst>
                      <a:gd name="T0" fmla="*/ 45 w 45"/>
                      <a:gd name="T1" fmla="*/ 82 h 82"/>
                      <a:gd name="T2" fmla="*/ 17 w 45"/>
                      <a:gd name="T3" fmla="*/ 19 h 82"/>
                      <a:gd name="T4" fmla="*/ 12 w 45"/>
                      <a:gd name="T5" fmla="*/ 12 h 82"/>
                      <a:gd name="T6" fmla="*/ 45 w 45"/>
                      <a:gd name="T7" fmla="*/ 82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45" h="82">
                        <a:moveTo>
                          <a:pt x="45" y="82"/>
                        </a:moveTo>
                        <a:cubicBezTo>
                          <a:pt x="45" y="82"/>
                          <a:pt x="15" y="54"/>
                          <a:pt x="17" y="19"/>
                        </a:cubicBezTo>
                        <a:cubicBezTo>
                          <a:pt x="17" y="9"/>
                          <a:pt x="15" y="0"/>
                          <a:pt x="12" y="12"/>
                        </a:cubicBezTo>
                        <a:cubicBezTo>
                          <a:pt x="0" y="63"/>
                          <a:pt x="45" y="82"/>
                          <a:pt x="45" y="8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" name="Freeform 268">
                    <a:extLst>
                      <a:ext uri="{FF2B5EF4-FFF2-40B4-BE49-F238E27FC236}">
                        <a16:creationId xmlns:a16="http://schemas.microsoft.com/office/drawing/2014/main" id="{60B82CF6-A6A2-3968-680B-319302C938F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3367" y="4899026"/>
                    <a:ext cx="103188" cy="93663"/>
                  </a:xfrm>
                  <a:custGeom>
                    <a:avLst/>
                    <a:gdLst>
                      <a:gd name="T0" fmla="*/ 52 w 53"/>
                      <a:gd name="T1" fmla="*/ 27 h 48"/>
                      <a:gd name="T2" fmla="*/ 42 w 53"/>
                      <a:gd name="T3" fmla="*/ 12 h 48"/>
                      <a:gd name="T4" fmla="*/ 30 w 53"/>
                      <a:gd name="T5" fmla="*/ 0 h 48"/>
                      <a:gd name="T6" fmla="*/ 24 w 53"/>
                      <a:gd name="T7" fmla="*/ 18 h 48"/>
                      <a:gd name="T8" fmla="*/ 13 w 53"/>
                      <a:gd name="T9" fmla="*/ 28 h 48"/>
                      <a:gd name="T10" fmla="*/ 0 w 53"/>
                      <a:gd name="T11" fmla="*/ 29 h 48"/>
                      <a:gd name="T12" fmla="*/ 36 w 53"/>
                      <a:gd name="T13" fmla="*/ 48 h 48"/>
                      <a:gd name="T14" fmla="*/ 52 w 53"/>
                      <a:gd name="T15" fmla="*/ 27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3" h="48">
                        <a:moveTo>
                          <a:pt x="52" y="27"/>
                        </a:moveTo>
                        <a:cubicBezTo>
                          <a:pt x="42" y="23"/>
                          <a:pt x="42" y="12"/>
                          <a:pt x="42" y="12"/>
                        </a:cubicBezTo>
                        <a:cubicBezTo>
                          <a:pt x="30" y="0"/>
                          <a:pt x="30" y="0"/>
                          <a:pt x="30" y="0"/>
                        </a:cubicBezTo>
                        <a:cubicBezTo>
                          <a:pt x="30" y="0"/>
                          <a:pt x="25" y="11"/>
                          <a:pt x="24" y="18"/>
                        </a:cubicBezTo>
                        <a:cubicBezTo>
                          <a:pt x="22" y="25"/>
                          <a:pt x="16" y="27"/>
                          <a:pt x="13" y="28"/>
                        </a:cubicBezTo>
                        <a:cubicBezTo>
                          <a:pt x="7" y="29"/>
                          <a:pt x="0" y="29"/>
                          <a:pt x="0" y="29"/>
                        </a:cubicBezTo>
                        <a:cubicBezTo>
                          <a:pt x="0" y="29"/>
                          <a:pt x="26" y="31"/>
                          <a:pt x="36" y="48"/>
                        </a:cubicBezTo>
                        <a:cubicBezTo>
                          <a:pt x="53" y="47"/>
                          <a:pt x="48" y="32"/>
                          <a:pt x="52" y="27"/>
                        </a:cubicBezTo>
                        <a:close/>
                      </a:path>
                    </a:pathLst>
                  </a:custGeom>
                  <a:gradFill>
                    <a:gsLst>
                      <a:gs pos="1000">
                        <a:srgbClr val="D7F0F3"/>
                      </a:gs>
                      <a:gs pos="100000">
                        <a:srgbClr val="70C1D5"/>
                      </a:gs>
                    </a:gsLst>
                    <a:path path="circle">
                      <a:fillToRect r="100000" b="100000"/>
                    </a:path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" name="Freeform 269">
                    <a:extLst>
                      <a:ext uri="{FF2B5EF4-FFF2-40B4-BE49-F238E27FC236}">
                        <a16:creationId xmlns:a16="http://schemas.microsoft.com/office/drawing/2014/main" id="{056245EB-EDB6-0219-C87F-7A307B5E5DD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20667" y="4848226"/>
                    <a:ext cx="80963" cy="107950"/>
                  </a:xfrm>
                  <a:custGeom>
                    <a:avLst/>
                    <a:gdLst>
                      <a:gd name="T0" fmla="*/ 9 w 41"/>
                      <a:gd name="T1" fmla="*/ 55 h 55"/>
                      <a:gd name="T2" fmla="*/ 22 w 41"/>
                      <a:gd name="T3" fmla="*/ 55 h 55"/>
                      <a:gd name="T4" fmla="*/ 30 w 41"/>
                      <a:gd name="T5" fmla="*/ 48 h 55"/>
                      <a:gd name="T6" fmla="*/ 33 w 41"/>
                      <a:gd name="T7" fmla="*/ 36 h 55"/>
                      <a:gd name="T8" fmla="*/ 38 w 41"/>
                      <a:gd name="T9" fmla="*/ 32 h 55"/>
                      <a:gd name="T10" fmla="*/ 36 w 41"/>
                      <a:gd name="T11" fmla="*/ 24 h 55"/>
                      <a:gd name="T12" fmla="*/ 34 w 41"/>
                      <a:gd name="T13" fmla="*/ 3 h 55"/>
                      <a:gd name="T14" fmla="*/ 23 w 41"/>
                      <a:gd name="T15" fmla="*/ 0 h 55"/>
                      <a:gd name="T16" fmla="*/ 12 w 41"/>
                      <a:gd name="T17" fmla="*/ 8 h 55"/>
                      <a:gd name="T18" fmla="*/ 0 w 41"/>
                      <a:gd name="T19" fmla="*/ 30 h 55"/>
                      <a:gd name="T20" fmla="*/ 2 w 41"/>
                      <a:gd name="T21" fmla="*/ 32 h 55"/>
                      <a:gd name="T22" fmla="*/ 5 w 41"/>
                      <a:gd name="T23" fmla="*/ 33 h 55"/>
                      <a:gd name="T24" fmla="*/ 5 w 41"/>
                      <a:gd name="T25" fmla="*/ 54 h 55"/>
                      <a:gd name="T26" fmla="*/ 9 w 41"/>
                      <a:gd name="T27" fmla="*/ 55 h 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1" h="55">
                        <a:moveTo>
                          <a:pt x="9" y="55"/>
                        </a:moveTo>
                        <a:cubicBezTo>
                          <a:pt x="12" y="55"/>
                          <a:pt x="17" y="55"/>
                          <a:pt x="22" y="55"/>
                        </a:cubicBezTo>
                        <a:cubicBezTo>
                          <a:pt x="29" y="54"/>
                          <a:pt x="30" y="48"/>
                          <a:pt x="30" y="48"/>
                        </a:cubicBezTo>
                        <a:cubicBezTo>
                          <a:pt x="33" y="36"/>
                          <a:pt x="33" y="36"/>
                          <a:pt x="33" y="36"/>
                        </a:cubicBezTo>
                        <a:cubicBezTo>
                          <a:pt x="33" y="36"/>
                          <a:pt x="36" y="35"/>
                          <a:pt x="38" y="32"/>
                        </a:cubicBezTo>
                        <a:cubicBezTo>
                          <a:pt x="39" y="31"/>
                          <a:pt x="41" y="26"/>
                          <a:pt x="36" y="24"/>
                        </a:cubicBezTo>
                        <a:cubicBezTo>
                          <a:pt x="28" y="21"/>
                          <a:pt x="34" y="3"/>
                          <a:pt x="34" y="3"/>
                        </a:cubicBezTo>
                        <a:cubicBezTo>
                          <a:pt x="23" y="0"/>
                          <a:pt x="23" y="0"/>
                          <a:pt x="23" y="0"/>
                        </a:cubicBezTo>
                        <a:cubicBezTo>
                          <a:pt x="12" y="8"/>
                          <a:pt x="12" y="8"/>
                          <a:pt x="12" y="8"/>
                        </a:cubicBezTo>
                        <a:cubicBezTo>
                          <a:pt x="0" y="30"/>
                          <a:pt x="0" y="30"/>
                          <a:pt x="0" y="30"/>
                        </a:cubicBezTo>
                        <a:cubicBezTo>
                          <a:pt x="0" y="30"/>
                          <a:pt x="0" y="31"/>
                          <a:pt x="2" y="32"/>
                        </a:cubicBezTo>
                        <a:cubicBezTo>
                          <a:pt x="4" y="32"/>
                          <a:pt x="5" y="33"/>
                          <a:pt x="5" y="33"/>
                        </a:cubicBezTo>
                        <a:cubicBezTo>
                          <a:pt x="5" y="33"/>
                          <a:pt x="5" y="53"/>
                          <a:pt x="5" y="54"/>
                        </a:cubicBezTo>
                        <a:cubicBezTo>
                          <a:pt x="5" y="55"/>
                          <a:pt x="7" y="55"/>
                          <a:pt x="9" y="55"/>
                        </a:cubicBez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" name="Freeform 270">
                    <a:extLst>
                      <a:ext uri="{FF2B5EF4-FFF2-40B4-BE49-F238E27FC236}">
                        <a16:creationId xmlns:a16="http://schemas.microsoft.com/office/drawing/2014/main" id="{F428429C-B2B4-1A60-616C-CC8CC3EC752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44480" y="4838701"/>
                    <a:ext cx="92075" cy="85725"/>
                  </a:xfrm>
                  <a:custGeom>
                    <a:avLst/>
                    <a:gdLst>
                      <a:gd name="T0" fmla="*/ 45 w 47"/>
                      <a:gd name="T1" fmla="*/ 22 h 44"/>
                      <a:gd name="T2" fmla="*/ 44 w 47"/>
                      <a:gd name="T3" fmla="*/ 18 h 44"/>
                      <a:gd name="T4" fmla="*/ 25 w 47"/>
                      <a:gd name="T5" fmla="*/ 3 h 44"/>
                      <a:gd name="T6" fmla="*/ 0 w 47"/>
                      <a:gd name="T7" fmla="*/ 14 h 44"/>
                      <a:gd name="T8" fmla="*/ 14 w 47"/>
                      <a:gd name="T9" fmla="*/ 21 h 44"/>
                      <a:gd name="T10" fmla="*/ 21 w 47"/>
                      <a:gd name="T11" fmla="*/ 30 h 44"/>
                      <a:gd name="T12" fmla="*/ 27 w 47"/>
                      <a:gd name="T13" fmla="*/ 35 h 44"/>
                      <a:gd name="T14" fmla="*/ 36 w 47"/>
                      <a:gd name="T15" fmla="*/ 44 h 44"/>
                      <a:gd name="T16" fmla="*/ 45 w 47"/>
                      <a:gd name="T17" fmla="*/ 22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7" h="44">
                        <a:moveTo>
                          <a:pt x="45" y="22"/>
                        </a:moveTo>
                        <a:cubicBezTo>
                          <a:pt x="44" y="18"/>
                          <a:pt x="44" y="18"/>
                          <a:pt x="44" y="18"/>
                        </a:cubicBezTo>
                        <a:cubicBezTo>
                          <a:pt x="44" y="18"/>
                          <a:pt x="42" y="7"/>
                          <a:pt x="25" y="3"/>
                        </a:cubicBezTo>
                        <a:cubicBezTo>
                          <a:pt x="6" y="0"/>
                          <a:pt x="0" y="14"/>
                          <a:pt x="0" y="14"/>
                        </a:cubicBezTo>
                        <a:cubicBezTo>
                          <a:pt x="0" y="14"/>
                          <a:pt x="14" y="12"/>
                          <a:pt x="14" y="21"/>
                        </a:cubicBezTo>
                        <a:cubicBezTo>
                          <a:pt x="14" y="31"/>
                          <a:pt x="20" y="30"/>
                          <a:pt x="21" y="30"/>
                        </a:cubicBezTo>
                        <a:cubicBezTo>
                          <a:pt x="22" y="30"/>
                          <a:pt x="26" y="31"/>
                          <a:pt x="27" y="35"/>
                        </a:cubicBezTo>
                        <a:cubicBezTo>
                          <a:pt x="27" y="41"/>
                          <a:pt x="33" y="44"/>
                          <a:pt x="36" y="44"/>
                        </a:cubicBezTo>
                        <a:cubicBezTo>
                          <a:pt x="47" y="32"/>
                          <a:pt x="45" y="22"/>
                          <a:pt x="45" y="22"/>
                        </a:cubicBez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" name="Freeform 271">
                    <a:extLst>
                      <a:ext uri="{FF2B5EF4-FFF2-40B4-BE49-F238E27FC236}">
                        <a16:creationId xmlns:a16="http://schemas.microsoft.com/office/drawing/2014/main" id="{98F89695-A565-3A17-1A6A-E38EB7DE966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336542" y="4886326"/>
                    <a:ext cx="15875" cy="7938"/>
                  </a:xfrm>
                  <a:custGeom>
                    <a:avLst/>
                    <a:gdLst>
                      <a:gd name="T0" fmla="*/ 1 w 8"/>
                      <a:gd name="T1" fmla="*/ 3 h 4"/>
                      <a:gd name="T2" fmla="*/ 2 w 8"/>
                      <a:gd name="T3" fmla="*/ 4 h 4"/>
                      <a:gd name="T4" fmla="*/ 8 w 8"/>
                      <a:gd name="T5" fmla="*/ 4 h 4"/>
                      <a:gd name="T6" fmla="*/ 1 w 8"/>
                      <a:gd name="T7" fmla="*/ 1 h 4"/>
                      <a:gd name="T8" fmla="*/ 1 w 8"/>
                      <a:gd name="T9" fmla="*/ 3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8" h="4">
                        <a:moveTo>
                          <a:pt x="1" y="3"/>
                        </a:moveTo>
                        <a:cubicBezTo>
                          <a:pt x="1" y="4"/>
                          <a:pt x="1" y="4"/>
                          <a:pt x="2" y="4"/>
                        </a:cubicBezTo>
                        <a:cubicBezTo>
                          <a:pt x="4" y="4"/>
                          <a:pt x="6" y="4"/>
                          <a:pt x="8" y="4"/>
                        </a:cubicBezTo>
                        <a:cubicBezTo>
                          <a:pt x="8" y="4"/>
                          <a:pt x="6" y="3"/>
                          <a:pt x="1" y="1"/>
                        </a:cubicBezTo>
                        <a:cubicBezTo>
                          <a:pt x="0" y="0"/>
                          <a:pt x="1" y="1"/>
                          <a:pt x="1" y="3"/>
                        </a:cubicBezTo>
                        <a:close/>
                      </a:path>
                    </a:pathLst>
                  </a:custGeom>
                  <a:solidFill>
                    <a:srgbClr val="2328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" name="Freeform 272">
                    <a:extLst>
                      <a:ext uri="{FF2B5EF4-FFF2-40B4-BE49-F238E27FC236}">
                        <a16:creationId xmlns:a16="http://schemas.microsoft.com/office/drawing/2014/main" id="{D137C00F-08F9-D77A-DA4A-4D5DAF2D2C5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31792" y="4857751"/>
                    <a:ext cx="217488" cy="93663"/>
                  </a:xfrm>
                  <a:custGeom>
                    <a:avLst/>
                    <a:gdLst>
                      <a:gd name="T0" fmla="*/ 0 w 111"/>
                      <a:gd name="T1" fmla="*/ 8 h 48"/>
                      <a:gd name="T2" fmla="*/ 17 w 111"/>
                      <a:gd name="T3" fmla="*/ 1 h 48"/>
                      <a:gd name="T4" fmla="*/ 42 w 111"/>
                      <a:gd name="T5" fmla="*/ 11 h 48"/>
                      <a:gd name="T6" fmla="*/ 75 w 111"/>
                      <a:gd name="T7" fmla="*/ 12 h 48"/>
                      <a:gd name="T8" fmla="*/ 94 w 111"/>
                      <a:gd name="T9" fmla="*/ 19 h 48"/>
                      <a:gd name="T10" fmla="*/ 111 w 111"/>
                      <a:gd name="T11" fmla="*/ 34 h 48"/>
                      <a:gd name="T12" fmla="*/ 79 w 111"/>
                      <a:gd name="T13" fmla="*/ 42 h 48"/>
                      <a:gd name="T14" fmla="*/ 50 w 111"/>
                      <a:gd name="T15" fmla="*/ 34 h 48"/>
                      <a:gd name="T16" fmla="*/ 28 w 111"/>
                      <a:gd name="T17" fmla="*/ 22 h 48"/>
                      <a:gd name="T18" fmla="*/ 14 w 111"/>
                      <a:gd name="T19" fmla="*/ 13 h 48"/>
                      <a:gd name="T20" fmla="*/ 1 w 111"/>
                      <a:gd name="T21" fmla="*/ 13 h 48"/>
                      <a:gd name="T22" fmla="*/ 0 w 111"/>
                      <a:gd name="T23" fmla="*/ 8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11" h="48">
                        <a:moveTo>
                          <a:pt x="0" y="8"/>
                        </a:moveTo>
                        <a:cubicBezTo>
                          <a:pt x="0" y="8"/>
                          <a:pt x="7" y="0"/>
                          <a:pt x="17" y="1"/>
                        </a:cubicBezTo>
                        <a:cubicBezTo>
                          <a:pt x="27" y="2"/>
                          <a:pt x="30" y="5"/>
                          <a:pt x="42" y="11"/>
                        </a:cubicBezTo>
                        <a:cubicBezTo>
                          <a:pt x="54" y="16"/>
                          <a:pt x="62" y="11"/>
                          <a:pt x="75" y="12"/>
                        </a:cubicBezTo>
                        <a:cubicBezTo>
                          <a:pt x="88" y="13"/>
                          <a:pt x="92" y="17"/>
                          <a:pt x="94" y="19"/>
                        </a:cubicBezTo>
                        <a:cubicBezTo>
                          <a:pt x="102" y="24"/>
                          <a:pt x="111" y="34"/>
                          <a:pt x="111" y="34"/>
                        </a:cubicBezTo>
                        <a:cubicBezTo>
                          <a:pt x="111" y="34"/>
                          <a:pt x="94" y="48"/>
                          <a:pt x="79" y="42"/>
                        </a:cubicBezTo>
                        <a:cubicBezTo>
                          <a:pt x="74" y="40"/>
                          <a:pt x="66" y="31"/>
                          <a:pt x="50" y="34"/>
                        </a:cubicBezTo>
                        <a:cubicBezTo>
                          <a:pt x="39" y="36"/>
                          <a:pt x="33" y="29"/>
                          <a:pt x="28" y="22"/>
                        </a:cubicBezTo>
                        <a:cubicBezTo>
                          <a:pt x="25" y="18"/>
                          <a:pt x="19" y="14"/>
                          <a:pt x="14" y="13"/>
                        </a:cubicBezTo>
                        <a:cubicBezTo>
                          <a:pt x="9" y="11"/>
                          <a:pt x="1" y="13"/>
                          <a:pt x="1" y="13"/>
                        </a:cubicBezTo>
                        <a:lnTo>
                          <a:pt x="0" y="8"/>
                        </a:lnTo>
                        <a:close/>
                      </a:path>
                    </a:pathLst>
                  </a:custGeom>
                  <a:solidFill>
                    <a:srgbClr val="5B47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" name="Freeform 273">
                    <a:extLst>
                      <a:ext uri="{FF2B5EF4-FFF2-40B4-BE49-F238E27FC236}">
                        <a16:creationId xmlns:a16="http://schemas.microsoft.com/office/drawing/2014/main" id="{05C3CBEE-A8EC-744C-4A2C-BFA3E121BE1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28617" y="4868864"/>
                    <a:ext cx="7938" cy="15875"/>
                  </a:xfrm>
                  <a:custGeom>
                    <a:avLst/>
                    <a:gdLst>
                      <a:gd name="T0" fmla="*/ 1 w 4"/>
                      <a:gd name="T1" fmla="*/ 6 h 8"/>
                      <a:gd name="T2" fmla="*/ 3 w 4"/>
                      <a:gd name="T3" fmla="*/ 8 h 8"/>
                      <a:gd name="T4" fmla="*/ 4 w 4"/>
                      <a:gd name="T5" fmla="*/ 5 h 8"/>
                      <a:gd name="T6" fmla="*/ 3 w 4"/>
                      <a:gd name="T7" fmla="*/ 2 h 8"/>
                      <a:gd name="T8" fmla="*/ 1 w 4"/>
                      <a:gd name="T9" fmla="*/ 0 h 8"/>
                      <a:gd name="T10" fmla="*/ 0 w 4"/>
                      <a:gd name="T11" fmla="*/ 2 h 8"/>
                      <a:gd name="T12" fmla="*/ 1 w 4"/>
                      <a:gd name="T13" fmla="*/ 6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" h="8">
                        <a:moveTo>
                          <a:pt x="1" y="6"/>
                        </a:moveTo>
                        <a:cubicBezTo>
                          <a:pt x="1" y="7"/>
                          <a:pt x="2" y="8"/>
                          <a:pt x="3" y="8"/>
                        </a:cubicBezTo>
                        <a:cubicBezTo>
                          <a:pt x="4" y="7"/>
                          <a:pt x="4" y="6"/>
                          <a:pt x="4" y="5"/>
                        </a:cubicBezTo>
                        <a:cubicBezTo>
                          <a:pt x="3" y="2"/>
                          <a:pt x="3" y="2"/>
                          <a:pt x="3" y="2"/>
                        </a:cubicBezTo>
                        <a:cubicBezTo>
                          <a:pt x="3" y="1"/>
                          <a:pt x="2" y="0"/>
                          <a:pt x="1" y="0"/>
                        </a:cubicBezTo>
                        <a:cubicBezTo>
                          <a:pt x="0" y="1"/>
                          <a:pt x="0" y="1"/>
                          <a:pt x="0" y="2"/>
                        </a:cubicBezTo>
                        <a:lnTo>
                          <a:pt x="1" y="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" name="Freeform 274">
                    <a:extLst>
                      <a:ext uri="{FF2B5EF4-FFF2-40B4-BE49-F238E27FC236}">
                        <a16:creationId xmlns:a16="http://schemas.microsoft.com/office/drawing/2014/main" id="{F98FE228-3ABB-A219-40A5-4AA021FAEB9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417505" y="4951414"/>
                    <a:ext cx="50800" cy="150813"/>
                  </a:xfrm>
                  <a:custGeom>
                    <a:avLst/>
                    <a:gdLst>
                      <a:gd name="T0" fmla="*/ 8 w 26"/>
                      <a:gd name="T1" fmla="*/ 0 h 77"/>
                      <a:gd name="T2" fmla="*/ 1 w 26"/>
                      <a:gd name="T3" fmla="*/ 34 h 77"/>
                      <a:gd name="T4" fmla="*/ 26 w 26"/>
                      <a:gd name="T5" fmla="*/ 77 h 77"/>
                      <a:gd name="T6" fmla="*/ 12 w 26"/>
                      <a:gd name="T7" fmla="*/ 31 h 77"/>
                      <a:gd name="T8" fmla="*/ 5 w 26"/>
                      <a:gd name="T9" fmla="*/ 28 h 77"/>
                      <a:gd name="T10" fmla="*/ 12 w 26"/>
                      <a:gd name="T11" fmla="*/ 23 h 77"/>
                      <a:gd name="T12" fmla="*/ 12 w 26"/>
                      <a:gd name="T13" fmla="*/ 1 h 77"/>
                      <a:gd name="T14" fmla="*/ 8 w 26"/>
                      <a:gd name="T15" fmla="*/ 0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6" h="77">
                        <a:moveTo>
                          <a:pt x="8" y="0"/>
                        </a:moveTo>
                        <a:cubicBezTo>
                          <a:pt x="8" y="0"/>
                          <a:pt x="0" y="15"/>
                          <a:pt x="1" y="34"/>
                        </a:cubicBezTo>
                        <a:cubicBezTo>
                          <a:pt x="2" y="54"/>
                          <a:pt x="22" y="73"/>
                          <a:pt x="26" y="77"/>
                        </a:cubicBezTo>
                        <a:cubicBezTo>
                          <a:pt x="16" y="59"/>
                          <a:pt x="12" y="31"/>
                          <a:pt x="12" y="31"/>
                        </a:cubicBezTo>
                        <a:cubicBezTo>
                          <a:pt x="5" y="28"/>
                          <a:pt x="5" y="28"/>
                          <a:pt x="5" y="28"/>
                        </a:cubicBezTo>
                        <a:cubicBezTo>
                          <a:pt x="12" y="23"/>
                          <a:pt x="12" y="23"/>
                          <a:pt x="12" y="23"/>
                        </a:cubicBezTo>
                        <a:cubicBezTo>
                          <a:pt x="12" y="1"/>
                          <a:pt x="12" y="1"/>
                          <a:pt x="12" y="1"/>
                        </a:cubicBezTo>
                        <a:lnTo>
                          <a:pt x="8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" name="Freeform 275">
                    <a:extLst>
                      <a:ext uri="{FF2B5EF4-FFF2-40B4-BE49-F238E27FC236}">
                        <a16:creationId xmlns:a16="http://schemas.microsoft.com/office/drawing/2014/main" id="{A1399EF7-164A-E8F9-5D6A-1AD42CAE217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87317" y="5113339"/>
                    <a:ext cx="174625" cy="79375"/>
                  </a:xfrm>
                  <a:custGeom>
                    <a:avLst/>
                    <a:gdLst>
                      <a:gd name="T0" fmla="*/ 1 w 110"/>
                      <a:gd name="T1" fmla="*/ 0 h 50"/>
                      <a:gd name="T2" fmla="*/ 110 w 110"/>
                      <a:gd name="T3" fmla="*/ 22 h 50"/>
                      <a:gd name="T4" fmla="*/ 95 w 110"/>
                      <a:gd name="T5" fmla="*/ 50 h 50"/>
                      <a:gd name="T6" fmla="*/ 0 w 110"/>
                      <a:gd name="T7" fmla="*/ 12 h 50"/>
                      <a:gd name="T8" fmla="*/ 1 w 110"/>
                      <a:gd name="T9" fmla="*/ 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0" h="50">
                        <a:moveTo>
                          <a:pt x="1" y="0"/>
                        </a:moveTo>
                        <a:lnTo>
                          <a:pt x="110" y="22"/>
                        </a:lnTo>
                        <a:lnTo>
                          <a:pt x="95" y="50"/>
                        </a:lnTo>
                        <a:lnTo>
                          <a:pt x="0" y="12"/>
                        </a:ln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" name="Freeform 276">
                    <a:extLst>
                      <a:ext uri="{FF2B5EF4-FFF2-40B4-BE49-F238E27FC236}">
                        <a16:creationId xmlns:a16="http://schemas.microsoft.com/office/drawing/2014/main" id="{6CAC917E-8209-818B-00D8-74F7EFB7D51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77805" y="4949826"/>
                    <a:ext cx="252413" cy="258763"/>
                  </a:xfrm>
                  <a:custGeom>
                    <a:avLst/>
                    <a:gdLst>
                      <a:gd name="T0" fmla="*/ 7 w 128"/>
                      <a:gd name="T1" fmla="*/ 93 h 132"/>
                      <a:gd name="T2" fmla="*/ 49 w 128"/>
                      <a:gd name="T3" fmla="*/ 102 h 132"/>
                      <a:gd name="T4" fmla="*/ 91 w 128"/>
                      <a:gd name="T5" fmla="*/ 24 h 132"/>
                      <a:gd name="T6" fmla="*/ 121 w 128"/>
                      <a:gd name="T7" fmla="*/ 53 h 132"/>
                      <a:gd name="T8" fmla="*/ 70 w 128"/>
                      <a:gd name="T9" fmla="*/ 119 h 132"/>
                      <a:gd name="T10" fmla="*/ 38 w 128"/>
                      <a:gd name="T11" fmla="*/ 127 h 132"/>
                      <a:gd name="T12" fmla="*/ 0 w 128"/>
                      <a:gd name="T13" fmla="*/ 112 h 132"/>
                      <a:gd name="T14" fmla="*/ 7 w 128"/>
                      <a:gd name="T15" fmla="*/ 93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8" h="132">
                        <a:moveTo>
                          <a:pt x="7" y="93"/>
                        </a:moveTo>
                        <a:cubicBezTo>
                          <a:pt x="49" y="102"/>
                          <a:pt x="49" y="102"/>
                          <a:pt x="49" y="102"/>
                        </a:cubicBezTo>
                        <a:cubicBezTo>
                          <a:pt x="49" y="102"/>
                          <a:pt x="81" y="54"/>
                          <a:pt x="91" y="24"/>
                        </a:cubicBezTo>
                        <a:cubicBezTo>
                          <a:pt x="109" y="0"/>
                          <a:pt x="128" y="26"/>
                          <a:pt x="121" y="53"/>
                        </a:cubicBezTo>
                        <a:cubicBezTo>
                          <a:pt x="101" y="86"/>
                          <a:pt x="82" y="108"/>
                          <a:pt x="70" y="119"/>
                        </a:cubicBezTo>
                        <a:cubicBezTo>
                          <a:pt x="55" y="132"/>
                          <a:pt x="38" y="127"/>
                          <a:pt x="38" y="127"/>
                        </a:cubicBezTo>
                        <a:cubicBezTo>
                          <a:pt x="38" y="127"/>
                          <a:pt x="14" y="117"/>
                          <a:pt x="0" y="112"/>
                        </a:cubicBezTo>
                        <a:lnTo>
                          <a:pt x="7" y="93"/>
                        </a:ln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" name="Freeform 278">
                    <a:extLst>
                      <a:ext uri="{FF2B5EF4-FFF2-40B4-BE49-F238E27FC236}">
                        <a16:creationId xmlns:a16="http://schemas.microsoft.com/office/drawing/2014/main" id="{757E638E-570C-09D3-4534-44908F41911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112705" y="5087939"/>
                    <a:ext cx="79375" cy="46038"/>
                  </a:xfrm>
                  <a:custGeom>
                    <a:avLst/>
                    <a:gdLst>
                      <a:gd name="T0" fmla="*/ 40 w 40"/>
                      <a:gd name="T1" fmla="*/ 14 h 24"/>
                      <a:gd name="T2" fmla="*/ 31 w 40"/>
                      <a:gd name="T3" fmla="*/ 9 h 24"/>
                      <a:gd name="T4" fmla="*/ 24 w 40"/>
                      <a:gd name="T5" fmla="*/ 4 h 24"/>
                      <a:gd name="T6" fmla="*/ 21 w 40"/>
                      <a:gd name="T7" fmla="*/ 2 h 24"/>
                      <a:gd name="T8" fmla="*/ 4 w 40"/>
                      <a:gd name="T9" fmla="*/ 1 h 24"/>
                      <a:gd name="T10" fmla="*/ 4 w 40"/>
                      <a:gd name="T11" fmla="*/ 2 h 24"/>
                      <a:gd name="T12" fmla="*/ 12 w 40"/>
                      <a:gd name="T13" fmla="*/ 4 h 24"/>
                      <a:gd name="T14" fmla="*/ 1 w 40"/>
                      <a:gd name="T15" fmla="*/ 7 h 24"/>
                      <a:gd name="T16" fmla="*/ 3 w 40"/>
                      <a:gd name="T17" fmla="*/ 9 h 24"/>
                      <a:gd name="T18" fmla="*/ 11 w 40"/>
                      <a:gd name="T19" fmla="*/ 8 h 24"/>
                      <a:gd name="T20" fmla="*/ 25 w 40"/>
                      <a:gd name="T21" fmla="*/ 20 h 24"/>
                      <a:gd name="T22" fmla="*/ 19 w 40"/>
                      <a:gd name="T23" fmla="*/ 21 h 24"/>
                      <a:gd name="T24" fmla="*/ 22 w 40"/>
                      <a:gd name="T25" fmla="*/ 24 h 24"/>
                      <a:gd name="T26" fmla="*/ 39 w 40"/>
                      <a:gd name="T27" fmla="*/ 23 h 24"/>
                      <a:gd name="T28" fmla="*/ 40 w 40"/>
                      <a:gd name="T29" fmla="*/ 14 h 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0" h="24">
                        <a:moveTo>
                          <a:pt x="40" y="14"/>
                        </a:moveTo>
                        <a:cubicBezTo>
                          <a:pt x="40" y="14"/>
                          <a:pt x="35" y="12"/>
                          <a:pt x="31" y="9"/>
                        </a:cubicBezTo>
                        <a:cubicBezTo>
                          <a:pt x="28" y="7"/>
                          <a:pt x="24" y="4"/>
                          <a:pt x="24" y="4"/>
                        </a:cubicBezTo>
                        <a:cubicBezTo>
                          <a:pt x="24" y="4"/>
                          <a:pt x="23" y="3"/>
                          <a:pt x="21" y="2"/>
                        </a:cubicBezTo>
                        <a:cubicBezTo>
                          <a:pt x="20" y="1"/>
                          <a:pt x="12" y="0"/>
                          <a:pt x="4" y="1"/>
                        </a:cubicBezTo>
                        <a:cubicBezTo>
                          <a:pt x="3" y="1"/>
                          <a:pt x="3" y="2"/>
                          <a:pt x="4" y="2"/>
                        </a:cubicBezTo>
                        <a:cubicBezTo>
                          <a:pt x="5" y="3"/>
                          <a:pt x="12" y="4"/>
                          <a:pt x="12" y="4"/>
                        </a:cubicBezTo>
                        <a:cubicBezTo>
                          <a:pt x="12" y="4"/>
                          <a:pt x="3" y="6"/>
                          <a:pt x="1" y="7"/>
                        </a:cubicBezTo>
                        <a:cubicBezTo>
                          <a:pt x="0" y="7"/>
                          <a:pt x="1" y="9"/>
                          <a:pt x="3" y="9"/>
                        </a:cubicBezTo>
                        <a:cubicBezTo>
                          <a:pt x="4" y="9"/>
                          <a:pt x="11" y="8"/>
                          <a:pt x="11" y="8"/>
                        </a:cubicBezTo>
                        <a:cubicBezTo>
                          <a:pt x="25" y="20"/>
                          <a:pt x="25" y="20"/>
                          <a:pt x="25" y="20"/>
                        </a:cubicBezTo>
                        <a:cubicBezTo>
                          <a:pt x="19" y="21"/>
                          <a:pt x="19" y="21"/>
                          <a:pt x="19" y="21"/>
                        </a:cubicBezTo>
                        <a:cubicBezTo>
                          <a:pt x="22" y="24"/>
                          <a:pt x="22" y="24"/>
                          <a:pt x="22" y="24"/>
                        </a:cubicBezTo>
                        <a:cubicBezTo>
                          <a:pt x="22" y="24"/>
                          <a:pt x="30" y="24"/>
                          <a:pt x="39" y="23"/>
                        </a:cubicBezTo>
                        <a:lnTo>
                          <a:pt x="40" y="14"/>
                        </a:lnTo>
                        <a:close/>
                      </a:path>
                    </a:pathLst>
                  </a:custGeom>
                  <a:solidFill>
                    <a:srgbClr val="CAE1E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" name="Freeform 279">
                    <a:extLst>
                      <a:ext uri="{FF2B5EF4-FFF2-40B4-BE49-F238E27FC236}">
                        <a16:creationId xmlns:a16="http://schemas.microsoft.com/office/drawing/2014/main" id="{39D37F98-D300-69E6-0C1B-E03F9A3CEA9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10252405" y="5707064"/>
                    <a:ext cx="63500" cy="38100"/>
                  </a:xfrm>
                  <a:custGeom>
                    <a:avLst/>
                    <a:gdLst>
                      <a:gd name="T0" fmla="*/ 11 w 32"/>
                      <a:gd name="T1" fmla="*/ 9 h 19"/>
                      <a:gd name="T2" fmla="*/ 2 w 32"/>
                      <a:gd name="T3" fmla="*/ 11 h 19"/>
                      <a:gd name="T4" fmla="*/ 1 w 32"/>
                      <a:gd name="T5" fmla="*/ 14 h 19"/>
                      <a:gd name="T6" fmla="*/ 13 w 32"/>
                      <a:gd name="T7" fmla="*/ 16 h 19"/>
                      <a:gd name="T8" fmla="*/ 23 w 32"/>
                      <a:gd name="T9" fmla="*/ 10 h 19"/>
                      <a:gd name="T10" fmla="*/ 22 w 32"/>
                      <a:gd name="T11" fmla="*/ 18 h 19"/>
                      <a:gd name="T12" fmla="*/ 26 w 32"/>
                      <a:gd name="T13" fmla="*/ 19 h 19"/>
                      <a:gd name="T14" fmla="*/ 30 w 32"/>
                      <a:gd name="T15" fmla="*/ 6 h 19"/>
                      <a:gd name="T16" fmla="*/ 31 w 32"/>
                      <a:gd name="T17" fmla="*/ 0 h 19"/>
                      <a:gd name="T18" fmla="*/ 23 w 32"/>
                      <a:gd name="T19" fmla="*/ 5 h 19"/>
                      <a:gd name="T20" fmla="*/ 11 w 32"/>
                      <a:gd name="T21" fmla="*/ 9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2" h="19">
                        <a:moveTo>
                          <a:pt x="11" y="9"/>
                        </a:moveTo>
                        <a:cubicBezTo>
                          <a:pt x="8" y="9"/>
                          <a:pt x="3" y="11"/>
                          <a:pt x="2" y="11"/>
                        </a:cubicBezTo>
                        <a:cubicBezTo>
                          <a:pt x="0" y="11"/>
                          <a:pt x="1" y="14"/>
                          <a:pt x="1" y="14"/>
                        </a:cubicBezTo>
                        <a:cubicBezTo>
                          <a:pt x="1" y="14"/>
                          <a:pt x="11" y="15"/>
                          <a:pt x="13" y="16"/>
                        </a:cubicBezTo>
                        <a:cubicBezTo>
                          <a:pt x="15" y="16"/>
                          <a:pt x="23" y="10"/>
                          <a:pt x="23" y="10"/>
                        </a:cubicBezTo>
                        <a:cubicBezTo>
                          <a:pt x="22" y="18"/>
                          <a:pt x="22" y="18"/>
                          <a:pt x="22" y="18"/>
                        </a:cubicBezTo>
                        <a:cubicBezTo>
                          <a:pt x="26" y="19"/>
                          <a:pt x="26" y="19"/>
                          <a:pt x="26" y="19"/>
                        </a:cubicBezTo>
                        <a:cubicBezTo>
                          <a:pt x="26" y="19"/>
                          <a:pt x="28" y="12"/>
                          <a:pt x="30" y="6"/>
                        </a:cubicBezTo>
                        <a:cubicBezTo>
                          <a:pt x="32" y="3"/>
                          <a:pt x="31" y="0"/>
                          <a:pt x="31" y="0"/>
                        </a:cubicBezTo>
                        <a:cubicBezTo>
                          <a:pt x="31" y="0"/>
                          <a:pt x="29" y="0"/>
                          <a:pt x="23" y="5"/>
                        </a:cubicBezTo>
                        <a:cubicBezTo>
                          <a:pt x="17" y="11"/>
                          <a:pt x="13" y="9"/>
                          <a:pt x="11" y="9"/>
                        </a:cubicBezTo>
                        <a:close/>
                      </a:path>
                    </a:pathLst>
                  </a:custGeom>
                  <a:solidFill>
                    <a:srgbClr val="002B6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4" name="Freeform 179">
                  <a:extLst>
                    <a:ext uri="{FF2B5EF4-FFF2-40B4-BE49-F238E27FC236}">
                      <a16:creationId xmlns:a16="http://schemas.microsoft.com/office/drawing/2014/main" id="{DD5D2274-B1F5-CEDB-432E-1459EBFA6A5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081113" y="4808808"/>
                  <a:ext cx="566968" cy="273800"/>
                </a:xfrm>
                <a:custGeom>
                  <a:avLst/>
                  <a:gdLst>
                    <a:gd name="T0" fmla="*/ 262 w 551"/>
                    <a:gd name="T1" fmla="*/ 0 h 266"/>
                    <a:gd name="T2" fmla="*/ 238 w 551"/>
                    <a:gd name="T3" fmla="*/ 1 h 266"/>
                    <a:gd name="T4" fmla="*/ 240 w 551"/>
                    <a:gd name="T5" fmla="*/ 6 h 266"/>
                    <a:gd name="T6" fmla="*/ 264 w 551"/>
                    <a:gd name="T7" fmla="*/ 12 h 266"/>
                    <a:gd name="T8" fmla="*/ 282 w 551"/>
                    <a:gd name="T9" fmla="*/ 24 h 266"/>
                    <a:gd name="T10" fmla="*/ 281 w 551"/>
                    <a:gd name="T11" fmla="*/ 24 h 266"/>
                    <a:gd name="T12" fmla="*/ 280 w 551"/>
                    <a:gd name="T13" fmla="*/ 111 h 266"/>
                    <a:gd name="T14" fmla="*/ 218 w 551"/>
                    <a:gd name="T15" fmla="*/ 100 h 266"/>
                    <a:gd name="T16" fmla="*/ 166 w 551"/>
                    <a:gd name="T17" fmla="*/ 128 h 266"/>
                    <a:gd name="T18" fmla="*/ 94 w 551"/>
                    <a:gd name="T19" fmla="*/ 246 h 266"/>
                    <a:gd name="T20" fmla="*/ 0 w 551"/>
                    <a:gd name="T21" fmla="*/ 266 h 266"/>
                    <a:gd name="T22" fmla="*/ 224 w 551"/>
                    <a:gd name="T23" fmla="*/ 266 h 266"/>
                    <a:gd name="T24" fmla="*/ 241 w 551"/>
                    <a:gd name="T25" fmla="*/ 240 h 266"/>
                    <a:gd name="T26" fmla="*/ 212 w 551"/>
                    <a:gd name="T27" fmla="*/ 236 h 266"/>
                    <a:gd name="T28" fmla="*/ 217 w 551"/>
                    <a:gd name="T29" fmla="*/ 156 h 266"/>
                    <a:gd name="T30" fmla="*/ 280 w 551"/>
                    <a:gd name="T31" fmla="*/ 166 h 266"/>
                    <a:gd name="T32" fmla="*/ 279 w 551"/>
                    <a:gd name="T33" fmla="*/ 266 h 266"/>
                    <a:gd name="T34" fmla="*/ 364 w 551"/>
                    <a:gd name="T35" fmla="*/ 266 h 266"/>
                    <a:gd name="T36" fmla="*/ 348 w 551"/>
                    <a:gd name="T37" fmla="*/ 167 h 266"/>
                    <a:gd name="T38" fmla="*/ 451 w 551"/>
                    <a:gd name="T39" fmla="*/ 166 h 266"/>
                    <a:gd name="T40" fmla="*/ 510 w 551"/>
                    <a:gd name="T41" fmla="*/ 167 h 266"/>
                    <a:gd name="T42" fmla="*/ 519 w 551"/>
                    <a:gd name="T43" fmla="*/ 168 h 266"/>
                    <a:gd name="T44" fmla="*/ 521 w 551"/>
                    <a:gd name="T45" fmla="*/ 168 h 266"/>
                    <a:gd name="T46" fmla="*/ 545 w 551"/>
                    <a:gd name="T47" fmla="*/ 168 h 266"/>
                    <a:gd name="T48" fmla="*/ 546 w 551"/>
                    <a:gd name="T49" fmla="*/ 160 h 266"/>
                    <a:gd name="T50" fmla="*/ 532 w 551"/>
                    <a:gd name="T51" fmla="*/ 158 h 266"/>
                    <a:gd name="T52" fmla="*/ 548 w 551"/>
                    <a:gd name="T53" fmla="*/ 143 h 266"/>
                    <a:gd name="T54" fmla="*/ 551 w 551"/>
                    <a:gd name="T55" fmla="*/ 121 h 266"/>
                    <a:gd name="T56" fmla="*/ 548 w 551"/>
                    <a:gd name="T57" fmla="*/ 119 h 266"/>
                    <a:gd name="T58" fmla="*/ 545 w 551"/>
                    <a:gd name="T59" fmla="*/ 121 h 266"/>
                    <a:gd name="T60" fmla="*/ 537 w 551"/>
                    <a:gd name="T61" fmla="*/ 135 h 266"/>
                    <a:gd name="T62" fmla="*/ 511 w 551"/>
                    <a:gd name="T63" fmla="*/ 150 h 266"/>
                    <a:gd name="T64" fmla="*/ 338 w 551"/>
                    <a:gd name="T65" fmla="*/ 121 h 266"/>
                    <a:gd name="T66" fmla="*/ 315 w 551"/>
                    <a:gd name="T67" fmla="*/ 27 h 266"/>
                    <a:gd name="T68" fmla="*/ 306 w 551"/>
                    <a:gd name="T69" fmla="*/ 25 h 266"/>
                    <a:gd name="T70" fmla="*/ 306 w 551"/>
                    <a:gd name="T71" fmla="*/ 22 h 266"/>
                    <a:gd name="T72" fmla="*/ 306 w 551"/>
                    <a:gd name="T73" fmla="*/ 0 h 266"/>
                    <a:gd name="T74" fmla="*/ 288 w 551"/>
                    <a:gd name="T75" fmla="*/ 0 h 266"/>
                    <a:gd name="T76" fmla="*/ 287 w 551"/>
                    <a:gd name="T77" fmla="*/ 8 h 266"/>
                    <a:gd name="T78" fmla="*/ 262 w 551"/>
                    <a:gd name="T79" fmla="*/ 0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551" h="266">
                      <a:moveTo>
                        <a:pt x="262" y="0"/>
                      </a:moveTo>
                      <a:cubicBezTo>
                        <a:pt x="238" y="1"/>
                        <a:pt x="238" y="1"/>
                        <a:pt x="238" y="1"/>
                      </a:cubicBezTo>
                      <a:cubicBezTo>
                        <a:pt x="238" y="1"/>
                        <a:pt x="235" y="5"/>
                        <a:pt x="240" y="6"/>
                      </a:cubicBezTo>
                      <a:cubicBezTo>
                        <a:pt x="241" y="6"/>
                        <a:pt x="264" y="12"/>
                        <a:pt x="264" y="12"/>
                      </a:cubicBezTo>
                      <a:cubicBezTo>
                        <a:pt x="282" y="24"/>
                        <a:pt x="282" y="24"/>
                        <a:pt x="282" y="24"/>
                      </a:cubicBezTo>
                      <a:cubicBezTo>
                        <a:pt x="281" y="24"/>
                        <a:pt x="281" y="24"/>
                        <a:pt x="281" y="24"/>
                      </a:cubicBezTo>
                      <a:cubicBezTo>
                        <a:pt x="280" y="111"/>
                        <a:pt x="280" y="111"/>
                        <a:pt x="280" y="111"/>
                      </a:cubicBezTo>
                      <a:cubicBezTo>
                        <a:pt x="218" y="100"/>
                        <a:pt x="218" y="100"/>
                        <a:pt x="218" y="100"/>
                      </a:cubicBezTo>
                      <a:cubicBezTo>
                        <a:pt x="218" y="100"/>
                        <a:pt x="187" y="101"/>
                        <a:pt x="166" y="128"/>
                      </a:cubicBezTo>
                      <a:cubicBezTo>
                        <a:pt x="163" y="132"/>
                        <a:pt x="129" y="188"/>
                        <a:pt x="94" y="246"/>
                      </a:cubicBezTo>
                      <a:cubicBezTo>
                        <a:pt x="63" y="251"/>
                        <a:pt x="31" y="258"/>
                        <a:pt x="0" y="266"/>
                      </a:cubicBezTo>
                      <a:cubicBezTo>
                        <a:pt x="224" y="266"/>
                        <a:pt x="224" y="266"/>
                        <a:pt x="224" y="266"/>
                      </a:cubicBezTo>
                      <a:cubicBezTo>
                        <a:pt x="228" y="258"/>
                        <a:pt x="233" y="249"/>
                        <a:pt x="241" y="240"/>
                      </a:cubicBezTo>
                      <a:cubicBezTo>
                        <a:pt x="234" y="238"/>
                        <a:pt x="224" y="237"/>
                        <a:pt x="212" y="236"/>
                      </a:cubicBezTo>
                      <a:cubicBezTo>
                        <a:pt x="215" y="205"/>
                        <a:pt x="216" y="176"/>
                        <a:pt x="217" y="156"/>
                      </a:cubicBezTo>
                      <a:cubicBezTo>
                        <a:pt x="224" y="162"/>
                        <a:pt x="248" y="165"/>
                        <a:pt x="280" y="166"/>
                      </a:cubicBezTo>
                      <a:cubicBezTo>
                        <a:pt x="279" y="266"/>
                        <a:pt x="279" y="266"/>
                        <a:pt x="279" y="266"/>
                      </a:cubicBezTo>
                      <a:cubicBezTo>
                        <a:pt x="364" y="266"/>
                        <a:pt x="364" y="266"/>
                        <a:pt x="364" y="266"/>
                      </a:cubicBezTo>
                      <a:cubicBezTo>
                        <a:pt x="362" y="236"/>
                        <a:pt x="356" y="201"/>
                        <a:pt x="348" y="167"/>
                      </a:cubicBezTo>
                      <a:cubicBezTo>
                        <a:pt x="382" y="166"/>
                        <a:pt x="417" y="166"/>
                        <a:pt x="451" y="166"/>
                      </a:cubicBezTo>
                      <a:cubicBezTo>
                        <a:pt x="472" y="166"/>
                        <a:pt x="492" y="166"/>
                        <a:pt x="510" y="167"/>
                      </a:cubicBezTo>
                      <a:cubicBezTo>
                        <a:pt x="510" y="167"/>
                        <a:pt x="514" y="168"/>
                        <a:pt x="519" y="168"/>
                      </a:cubicBezTo>
                      <a:cubicBezTo>
                        <a:pt x="520" y="168"/>
                        <a:pt x="520" y="168"/>
                        <a:pt x="521" y="168"/>
                      </a:cubicBezTo>
                      <a:cubicBezTo>
                        <a:pt x="532" y="168"/>
                        <a:pt x="545" y="168"/>
                        <a:pt x="545" y="168"/>
                      </a:cubicBezTo>
                      <a:cubicBezTo>
                        <a:pt x="546" y="160"/>
                        <a:pt x="546" y="160"/>
                        <a:pt x="546" y="160"/>
                      </a:cubicBezTo>
                      <a:cubicBezTo>
                        <a:pt x="532" y="158"/>
                        <a:pt x="532" y="158"/>
                        <a:pt x="532" y="158"/>
                      </a:cubicBezTo>
                      <a:cubicBezTo>
                        <a:pt x="532" y="158"/>
                        <a:pt x="547" y="147"/>
                        <a:pt x="548" y="143"/>
                      </a:cubicBezTo>
                      <a:cubicBezTo>
                        <a:pt x="548" y="139"/>
                        <a:pt x="551" y="121"/>
                        <a:pt x="551" y="121"/>
                      </a:cubicBezTo>
                      <a:cubicBezTo>
                        <a:pt x="551" y="121"/>
                        <a:pt x="549" y="119"/>
                        <a:pt x="548" y="119"/>
                      </a:cubicBezTo>
                      <a:cubicBezTo>
                        <a:pt x="547" y="119"/>
                        <a:pt x="546" y="120"/>
                        <a:pt x="545" y="121"/>
                      </a:cubicBezTo>
                      <a:cubicBezTo>
                        <a:pt x="545" y="123"/>
                        <a:pt x="539" y="131"/>
                        <a:pt x="537" y="135"/>
                      </a:cubicBezTo>
                      <a:cubicBezTo>
                        <a:pt x="511" y="150"/>
                        <a:pt x="511" y="150"/>
                        <a:pt x="511" y="150"/>
                      </a:cubicBezTo>
                      <a:cubicBezTo>
                        <a:pt x="338" y="121"/>
                        <a:pt x="338" y="121"/>
                        <a:pt x="338" y="121"/>
                      </a:cubicBezTo>
                      <a:cubicBezTo>
                        <a:pt x="326" y="73"/>
                        <a:pt x="315" y="27"/>
                        <a:pt x="315" y="27"/>
                      </a:cubicBezTo>
                      <a:cubicBezTo>
                        <a:pt x="306" y="25"/>
                        <a:pt x="306" y="25"/>
                        <a:pt x="306" y="25"/>
                      </a:cubicBezTo>
                      <a:cubicBezTo>
                        <a:pt x="306" y="22"/>
                        <a:pt x="306" y="22"/>
                        <a:pt x="306" y="22"/>
                      </a:cubicBezTo>
                      <a:cubicBezTo>
                        <a:pt x="306" y="0"/>
                        <a:pt x="306" y="0"/>
                        <a:pt x="306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87" y="8"/>
                        <a:pt x="287" y="8"/>
                        <a:pt x="287" y="8"/>
                      </a:cubicBezTo>
                      <a:cubicBezTo>
                        <a:pt x="262" y="0"/>
                        <a:pt x="262" y="0"/>
                        <a:pt x="262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5" name="Freeform 178">
                  <a:extLst>
                    <a:ext uri="{FF2B5EF4-FFF2-40B4-BE49-F238E27FC236}">
                      <a16:creationId xmlns:a16="http://schemas.microsoft.com/office/drawing/2014/main" id="{10889BD1-330B-5AC9-73D4-D454F73778E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3695018" y="4798755"/>
                  <a:ext cx="340636" cy="295218"/>
                </a:xfrm>
                <a:custGeom>
                  <a:avLst/>
                  <a:gdLst>
                    <a:gd name="T0" fmla="*/ 214 w 308"/>
                    <a:gd name="T1" fmla="*/ 0 h 267"/>
                    <a:gd name="T2" fmla="*/ 208 w 308"/>
                    <a:gd name="T3" fmla="*/ 1 h 267"/>
                    <a:gd name="T4" fmla="*/ 210 w 308"/>
                    <a:gd name="T5" fmla="*/ 13 h 267"/>
                    <a:gd name="T6" fmla="*/ 195 w 308"/>
                    <a:gd name="T7" fmla="*/ 4 h 267"/>
                    <a:gd name="T8" fmla="*/ 194 w 308"/>
                    <a:gd name="T9" fmla="*/ 4 h 267"/>
                    <a:gd name="T10" fmla="*/ 175 w 308"/>
                    <a:gd name="T11" fmla="*/ 8 h 267"/>
                    <a:gd name="T12" fmla="*/ 177 w 308"/>
                    <a:gd name="T13" fmla="*/ 12 h 267"/>
                    <a:gd name="T14" fmla="*/ 190 w 308"/>
                    <a:gd name="T15" fmla="*/ 16 h 267"/>
                    <a:gd name="T16" fmla="*/ 210 w 308"/>
                    <a:gd name="T17" fmla="*/ 32 h 267"/>
                    <a:gd name="T18" fmla="*/ 230 w 308"/>
                    <a:gd name="T19" fmla="*/ 190 h 267"/>
                    <a:gd name="T20" fmla="*/ 172 w 308"/>
                    <a:gd name="T21" fmla="*/ 119 h 267"/>
                    <a:gd name="T22" fmla="*/ 124 w 308"/>
                    <a:gd name="T23" fmla="*/ 94 h 267"/>
                    <a:gd name="T24" fmla="*/ 74 w 308"/>
                    <a:gd name="T25" fmla="*/ 128 h 267"/>
                    <a:gd name="T26" fmla="*/ 0 w 308"/>
                    <a:gd name="T27" fmla="*/ 267 h 267"/>
                    <a:gd name="T28" fmla="*/ 135 w 308"/>
                    <a:gd name="T29" fmla="*/ 267 h 267"/>
                    <a:gd name="T30" fmla="*/ 139 w 308"/>
                    <a:gd name="T31" fmla="*/ 192 h 267"/>
                    <a:gd name="T32" fmla="*/ 218 w 308"/>
                    <a:gd name="T33" fmla="*/ 267 h 267"/>
                    <a:gd name="T34" fmla="*/ 308 w 308"/>
                    <a:gd name="T35" fmla="*/ 267 h 267"/>
                    <a:gd name="T36" fmla="*/ 223 w 308"/>
                    <a:gd name="T37" fmla="*/ 29 h 267"/>
                    <a:gd name="T38" fmla="*/ 222 w 308"/>
                    <a:gd name="T39" fmla="*/ 20 h 267"/>
                    <a:gd name="T40" fmla="*/ 214 w 308"/>
                    <a:gd name="T41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08" h="267">
                      <a:moveTo>
                        <a:pt x="214" y="0"/>
                      </a:moveTo>
                      <a:cubicBezTo>
                        <a:pt x="208" y="1"/>
                        <a:pt x="208" y="1"/>
                        <a:pt x="208" y="1"/>
                      </a:cubicBezTo>
                      <a:cubicBezTo>
                        <a:pt x="210" y="13"/>
                        <a:pt x="210" y="13"/>
                        <a:pt x="210" y="13"/>
                      </a:cubicBezTo>
                      <a:cubicBezTo>
                        <a:pt x="210" y="13"/>
                        <a:pt x="198" y="4"/>
                        <a:pt x="195" y="4"/>
                      </a:cubicBezTo>
                      <a:cubicBezTo>
                        <a:pt x="194" y="4"/>
                        <a:pt x="194" y="4"/>
                        <a:pt x="194" y="4"/>
                      </a:cubicBezTo>
                      <a:cubicBezTo>
                        <a:pt x="191" y="5"/>
                        <a:pt x="175" y="8"/>
                        <a:pt x="175" y="8"/>
                      </a:cubicBezTo>
                      <a:cubicBezTo>
                        <a:pt x="175" y="8"/>
                        <a:pt x="173" y="12"/>
                        <a:pt x="177" y="12"/>
                      </a:cubicBezTo>
                      <a:cubicBezTo>
                        <a:pt x="178" y="12"/>
                        <a:pt x="187" y="15"/>
                        <a:pt x="190" y="16"/>
                      </a:cubicBezTo>
                      <a:cubicBezTo>
                        <a:pt x="210" y="32"/>
                        <a:pt x="210" y="32"/>
                        <a:pt x="210" y="32"/>
                      </a:cubicBezTo>
                      <a:cubicBezTo>
                        <a:pt x="230" y="190"/>
                        <a:pt x="230" y="190"/>
                        <a:pt x="230" y="190"/>
                      </a:cubicBezTo>
                      <a:cubicBezTo>
                        <a:pt x="200" y="154"/>
                        <a:pt x="177" y="125"/>
                        <a:pt x="172" y="119"/>
                      </a:cubicBezTo>
                      <a:cubicBezTo>
                        <a:pt x="164" y="107"/>
                        <a:pt x="145" y="94"/>
                        <a:pt x="124" y="94"/>
                      </a:cubicBezTo>
                      <a:cubicBezTo>
                        <a:pt x="107" y="94"/>
                        <a:pt x="89" y="102"/>
                        <a:pt x="74" y="128"/>
                      </a:cubicBezTo>
                      <a:cubicBezTo>
                        <a:pt x="54" y="164"/>
                        <a:pt x="24" y="222"/>
                        <a:pt x="0" y="267"/>
                      </a:cubicBezTo>
                      <a:cubicBezTo>
                        <a:pt x="135" y="267"/>
                        <a:pt x="135" y="267"/>
                        <a:pt x="135" y="267"/>
                      </a:cubicBezTo>
                      <a:cubicBezTo>
                        <a:pt x="138" y="241"/>
                        <a:pt x="139" y="214"/>
                        <a:pt x="139" y="192"/>
                      </a:cubicBezTo>
                      <a:cubicBezTo>
                        <a:pt x="218" y="267"/>
                        <a:pt x="218" y="267"/>
                        <a:pt x="218" y="267"/>
                      </a:cubicBezTo>
                      <a:cubicBezTo>
                        <a:pt x="308" y="267"/>
                        <a:pt x="308" y="267"/>
                        <a:pt x="308" y="267"/>
                      </a:cubicBezTo>
                      <a:cubicBezTo>
                        <a:pt x="297" y="187"/>
                        <a:pt x="223" y="29"/>
                        <a:pt x="223" y="29"/>
                      </a:cubicBezTo>
                      <a:cubicBezTo>
                        <a:pt x="223" y="29"/>
                        <a:pt x="223" y="24"/>
                        <a:pt x="222" y="20"/>
                      </a:cubicBezTo>
                      <a:cubicBezTo>
                        <a:pt x="218" y="11"/>
                        <a:pt x="214" y="0"/>
                        <a:pt x="214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16" name="Freeform 176">
                  <a:extLst>
                    <a:ext uri="{FF2B5EF4-FFF2-40B4-BE49-F238E27FC236}">
                      <a16:creationId xmlns:a16="http://schemas.microsoft.com/office/drawing/2014/main" id="{477E5BF2-5E6F-90B5-197C-8054581FB34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236034" y="4916018"/>
                  <a:ext cx="541027" cy="181578"/>
                </a:xfrm>
                <a:custGeom>
                  <a:avLst/>
                  <a:gdLst>
                    <a:gd name="T0" fmla="*/ 91 w 375"/>
                    <a:gd name="T1" fmla="*/ 0 h 126"/>
                    <a:gd name="T2" fmla="*/ 48 w 375"/>
                    <a:gd name="T3" fmla="*/ 25 h 126"/>
                    <a:gd name="T4" fmla="*/ 0 w 375"/>
                    <a:gd name="T5" fmla="*/ 126 h 126"/>
                    <a:gd name="T6" fmla="*/ 88 w 375"/>
                    <a:gd name="T7" fmla="*/ 126 h 126"/>
                    <a:gd name="T8" fmla="*/ 92 w 375"/>
                    <a:gd name="T9" fmla="*/ 48 h 126"/>
                    <a:gd name="T10" fmla="*/ 152 w 375"/>
                    <a:gd name="T11" fmla="*/ 55 h 126"/>
                    <a:gd name="T12" fmla="*/ 240 w 375"/>
                    <a:gd name="T13" fmla="*/ 52 h 126"/>
                    <a:gd name="T14" fmla="*/ 331 w 375"/>
                    <a:gd name="T15" fmla="*/ 50 h 126"/>
                    <a:gd name="T16" fmla="*/ 341 w 375"/>
                    <a:gd name="T17" fmla="*/ 50 h 126"/>
                    <a:gd name="T18" fmla="*/ 349 w 375"/>
                    <a:gd name="T19" fmla="*/ 51 h 126"/>
                    <a:gd name="T20" fmla="*/ 351 w 375"/>
                    <a:gd name="T21" fmla="*/ 51 h 126"/>
                    <a:gd name="T22" fmla="*/ 371 w 375"/>
                    <a:gd name="T23" fmla="*/ 50 h 126"/>
                    <a:gd name="T24" fmla="*/ 372 w 375"/>
                    <a:gd name="T25" fmla="*/ 44 h 126"/>
                    <a:gd name="T26" fmla="*/ 360 w 375"/>
                    <a:gd name="T27" fmla="*/ 42 h 126"/>
                    <a:gd name="T28" fmla="*/ 373 w 375"/>
                    <a:gd name="T29" fmla="*/ 29 h 126"/>
                    <a:gd name="T30" fmla="*/ 375 w 375"/>
                    <a:gd name="T31" fmla="*/ 10 h 126"/>
                    <a:gd name="T32" fmla="*/ 372 w 375"/>
                    <a:gd name="T33" fmla="*/ 9 h 126"/>
                    <a:gd name="T34" fmla="*/ 370 w 375"/>
                    <a:gd name="T35" fmla="*/ 10 h 126"/>
                    <a:gd name="T36" fmla="*/ 363 w 375"/>
                    <a:gd name="T37" fmla="*/ 22 h 126"/>
                    <a:gd name="T38" fmla="*/ 342 w 375"/>
                    <a:gd name="T39" fmla="*/ 36 h 126"/>
                    <a:gd name="T40" fmla="*/ 176 w 375"/>
                    <a:gd name="T41" fmla="*/ 13 h 126"/>
                    <a:gd name="T42" fmla="*/ 91 w 375"/>
                    <a:gd name="T43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75" h="126">
                      <a:moveTo>
                        <a:pt x="91" y="0"/>
                      </a:moveTo>
                      <a:cubicBezTo>
                        <a:pt x="91" y="0"/>
                        <a:pt x="65" y="2"/>
                        <a:pt x="48" y="25"/>
                      </a:cubicBezTo>
                      <a:cubicBezTo>
                        <a:pt x="46" y="29"/>
                        <a:pt x="23" y="76"/>
                        <a:pt x="0" y="126"/>
                      </a:cubicBezTo>
                      <a:cubicBezTo>
                        <a:pt x="88" y="126"/>
                        <a:pt x="88" y="126"/>
                        <a:pt x="88" y="126"/>
                      </a:cubicBezTo>
                      <a:cubicBezTo>
                        <a:pt x="91" y="96"/>
                        <a:pt x="92" y="67"/>
                        <a:pt x="92" y="48"/>
                      </a:cubicBezTo>
                      <a:cubicBezTo>
                        <a:pt x="99" y="53"/>
                        <a:pt x="121" y="55"/>
                        <a:pt x="152" y="55"/>
                      </a:cubicBezTo>
                      <a:cubicBezTo>
                        <a:pt x="177" y="55"/>
                        <a:pt x="208" y="53"/>
                        <a:pt x="240" y="52"/>
                      </a:cubicBezTo>
                      <a:cubicBezTo>
                        <a:pt x="271" y="51"/>
                        <a:pt x="303" y="50"/>
                        <a:pt x="331" y="50"/>
                      </a:cubicBezTo>
                      <a:cubicBezTo>
                        <a:pt x="334" y="50"/>
                        <a:pt x="338" y="50"/>
                        <a:pt x="341" y="50"/>
                      </a:cubicBezTo>
                      <a:cubicBezTo>
                        <a:pt x="341" y="50"/>
                        <a:pt x="345" y="51"/>
                        <a:pt x="349" y="51"/>
                      </a:cubicBezTo>
                      <a:cubicBezTo>
                        <a:pt x="349" y="51"/>
                        <a:pt x="350" y="51"/>
                        <a:pt x="351" y="51"/>
                      </a:cubicBezTo>
                      <a:cubicBezTo>
                        <a:pt x="360" y="50"/>
                        <a:pt x="371" y="50"/>
                        <a:pt x="371" y="50"/>
                      </a:cubicBezTo>
                      <a:cubicBezTo>
                        <a:pt x="372" y="44"/>
                        <a:pt x="372" y="44"/>
                        <a:pt x="372" y="44"/>
                      </a:cubicBezTo>
                      <a:cubicBezTo>
                        <a:pt x="360" y="42"/>
                        <a:pt x="360" y="42"/>
                        <a:pt x="360" y="42"/>
                      </a:cubicBezTo>
                      <a:cubicBezTo>
                        <a:pt x="360" y="42"/>
                        <a:pt x="373" y="33"/>
                        <a:pt x="373" y="29"/>
                      </a:cubicBezTo>
                      <a:cubicBezTo>
                        <a:pt x="373" y="26"/>
                        <a:pt x="375" y="10"/>
                        <a:pt x="375" y="10"/>
                      </a:cubicBezTo>
                      <a:cubicBezTo>
                        <a:pt x="375" y="10"/>
                        <a:pt x="374" y="9"/>
                        <a:pt x="372" y="9"/>
                      </a:cubicBezTo>
                      <a:cubicBezTo>
                        <a:pt x="372" y="9"/>
                        <a:pt x="371" y="9"/>
                        <a:pt x="370" y="10"/>
                      </a:cubicBezTo>
                      <a:cubicBezTo>
                        <a:pt x="370" y="11"/>
                        <a:pt x="365" y="19"/>
                        <a:pt x="363" y="22"/>
                      </a:cubicBezTo>
                      <a:cubicBezTo>
                        <a:pt x="342" y="36"/>
                        <a:pt x="342" y="36"/>
                        <a:pt x="342" y="36"/>
                      </a:cubicBezTo>
                      <a:cubicBezTo>
                        <a:pt x="176" y="13"/>
                        <a:pt x="176" y="13"/>
                        <a:pt x="176" y="13"/>
                      </a:cubicBezTo>
                      <a:cubicBezTo>
                        <a:pt x="91" y="0"/>
                        <a:pt x="91" y="0"/>
                        <a:pt x="91" y="0"/>
                      </a:cubicBezTo>
                    </a:path>
                  </a:pathLst>
                </a:custGeom>
                <a:gradFill flip="none" rotWithShape="1">
                  <a:gsLst>
                    <a:gs pos="1000">
                      <a:srgbClr val="13879C"/>
                    </a:gs>
                    <a:gs pos="100000">
                      <a:srgbClr val="1E95AF">
                        <a:alpha val="0"/>
                      </a:srgbClr>
                    </a:gs>
                  </a:gsLst>
                  <a:lin ang="5400000" scaled="1"/>
                  <a:tileRect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5511818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B7748D0-D3EB-FF4E-761E-EAEB4A0A30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4570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06" imgH="608" progId="TCLayout.ActiveDocument.1">
                  <p:embed/>
                </p:oleObj>
              </mc:Choice>
              <mc:Fallback>
                <p:oleObj name="think-cell Folie" r:id="rId3" imgW="606" imgH="6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73C74DB-E098-7DF1-CCE7-D2D2639107E0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443371" y="1772816"/>
            <a:ext cx="6264697" cy="360040"/>
          </a:xfrm>
        </p:spPr>
        <p:txBody>
          <a:bodyPr/>
          <a:lstStyle/>
          <a:p>
            <a:r>
              <a:rPr lang="de-DE" dirty="0"/>
              <a:t>Wo stehen wir?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9D54587-2049-9492-4213-AA2EF82C7C7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131FD56A-9F61-C849-86D1-55BBD252EF2C}" type="datetime1">
              <a:rPr lang="de-DE" smtClean="0"/>
              <a:t>03.03.2025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F4B440-28F3-A5F2-37CB-AC8AC06461B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CB58C3F2-3AE3-417E-B204-81AF71A01582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D494720-0FCC-E565-048D-7D5EC3BC9D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US </a:t>
            </a:r>
            <a:r>
              <a:rPr lang="de-DE" dirty="0" err="1"/>
              <a:t>Casualty</a:t>
            </a:r>
            <a:r>
              <a:rPr lang="de-DE" dirty="0"/>
              <a:t> – das </a:t>
            </a:r>
            <a:br>
              <a:rPr lang="de-DE" dirty="0"/>
            </a:br>
            <a:r>
              <a:rPr lang="de-DE" dirty="0"/>
              <a:t>kritische Thema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D2875F7A-D8A4-E869-D426-51DE06CD120C}"/>
              </a:ext>
            </a:extLst>
          </p:cNvPr>
          <p:cNvPicPr>
            <a:picLocks noGrp="1" noChangeAspect="1"/>
          </p:cNvPicPr>
          <p:nvPr>
            <p:ph sz="quarter" idx="26"/>
          </p:nvPr>
        </p:nvPicPr>
        <p:blipFill>
          <a:blip r:embed="rId5"/>
          <a:stretch>
            <a:fillRect/>
          </a:stretch>
        </p:blipFill>
        <p:spPr>
          <a:xfrm>
            <a:off x="442913" y="2384884"/>
            <a:ext cx="6265862" cy="23037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1FAE23CC-4FA7-48DB-6D93-2207EBE9BBB2}"/>
              </a:ext>
            </a:extLst>
          </p:cNvPr>
          <p:cNvPicPr>
            <a:picLocks noGrp="1" noChangeAspect="1"/>
          </p:cNvPicPr>
          <p:nvPr>
            <p:ph sz="quarter" idx="27"/>
          </p:nvPr>
        </p:nvPicPr>
        <p:blipFill>
          <a:blip r:embed="rId6"/>
          <a:stretch>
            <a:fillRect/>
          </a:stretch>
        </p:blipFill>
        <p:spPr>
          <a:xfrm>
            <a:off x="8412737" y="1447523"/>
            <a:ext cx="3143689" cy="39629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875F3D36-3835-D678-6FE0-8C395D3A0F6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67808" y="4900086"/>
            <a:ext cx="3108536" cy="1957914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C7890023-5061-90B5-880C-1F19841A706E}"/>
              </a:ext>
            </a:extLst>
          </p:cNvPr>
          <p:cNvSpPr txBox="1"/>
          <p:nvPr/>
        </p:nvSpPr>
        <p:spPr>
          <a:xfrm>
            <a:off x="381141" y="6408223"/>
            <a:ext cx="610054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1200" dirty="0"/>
              <a:t>Quelle 1: Allianz Commercial – </a:t>
            </a:r>
            <a:r>
              <a:rPr lang="de-DE" sz="1200" dirty="0" err="1"/>
              <a:t>Liability</a:t>
            </a:r>
            <a:r>
              <a:rPr lang="de-DE" sz="1200" dirty="0"/>
              <a:t> Loss Trends 2024</a:t>
            </a:r>
          </a:p>
        </p:txBody>
      </p:sp>
    </p:spTree>
    <p:extLst>
      <p:ext uri="{BB962C8B-B14F-4D97-AF65-F5344CB8AC3E}">
        <p14:creationId xmlns:p14="http://schemas.microsoft.com/office/powerpoint/2010/main" val="2256224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XEDSLIDENUMBER" val="yes"/>
  <p:tag name="CUSTOMCOLORS" val="&lt;a:custClrLst&gt;&lt;a:custClr name=&quot;r:000 g:080 b:210&quot;&gt;&lt;a:srgbClr val=&quot;0050D2&quot;/&gt;&lt;/a:custClr&gt;&lt;a:custClr name=&quot;r:075 g:123 b:221&quot;&gt;&lt;a:srgbClr val=&quot;4B7BDD&quot;/&gt;&lt;/a:custClr&gt;&lt;a:custClr name=&quot;r:123 g:159 b:229&quot;&gt;&lt;a:srgbClr val=&quot;7B9FE5&quot;/&gt;&lt;/a:custClr&gt;&lt;a:custClr name=&quot;r:171 g:195 b:239&quot;&gt;&lt;a:srgbClr val=&quot;ABC3EF&quot;/&gt;&lt;/a:custClr&gt;&lt;a:custClr name=&quot;r:219 g:228 b:247&quot;&gt;&lt;a:srgbClr val=&quot;DBE4F7&quot;/&gt;&lt;/a:custClr&gt;&lt;a:custClr name=&quot;r:255 g:255 b:255&quot;&gt;&lt;a:srgbClr val=&quot;FFFFFF&quot;/&gt;&lt;/a:custClr&gt;&lt;a:custClr name=&quot;r:255 g:255 b:255&quot;&gt;&lt;a:srgbClr val=&quot;FFFFFF&quot;/&gt;&lt;/a:custClr&gt;&lt;a:custClr name=&quot;r:255 g:255 b:255&quot;&gt;&lt;a:srgbClr val=&quot;FFFFFF&quot;/&gt;&lt;/a:custClr&gt;&lt;a:custClr name=&quot;r:255 g:255 b:255&quot;&gt;&lt;a:srgbClr val=&quot;FFFFFF&quot;/&gt;&lt;/a:custClr&gt;&lt;a:custClr name=&quot;r:255 g:255 b:255&quot;&gt;&lt;a:srgbClr val=&quot;FFFFFF&quot;/&gt;&lt;/a:custClr&gt;&lt;a:custClr name=&quot;r:116 g:230 b:188&quot;&gt;&lt;a:srgbClr val=&quot;74E6BC&quot;/&gt;&lt;/a:custClr&gt;&lt;a:custClr name=&quot;r:145 g:236 b:202&quot;&gt;&lt;a:srgbClr val=&quot;91ECCA&quot;/&gt;&lt;/a:custClr&gt;&lt;a:custClr name=&quot;r:175 g:241 b:216&quot;&gt;&lt;a:srgbClr val=&quot;AFF1D8&quot;/&gt;&lt;/a:custClr&gt;&lt;a:custClr name=&quot;r:202 g:246 b:228&quot;&gt;&lt;a:srgbClr val=&quot;CAF6E4&quot;/&gt;&lt;/a:custClr&gt;&lt;a:custClr name=&quot;r:230 g:250 b:242&quot;&gt;&lt;a:srgbClr val=&quot;E6FAF2&quot;/&gt;&lt;/a:custClr&gt;&lt;a:custClr name=&quot;r:255 g:255 b:255&quot;&gt;&lt;a:srgbClr val=&quot;FFFFFF&quot;/&gt;&lt;/a:custClr&gt;&lt;a:custClr name=&quot;r:255 g:255 b:255&quot;&gt;&lt;a:srgbClr val=&quot;FFFFFF&quot;/&gt;&lt;/a:custClr&gt;&lt;a:custClr name=&quot;r:255 g:255 b:255&quot;&gt;&lt;a:srgbClr val=&quot;FFFFFF&quot;/&gt;&lt;/a:custClr&gt;&lt;a:custClr name=&quot;r:255 g:255 b:255&quot;&gt;&lt;a:srgbClr val=&quot;FFFFFF&quot;/&gt;&lt;/a:custClr&gt;&lt;a:custClr name=&quot;r:255 g:255 b:255&quot;&gt;&lt;a:srgbClr val=&quot;FFFFFF&quot;/&gt;&lt;/a:custClr&gt;&lt;a:custClr name=&quot;r:123 g:202 b:101&quot;&gt;&lt;a:srgbClr val=&quot;7BCA65&quot;/&gt;&lt;/a:custClr&gt;&lt;a:custClr name=&quot;r:000 g:094 b:071&quot;&gt;&lt;a:srgbClr val=&quot;005E47&quot;/&gt;&lt;/a:custClr&gt;&lt;a:custClr name=&quot;r:255 g:255 b:255&quot;&gt;&lt;a:srgbClr val=&quot;FFFFFF&quot;/&gt;&lt;/a:custClr&gt;&lt;a:custClr name=&quot;r:255 g:255 b:255&quot;&gt;&lt;a:srgbClr val=&quot;FFFFFF&quot;/&gt;&lt;/a:custClr&gt;&lt;a:custClr name=&quot;r:255 g:255 b:255&quot;&gt;&lt;a:srgbClr val=&quot;FFFFFF&quot;/&gt;&lt;/a:custClr&gt;&lt;a:custClr name=&quot;r:255 g:255 b:255&quot;&gt;&lt;a:srgbClr val=&quot;FFFFFF&quot;/&gt;&lt;/a:custClr&gt;&lt;a:custClr name=&quot;r:255 g:255 b:255&quot;&gt;&lt;a:srgbClr val=&quot;FFFFFF&quot;/&gt;&lt;/a:custClr&gt;&lt;a:custClr name=&quot;r:255 g:255 b:255&quot;&gt;&lt;a:srgbClr val=&quot;FFFFFF&quot;/&gt;&lt;/a:custClr&gt;&lt;a:custClr name=&quot;r:255 g:255 b:255&quot;&gt;&lt;a:srgbClr val=&quot;FFFFFF&quot;/&gt;&lt;/a:custClr&gt;&lt;a:custClr name=&quot;r:255 g:255 b:255&quot;&gt;&lt;a:srgbClr val=&quot;FFFFFF&quot;/&gt;&lt;/a:custClr&gt;&lt;a:custClr name=&quot;r:123 g:215 b:219&quot;&gt;&lt;a:srgbClr val=&quot;7BD7DB&quot;/&gt;&lt;/a:custClr&gt;&lt;a:custClr name=&quot;r:172 g:120 b:224&quot;&gt;&lt;a:srgbClr val=&quot;AC78E0&quot;/&gt;&lt;/a:custClr&gt;&lt;a:custClr name=&quot;r:247 g:088 b:128&quot;&gt;&lt;a:srgbClr val=&quot;F75880&quot;/&gt;&lt;/a:custClr&gt;&lt;a:custClr name=&quot;r:255 g:207 b:048&quot;&gt;&lt;a:srgbClr val=&quot;FFCF30&quot;/&gt;&lt;/a:custClr&gt;&lt;a:custClr name=&quot;r:255 g:255 b:255&quot;&gt;&lt;a:srgbClr val=&quot;FFFFFF&quot;/&gt;&lt;/a:custClr&gt;&lt;a:custClr name=&quot;r:255 g:255 b:255&quot;&gt;&lt;a:srgbClr val=&quot;FFFFFF&quot;/&gt;&lt;/a:custClr&gt;&lt;a:custClr name=&quot;r:255 g:255 b:255&quot;&gt;&lt;a:srgbClr val=&quot;FFFFFF&quot;/&gt;&lt;/a:custClr&gt;&lt;a:custClr name=&quot;r:255 g:255 b:255&quot;&gt;&lt;a:srgbClr val=&quot;FFFFFF&quot;/&gt;&lt;/a:custClr&gt;&lt;a:custClr name=&quot;r:255 g:255 b:255&quot;&gt;&lt;a:srgbClr val=&quot;FFFFFF&quot;/&gt;&lt;/a:custClr&gt;&lt;a:custClr name=&quot;r:255 g:255 b:255&quot;&gt;&lt;a:srgbClr val=&quot;FFFFFF&quot;/&gt;&lt;/a:custClr&gt;&lt;/a:custClrLst&gt;"/>
  <p:tag name="EASYCUSTOMCOLORS" val="13783040;14515019;15048571;15713195;16245979;16777215;16777215;16777215;16777215;16777215;12379764;13298833;14217647;15005386;15923942;16777215;16777215;16777215;16777215;16777215;6670971;4677120;16777215;16777215;16777215;16777215;16777215;16777215;16777215;16777215;14407547;14710956;8411383;3198975;16777215;16777215;16777215;16777215;16777215;1677721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35.;236.;150.;151.;6."/>
  <p:tag name="ICONSECONDCOLOR" val="1677721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OWS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OWS"/>
  <p:tag name="EASYCOUNT" val=";6.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OWS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OWS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OWS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UTOSHAPE" val="1"/>
  <p:tag name="NELEMENTS" val="4"/>
  <p:tag name="FLOWDIRECTION" val="1"/>
  <p:tag name="ABSTANDH" val="5"/>
  <p:tag name="SKIPEVENORODD" val="1"/>
  <p:tag name="ELEMENT1" val="notext"/>
  <p:tag name="ELEMENT3" val="skipeven;hAlign=left;leftoffset:55;widthoffset:-55"/>
  <p:tag name="ELEMENT5" val="skipodd;hAlign=left;leftoffset:55;widthoffset:-55"/>
  <p:tag name="ELEMENT7" val="fixedWidth=100;fixedHeight=100;hAlign=left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16777215"/>
  <p:tag name="EASYCOUNT" val=";235.;236.;150.;151.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OWS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OW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35.;236.;150.;151.;6."/>
  <p:tag name="ICONSECONDCOLOR" val="1677721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OWS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OWS"/>
  <p:tag name="EASYCOUNT" val=";6.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TAUTONAVIGATOR" val="n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TAUTONAVIGATOR" val="no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ISAUTOSHAPE" val="1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4"/>
  <p:tag name="FLOWDIRECTION" val="8"/>
  <p:tag name="ABSTANDV" val="4"/>
  <p:tag name="ABSTANDOPTION" val="3"/>
  <p:tag name="ELEMENT3" val="fixedHeight=80;fixedWidth=80;vAlign=Top;number;topOffset=40"/>
  <p:tag name="ELEMENT2" val="fixedHeight=0;vAlign=bottom;topOffset=40;invisiblelas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as">
  <a:themeElements>
    <a:clrScheme name="deas">
      <a:dk1>
        <a:srgbClr val="2649A5"/>
      </a:dk1>
      <a:lt1>
        <a:srgbClr val="FFFFFF"/>
      </a:lt1>
      <a:dk2>
        <a:srgbClr val="0050D2"/>
      </a:dk2>
      <a:lt2>
        <a:srgbClr val="FFFFFF"/>
      </a:lt2>
      <a:accent1>
        <a:srgbClr val="FFCF30"/>
      </a:accent1>
      <a:accent2>
        <a:srgbClr val="0050D2"/>
      </a:accent2>
      <a:accent3>
        <a:srgbClr val="4B7BDD"/>
      </a:accent3>
      <a:accent4>
        <a:srgbClr val="7B9FE5"/>
      </a:accent4>
      <a:accent5>
        <a:srgbClr val="ABC3EF"/>
      </a:accent5>
      <a:accent6>
        <a:srgbClr val="DBE4F7"/>
      </a:accent6>
      <a:hlink>
        <a:srgbClr val="FFCF30"/>
      </a:hlink>
      <a:folHlink>
        <a:srgbClr val="7B9FE5"/>
      </a:folHlink>
    </a:clrScheme>
    <a:fontScheme name="Benutzerdefiniert 9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110000"/>
          </a:lnSpc>
          <a:spcAft>
            <a:spcPts val="800"/>
          </a:spcAft>
          <a:defRPr sz="1600" dirty="0">
            <a:solidFill>
              <a:schemeClr val="bg1"/>
            </a:solidFill>
            <a:ea typeface="Arial" panose="020B060403050404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 cap="sq">
          <a:solidFill>
            <a:schemeClr val="tx1"/>
          </a:solidFill>
          <a:prstDash val="solid"/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rmAutofit/>
      </a:bodyPr>
      <a:lstStyle>
        <a:defPPr algn="l">
          <a:defRPr sz="1600" dirty="0" smtClean="0"/>
        </a:defPPr>
      </a:lstStyle>
    </a:txDef>
  </a:objectDefaults>
  <a:extraClrSchemeLst/>
  <a:custClrLst>
    <a:custClr name="r:000 g:080 b:210">
      <a:srgbClr val="0050D2"/>
    </a:custClr>
    <a:custClr name="r:075 g:123 b:221">
      <a:srgbClr val="4B7BDD"/>
    </a:custClr>
    <a:custClr name="r:123 g:159 b:229">
      <a:srgbClr val="7B9FE5"/>
    </a:custClr>
    <a:custClr name="r:171 g:195 b:239">
      <a:srgbClr val="ABC3EF"/>
    </a:custClr>
    <a:custClr name="r:219 g:228 b:247">
      <a:srgbClr val="DBE4F7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116 g:230 b:188">
      <a:srgbClr val="74E6BC"/>
    </a:custClr>
    <a:custClr name="r:145 g:236 b:202">
      <a:srgbClr val="91ECCA"/>
    </a:custClr>
    <a:custClr name="r:175 g:241 b:216">
      <a:srgbClr val="AFF1D8"/>
    </a:custClr>
    <a:custClr name="r:202 g:246 b:228">
      <a:srgbClr val="CAF6E4"/>
    </a:custClr>
    <a:custClr name="r:230 g:250 b:242">
      <a:srgbClr val="E6FAF2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123 g:202 b:101">
      <a:srgbClr val="7BCA65"/>
    </a:custClr>
    <a:custClr name="r:000 g:094 b:071">
      <a:srgbClr val="005E47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123 g:215 b:219">
      <a:srgbClr val="7BD7DB"/>
    </a:custClr>
    <a:custClr name="r:172 g:120 b:224">
      <a:srgbClr val="AC78E0"/>
    </a:custClr>
    <a:custClr name="r:247 g:088 b:128">
      <a:srgbClr val="F75880"/>
    </a:custClr>
    <a:custClr name="r:255 g:207 b:048">
      <a:srgbClr val="FFCF30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  <a:custClr name="r:255 g:255 b:255">
      <a:srgbClr val="FFFFFF"/>
    </a:custClr>
  </a:custClrLst>
  <a:extLst>
    <a:ext uri="{05A4C25C-085E-4340-85A3-A5531E510DB2}">
      <thm15:themeFamily xmlns:thm15="http://schemas.microsoft.com/office/thememl/2012/main" name="Präsentation12" id="{D9E49B77-E4EC-4B8D-9AB8-1102F0714828}" vid="{BED28F5E-F615-4C7A-A4C3-5DE816682E5F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rial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rial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_deas</Template>
  <TotalTime>0</TotalTime>
  <Words>1473</Words>
  <Application>Microsoft Office PowerPoint</Application>
  <PresentationFormat>Breitbild</PresentationFormat>
  <Paragraphs>221</Paragraphs>
  <Slides>30</Slides>
  <Notes>1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0</vt:i4>
      </vt:variant>
    </vt:vector>
  </HeadingPairs>
  <TitlesOfParts>
    <vt:vector size="36" baseType="lpstr">
      <vt:lpstr>Arial</vt:lpstr>
      <vt:lpstr>Calibri</vt:lpstr>
      <vt:lpstr>TeXGyreHeros</vt:lpstr>
      <vt:lpstr>Wingdings</vt:lpstr>
      <vt:lpstr>deas</vt:lpstr>
      <vt:lpstr>think-cell Folie</vt:lpstr>
      <vt:lpstr>Aktuelle Entwicklungen im Bereich der Haftpflichtversicherungen  aus Sicht des Maklers und Zedenten,  insbes. US Casualty</vt:lpstr>
      <vt:lpstr>Agenda</vt:lpstr>
      <vt:lpstr>Zahlen, daten, fakten</vt:lpstr>
      <vt:lpstr>deas – der Industrieversicherungsmakler der Ecclesia Gruppe</vt:lpstr>
      <vt:lpstr>Die wirtschaftliche Situation</vt:lpstr>
      <vt:lpstr>Die wirtschaftliche Situation</vt:lpstr>
      <vt:lpstr>Die wirtschaftliche Situation</vt:lpstr>
      <vt:lpstr>US-Casualty</vt:lpstr>
      <vt:lpstr>US Casualty – das  kritische Thema</vt:lpstr>
      <vt:lpstr>US Casualty – das kritische Thema</vt:lpstr>
      <vt:lpstr>US Casualty – das kritische Thema</vt:lpstr>
      <vt:lpstr>US Casualty – das  kritische Thema</vt:lpstr>
      <vt:lpstr>US Casualty – das  kritische Thema</vt:lpstr>
      <vt:lpstr>PowerPoint-Präsentation</vt:lpstr>
      <vt:lpstr>PowerPoint-Präsentation</vt:lpstr>
      <vt:lpstr>PowerPoint-Präsentation</vt:lpstr>
      <vt:lpstr>ESG-Themen</vt:lpstr>
      <vt:lpstr>ESG-Themen – gekommen, um zu bleiben</vt:lpstr>
      <vt:lpstr>ESG-Themen – gekommen, um zu bleiben</vt:lpstr>
      <vt:lpstr>Rechtliche Veränderungen</vt:lpstr>
      <vt:lpstr>Rechtliche Veränderungen – EU-Produkthaftungsrichtlinie (bis 2026 umzusetzen)</vt:lpstr>
      <vt:lpstr>Rechtliche Veränderungen – EU-Produkthaftungsrichtlinie (bis 2026 umzusetzen)</vt:lpstr>
      <vt:lpstr>Rechtliche Veränderungen – EU-Produktsicherheitsverordnung (seit 12/2024)</vt:lpstr>
      <vt:lpstr>Rechtliche Veränderungen – EU-Produktsicherheitsverordnung (seit 12/2024)</vt:lpstr>
      <vt:lpstr>Rechtliche Veränderungen – Initiativen zur Regelung  der KI-Haftung (seit 12/2024)</vt:lpstr>
      <vt:lpstr>Rechtliche Veränderungen –  die Verbandsklage</vt:lpstr>
      <vt:lpstr>PowerPoint-Präsentation</vt:lpstr>
      <vt:lpstr>Liability loss trends 2024</vt:lpstr>
      <vt:lpstr>Liability Loss Trends 2024</vt:lpstr>
      <vt:lpstr>Aber: Alles wird gut…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essa Rölert</dc:creator>
  <cp:lastModifiedBy>Jörg Linnert</cp:lastModifiedBy>
  <cp:revision>9</cp:revision>
  <dcterms:created xsi:type="dcterms:W3CDTF">2025-02-27T13:04:35Z</dcterms:created>
  <dcterms:modified xsi:type="dcterms:W3CDTF">2025-03-03T09:31:32Z</dcterms:modified>
</cp:coreProperties>
</file>